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5" r:id="rId4"/>
    <p:sldMasterId id="2147483782" r:id="rId5"/>
    <p:sldMasterId id="2147483795" r:id="rId6"/>
  </p:sldMasterIdLst>
  <p:notesMasterIdLst>
    <p:notesMasterId r:id="rId47"/>
  </p:notesMasterIdLst>
  <p:sldIdLst>
    <p:sldId id="2147479194" r:id="rId7"/>
    <p:sldId id="2147474354" r:id="rId8"/>
    <p:sldId id="2147479620" r:id="rId9"/>
    <p:sldId id="2147479722" r:id="rId10"/>
    <p:sldId id="2147479688" r:id="rId11"/>
    <p:sldId id="2147479733" r:id="rId12"/>
    <p:sldId id="2147479600" r:id="rId13"/>
    <p:sldId id="2147479522" r:id="rId14"/>
    <p:sldId id="2147479205" r:id="rId15"/>
    <p:sldId id="2147479210" r:id="rId16"/>
    <p:sldId id="2147479586" r:id="rId17"/>
    <p:sldId id="2147479587" r:id="rId18"/>
    <p:sldId id="2147479589" r:id="rId19"/>
    <p:sldId id="2147479198" r:id="rId20"/>
    <p:sldId id="2147479199" r:id="rId21"/>
    <p:sldId id="2147479201" r:id="rId22"/>
    <p:sldId id="2147479206" r:id="rId23"/>
    <p:sldId id="2147479202" r:id="rId24"/>
    <p:sldId id="2147479207" r:id="rId25"/>
    <p:sldId id="2147479203" r:id="rId26"/>
    <p:sldId id="2147479204" r:id="rId27"/>
    <p:sldId id="2147479588" r:id="rId28"/>
    <p:sldId id="2147479602" r:id="rId29"/>
    <p:sldId id="2147479619" r:id="rId30"/>
    <p:sldId id="2147479670" r:id="rId31"/>
    <p:sldId id="2147479667" r:id="rId32"/>
    <p:sldId id="2147479671" r:id="rId33"/>
    <p:sldId id="2147479677" r:id="rId34"/>
    <p:sldId id="2147479678" r:id="rId35"/>
    <p:sldId id="2147479723" r:id="rId36"/>
    <p:sldId id="2147479724" r:id="rId37"/>
    <p:sldId id="2147479730" r:id="rId38"/>
    <p:sldId id="2147479728" r:id="rId39"/>
    <p:sldId id="2147479689" r:id="rId40"/>
    <p:sldId id="2147479732" r:id="rId41"/>
    <p:sldId id="2147479729" r:id="rId42"/>
    <p:sldId id="2147479727" r:id="rId43"/>
    <p:sldId id="2147479725" r:id="rId44"/>
    <p:sldId id="2147479726" r:id="rId45"/>
    <p:sldId id="2147479731" r:id="rId46"/>
  </p:sldIdLst>
  <p:sldSz cx="12192000" cy="6858000"/>
  <p:notesSz cx="6858000" cy="9144000"/>
  <p:custDataLst>
    <p:tags r:id="rId4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82423-08DB-8B9F-9E91-DE4C69534B44}" name="Luo, Shutian" initials="LS" userId="S::shutian.luo@accenture.com::e9a33958-371b-45a2-87eb-8e409d00c32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王欢" initials="王欢" lastIdx="10" clrIdx="0">
    <p:extLst>
      <p:ext uri="{19B8F6BF-5375-455C-9EA6-DF929625EA0E}">
        <p15:presenceInfo xmlns:p15="http://schemas.microsoft.com/office/powerpoint/2012/main" userId="S::huan47.wang@tcl.com::83098998-fab2-415e-b111-6c940f4d6373" providerId="AD"/>
      </p:ext>
    </p:extLst>
  </p:cmAuthor>
  <p:cmAuthor id="2" name="Song, Shengjun" initials="SS" lastIdx="8" clrIdx="1">
    <p:extLst>
      <p:ext uri="{19B8F6BF-5375-455C-9EA6-DF929625EA0E}">
        <p15:presenceInfo xmlns:p15="http://schemas.microsoft.com/office/powerpoint/2012/main" userId="S::shengjun.song@accenture.com::27eae010-a210-4db8-836b-515361db1433" providerId="AD"/>
      </p:ext>
    </p:extLst>
  </p:cmAuthor>
  <p:cmAuthor id="3" name="Tang, Payton Peng" initials="TPP" lastIdx="2" clrIdx="2">
    <p:extLst>
      <p:ext uri="{19B8F6BF-5375-455C-9EA6-DF929625EA0E}">
        <p15:presenceInfo xmlns:p15="http://schemas.microsoft.com/office/powerpoint/2012/main" userId="S::peng.tang@accenture.com::b98c07c0-997e-4484-b2c1-f6e80d7c6503" providerId="AD"/>
      </p:ext>
    </p:extLst>
  </p:cmAuthor>
  <p:cmAuthor id="4" name="Luo, Bei" initials="LB" lastIdx="1" clrIdx="3">
    <p:extLst>
      <p:ext uri="{19B8F6BF-5375-455C-9EA6-DF929625EA0E}">
        <p15:presenceInfo xmlns:p15="http://schemas.microsoft.com/office/powerpoint/2012/main" userId="S::b.luo@accenture.com::b99d1075-4382-4aba-a6e7-8e81427049e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BF4"/>
    <a:srgbClr val="F8CBAD"/>
    <a:srgbClr val="C5E0B4"/>
    <a:srgbClr val="C0E9FF"/>
    <a:srgbClr val="FFFFFF"/>
    <a:srgbClr val="007FC3"/>
    <a:srgbClr val="005F92"/>
    <a:srgbClr val="4472C4"/>
    <a:srgbClr val="42BDFF"/>
    <a:srgbClr val="FDEF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81453C-4077-4981-95F8-612C68A61DA6}" v="70" dt="2023-04-27T09:21:54.875"/>
    <p1510:client id="{A1A4D2A7-2B2A-428B-9579-BA4E89C8E1C2}" v="4" dt="2023-04-27T08:15:16.272"/>
    <p1510:client id="{F46F829C-35B7-4081-93FD-C381AD92AAD7}" v="2590" dt="2023-04-27T09:44:43.7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深色样式 2 - 强调 1/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55" Type="http://schemas.microsoft.com/office/2015/10/relationships/revisionInfo" Target="revisionInfo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tags" Target="tags/tag1.xml"/><Relationship Id="rId56" Type="http://schemas.microsoft.com/office/2018/10/relationships/authors" Target="authors.xml"/><Relationship Id="rId8" Type="http://schemas.openxmlformats.org/officeDocument/2006/relationships/slide" Target="slides/slide2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i, Xiu" userId="0254ba58-9de3-4f23-8680-c5b52ee4cd83" providerId="ADAL" clId="{9556181F-D2E1-4175-B10B-6D2FDEAADCA9}"/>
    <pc:docChg chg="custSel addSld delSld modSld">
      <pc:chgData name="Yi, Xiu" userId="0254ba58-9de3-4f23-8680-c5b52ee4cd83" providerId="ADAL" clId="{9556181F-D2E1-4175-B10B-6D2FDEAADCA9}" dt="2023-03-29T16:19:12.776" v="114" actId="1035"/>
      <pc:docMkLst>
        <pc:docMk/>
      </pc:docMkLst>
      <pc:sldChg chg="delSp modSp add mod">
        <pc:chgData name="Yi, Xiu" userId="0254ba58-9de3-4f23-8680-c5b52ee4cd83" providerId="ADAL" clId="{9556181F-D2E1-4175-B10B-6D2FDEAADCA9}" dt="2023-03-29T16:19:12.776" v="114" actId="1035"/>
        <pc:sldMkLst>
          <pc:docMk/>
          <pc:sldMk cId="1638411881" sldId="2147479584"/>
        </pc:sldMkLst>
        <pc:spChg chg="mod">
          <ac:chgData name="Yi, Xiu" userId="0254ba58-9de3-4f23-8680-c5b52ee4cd83" providerId="ADAL" clId="{9556181F-D2E1-4175-B10B-6D2FDEAADCA9}" dt="2023-03-29T10:43:04.809" v="0"/>
          <ac:spMkLst>
            <pc:docMk/>
            <pc:sldMk cId="1638411881" sldId="2147479584"/>
            <ac:spMk id="2" creationId="{1A534CB2-97F9-E782-DDF1-91C91BAA27AC}"/>
          </ac:spMkLst>
        </pc:spChg>
        <pc:spChg chg="mod">
          <ac:chgData name="Yi, Xiu" userId="0254ba58-9de3-4f23-8680-c5b52ee4cd83" providerId="ADAL" clId="{9556181F-D2E1-4175-B10B-6D2FDEAADCA9}" dt="2023-03-29T10:43:17.900" v="4" actId="20577"/>
          <ac:spMkLst>
            <pc:docMk/>
            <pc:sldMk cId="1638411881" sldId="2147479584"/>
            <ac:spMk id="5" creationId="{AF0E56B4-330B-A3C5-3924-1B7DB40581B6}"/>
          </ac:spMkLst>
        </pc:spChg>
        <pc:spChg chg="mod">
          <ac:chgData name="Yi, Xiu" userId="0254ba58-9de3-4f23-8680-c5b52ee4cd83" providerId="ADAL" clId="{9556181F-D2E1-4175-B10B-6D2FDEAADCA9}" dt="2023-03-29T16:17:46.063" v="50"/>
          <ac:spMkLst>
            <pc:docMk/>
            <pc:sldMk cId="1638411881" sldId="2147479584"/>
            <ac:spMk id="12" creationId="{748C86B9-FEA9-C7ED-D696-F492A1FDFEAC}"/>
          </ac:spMkLst>
        </pc:spChg>
        <pc:spChg chg="del">
          <ac:chgData name="Yi, Xiu" userId="0254ba58-9de3-4f23-8680-c5b52ee4cd83" providerId="ADAL" clId="{9556181F-D2E1-4175-B10B-6D2FDEAADCA9}" dt="2023-03-29T16:16:04.390" v="12" actId="478"/>
          <ac:spMkLst>
            <pc:docMk/>
            <pc:sldMk cId="1638411881" sldId="2147479584"/>
            <ac:spMk id="15" creationId="{C5257356-35ED-D2A0-A38F-83A235030EC9}"/>
          </ac:spMkLst>
        </pc:spChg>
        <pc:spChg chg="mod">
          <ac:chgData name="Yi, Xiu" userId="0254ba58-9de3-4f23-8680-c5b52ee4cd83" providerId="ADAL" clId="{9556181F-D2E1-4175-B10B-6D2FDEAADCA9}" dt="2023-03-29T16:18:21.600" v="51" actId="20577"/>
          <ac:spMkLst>
            <pc:docMk/>
            <pc:sldMk cId="1638411881" sldId="2147479584"/>
            <ac:spMk id="18" creationId="{ACF4E145-5FFF-3EEA-D0A7-B2486739A77C}"/>
          </ac:spMkLst>
        </pc:spChg>
        <pc:spChg chg="del">
          <ac:chgData name="Yi, Xiu" userId="0254ba58-9de3-4f23-8680-c5b52ee4cd83" providerId="ADAL" clId="{9556181F-D2E1-4175-B10B-6D2FDEAADCA9}" dt="2023-03-29T16:16:03.240" v="11" actId="478"/>
          <ac:spMkLst>
            <pc:docMk/>
            <pc:sldMk cId="1638411881" sldId="2147479584"/>
            <ac:spMk id="20" creationId="{7E5CBA85-109D-469F-ABAD-91106A67A5B2}"/>
          </ac:spMkLst>
        </pc:spChg>
        <pc:spChg chg="del">
          <ac:chgData name="Yi, Xiu" userId="0254ba58-9de3-4f23-8680-c5b52ee4cd83" providerId="ADAL" clId="{9556181F-D2E1-4175-B10B-6D2FDEAADCA9}" dt="2023-03-29T16:16:58.207" v="32" actId="478"/>
          <ac:spMkLst>
            <pc:docMk/>
            <pc:sldMk cId="1638411881" sldId="2147479584"/>
            <ac:spMk id="26" creationId="{D0CFA4F6-41AB-B6CA-04D5-059F8E07A2F7}"/>
          </ac:spMkLst>
        </pc:spChg>
        <pc:spChg chg="del">
          <ac:chgData name="Yi, Xiu" userId="0254ba58-9de3-4f23-8680-c5b52ee4cd83" providerId="ADAL" clId="{9556181F-D2E1-4175-B10B-6D2FDEAADCA9}" dt="2023-03-29T16:16:01.525" v="10" actId="478"/>
          <ac:spMkLst>
            <pc:docMk/>
            <pc:sldMk cId="1638411881" sldId="2147479584"/>
            <ac:spMk id="27" creationId="{1DBC2A25-C3AD-8F2D-9A8D-778215D9841B}"/>
          </ac:spMkLst>
        </pc:spChg>
        <pc:spChg chg="del">
          <ac:chgData name="Yi, Xiu" userId="0254ba58-9de3-4f23-8680-c5b52ee4cd83" providerId="ADAL" clId="{9556181F-D2E1-4175-B10B-6D2FDEAADCA9}" dt="2023-03-29T16:16:01.525" v="10" actId="478"/>
          <ac:spMkLst>
            <pc:docMk/>
            <pc:sldMk cId="1638411881" sldId="2147479584"/>
            <ac:spMk id="28" creationId="{12E4C8B6-12E3-EBC3-6C1F-8DF0CC8AA78E}"/>
          </ac:spMkLst>
        </pc:spChg>
        <pc:spChg chg="del">
          <ac:chgData name="Yi, Xiu" userId="0254ba58-9de3-4f23-8680-c5b52ee4cd83" providerId="ADAL" clId="{9556181F-D2E1-4175-B10B-6D2FDEAADCA9}" dt="2023-03-29T16:16:01.525" v="10" actId="478"/>
          <ac:spMkLst>
            <pc:docMk/>
            <pc:sldMk cId="1638411881" sldId="2147479584"/>
            <ac:spMk id="29" creationId="{649B9002-ABC0-5A5D-4BDF-6E14864E6E3B}"/>
          </ac:spMkLst>
        </pc:spChg>
        <pc:spChg chg="del">
          <ac:chgData name="Yi, Xiu" userId="0254ba58-9de3-4f23-8680-c5b52ee4cd83" providerId="ADAL" clId="{9556181F-D2E1-4175-B10B-6D2FDEAADCA9}" dt="2023-03-29T16:16:01.525" v="10" actId="478"/>
          <ac:spMkLst>
            <pc:docMk/>
            <pc:sldMk cId="1638411881" sldId="2147479584"/>
            <ac:spMk id="30" creationId="{1AB2C56C-E137-4E31-5CD8-55FDBA8014DF}"/>
          </ac:spMkLst>
        </pc:spChg>
        <pc:spChg chg="del">
          <ac:chgData name="Yi, Xiu" userId="0254ba58-9de3-4f23-8680-c5b52ee4cd83" providerId="ADAL" clId="{9556181F-D2E1-4175-B10B-6D2FDEAADCA9}" dt="2023-03-29T16:16:01.525" v="10" actId="478"/>
          <ac:spMkLst>
            <pc:docMk/>
            <pc:sldMk cId="1638411881" sldId="2147479584"/>
            <ac:spMk id="31" creationId="{E19559C0-C10F-953F-AF99-229BA36FAA5A}"/>
          </ac:spMkLst>
        </pc:spChg>
        <pc:spChg chg="mod">
          <ac:chgData name="Yi, Xiu" userId="0254ba58-9de3-4f23-8680-c5b52ee4cd83" providerId="ADAL" clId="{9556181F-D2E1-4175-B10B-6D2FDEAADCA9}" dt="2023-03-29T16:16:32.561" v="27" actId="14100"/>
          <ac:spMkLst>
            <pc:docMk/>
            <pc:sldMk cId="1638411881" sldId="2147479584"/>
            <ac:spMk id="32" creationId="{FFCCC6E7-EBD1-5F6B-178B-C9F256ED18F4}"/>
          </ac:spMkLst>
        </pc:spChg>
        <pc:spChg chg="del">
          <ac:chgData name="Yi, Xiu" userId="0254ba58-9de3-4f23-8680-c5b52ee4cd83" providerId="ADAL" clId="{9556181F-D2E1-4175-B10B-6D2FDEAADCA9}" dt="2023-03-29T16:16:14.952" v="15" actId="478"/>
          <ac:spMkLst>
            <pc:docMk/>
            <pc:sldMk cId="1638411881" sldId="2147479584"/>
            <ac:spMk id="33" creationId="{7DD1BD97-51A4-2851-E561-10FA3468BD39}"/>
          </ac:spMkLst>
        </pc:spChg>
        <pc:spChg chg="del">
          <ac:chgData name="Yi, Xiu" userId="0254ba58-9de3-4f23-8680-c5b52ee4cd83" providerId="ADAL" clId="{9556181F-D2E1-4175-B10B-6D2FDEAADCA9}" dt="2023-03-29T16:16:15.889" v="16" actId="478"/>
          <ac:spMkLst>
            <pc:docMk/>
            <pc:sldMk cId="1638411881" sldId="2147479584"/>
            <ac:spMk id="34" creationId="{EFCF2EFB-9987-2E42-B458-55933FFB24F7}"/>
          </ac:spMkLst>
        </pc:spChg>
        <pc:spChg chg="del">
          <ac:chgData name="Yi, Xiu" userId="0254ba58-9de3-4f23-8680-c5b52ee4cd83" providerId="ADAL" clId="{9556181F-D2E1-4175-B10B-6D2FDEAADCA9}" dt="2023-03-29T16:16:01.525" v="10" actId="478"/>
          <ac:spMkLst>
            <pc:docMk/>
            <pc:sldMk cId="1638411881" sldId="2147479584"/>
            <ac:spMk id="35" creationId="{8E471958-0642-31B5-65F8-2108522958BE}"/>
          </ac:spMkLst>
        </pc:spChg>
        <pc:spChg chg="del">
          <ac:chgData name="Yi, Xiu" userId="0254ba58-9de3-4f23-8680-c5b52ee4cd83" providerId="ADAL" clId="{9556181F-D2E1-4175-B10B-6D2FDEAADCA9}" dt="2023-03-29T16:16:01.525" v="10" actId="478"/>
          <ac:spMkLst>
            <pc:docMk/>
            <pc:sldMk cId="1638411881" sldId="2147479584"/>
            <ac:spMk id="36" creationId="{A8BE1AEE-1577-C374-F3CB-4F6B73D49D27}"/>
          </ac:spMkLst>
        </pc:spChg>
        <pc:spChg chg="mod">
          <ac:chgData name="Yi, Xiu" userId="0254ba58-9de3-4f23-8680-c5b52ee4cd83" providerId="ADAL" clId="{9556181F-D2E1-4175-B10B-6D2FDEAADCA9}" dt="2023-03-29T16:17:03.500" v="35" actId="20577"/>
          <ac:spMkLst>
            <pc:docMk/>
            <pc:sldMk cId="1638411881" sldId="2147479584"/>
            <ac:spMk id="38" creationId="{9656151D-4658-E608-7F08-7DD43A709AC9}"/>
          </ac:spMkLst>
        </pc:spChg>
        <pc:spChg chg="mod">
          <ac:chgData name="Yi, Xiu" userId="0254ba58-9de3-4f23-8680-c5b52ee4cd83" providerId="ADAL" clId="{9556181F-D2E1-4175-B10B-6D2FDEAADCA9}" dt="2023-03-29T16:17:05.791" v="38" actId="20577"/>
          <ac:spMkLst>
            <pc:docMk/>
            <pc:sldMk cId="1638411881" sldId="2147479584"/>
            <ac:spMk id="39" creationId="{3CDD9857-FEC9-F924-8FBB-CAC82F058692}"/>
          </ac:spMkLst>
        </pc:spChg>
        <pc:spChg chg="mod">
          <ac:chgData name="Yi, Xiu" userId="0254ba58-9de3-4f23-8680-c5b52ee4cd83" providerId="ADAL" clId="{9556181F-D2E1-4175-B10B-6D2FDEAADCA9}" dt="2023-03-29T16:17:20.004" v="39" actId="20577"/>
          <ac:spMkLst>
            <pc:docMk/>
            <pc:sldMk cId="1638411881" sldId="2147479584"/>
            <ac:spMk id="40" creationId="{24D99400-FF18-B597-5E0E-FD3651CAE8F1}"/>
          </ac:spMkLst>
        </pc:spChg>
        <pc:spChg chg="mod">
          <ac:chgData name="Yi, Xiu" userId="0254ba58-9de3-4f23-8680-c5b52ee4cd83" providerId="ADAL" clId="{9556181F-D2E1-4175-B10B-6D2FDEAADCA9}" dt="2023-03-29T16:17:22.325" v="40" actId="20577"/>
          <ac:spMkLst>
            <pc:docMk/>
            <pc:sldMk cId="1638411881" sldId="2147479584"/>
            <ac:spMk id="42" creationId="{E1DC3580-8C88-CDDF-F931-D041AEF6446F}"/>
          </ac:spMkLst>
        </pc:spChg>
        <pc:spChg chg="mod">
          <ac:chgData name="Yi, Xiu" userId="0254ba58-9de3-4f23-8680-c5b52ee4cd83" providerId="ADAL" clId="{9556181F-D2E1-4175-B10B-6D2FDEAADCA9}" dt="2023-03-29T16:16:54.629" v="31" actId="14100"/>
          <ac:spMkLst>
            <pc:docMk/>
            <pc:sldMk cId="1638411881" sldId="2147479584"/>
            <ac:spMk id="43" creationId="{5E4F71DE-0CF8-661E-875F-9531ACA7C7E7}"/>
          </ac:spMkLst>
        </pc:spChg>
        <pc:spChg chg="del">
          <ac:chgData name="Yi, Xiu" userId="0254ba58-9de3-4f23-8680-c5b52ee4cd83" providerId="ADAL" clId="{9556181F-D2E1-4175-B10B-6D2FDEAADCA9}" dt="2023-03-29T16:16:40.139" v="28" actId="478"/>
          <ac:spMkLst>
            <pc:docMk/>
            <pc:sldMk cId="1638411881" sldId="2147479584"/>
            <ac:spMk id="46" creationId="{D8B995A2-F231-1CC4-568D-9BA38109889A}"/>
          </ac:spMkLst>
        </pc:spChg>
        <pc:spChg chg="mod">
          <ac:chgData name="Yi, Xiu" userId="0254ba58-9de3-4f23-8680-c5b52ee4cd83" providerId="ADAL" clId="{9556181F-D2E1-4175-B10B-6D2FDEAADCA9}" dt="2023-03-29T16:19:05.283" v="87" actId="14100"/>
          <ac:spMkLst>
            <pc:docMk/>
            <pc:sldMk cId="1638411881" sldId="2147479584"/>
            <ac:spMk id="100" creationId="{CDCCF724-E1E4-3C6E-9D42-048C4F196354}"/>
          </ac:spMkLst>
        </pc:spChg>
        <pc:grpChg chg="mod">
          <ac:chgData name="Yi, Xiu" userId="0254ba58-9de3-4f23-8680-c5b52ee4cd83" providerId="ADAL" clId="{9556181F-D2E1-4175-B10B-6D2FDEAADCA9}" dt="2023-03-29T16:19:09.938" v="106" actId="1036"/>
          <ac:grpSpMkLst>
            <pc:docMk/>
            <pc:sldMk cId="1638411881" sldId="2147479584"/>
            <ac:grpSpMk id="106" creationId="{151D8B97-8354-16EF-E759-F06BA9756263}"/>
          </ac:grpSpMkLst>
        </pc:grpChg>
        <pc:grpChg chg="mod">
          <ac:chgData name="Yi, Xiu" userId="0254ba58-9de3-4f23-8680-c5b52ee4cd83" providerId="ADAL" clId="{9556181F-D2E1-4175-B10B-6D2FDEAADCA9}" dt="2023-03-29T16:19:12.776" v="114" actId="1035"/>
          <ac:grpSpMkLst>
            <pc:docMk/>
            <pc:sldMk cId="1638411881" sldId="2147479584"/>
            <ac:grpSpMk id="107" creationId="{BA474D5E-1310-3975-218E-633B02CFEFD4}"/>
          </ac:grpSpMkLst>
        </pc:grpChg>
        <pc:grpChg chg="del">
          <ac:chgData name="Yi, Xiu" userId="0254ba58-9de3-4f23-8680-c5b52ee4cd83" providerId="ADAL" clId="{9556181F-D2E1-4175-B10B-6D2FDEAADCA9}" dt="2023-03-29T16:18:49.497" v="52" actId="478"/>
          <ac:grpSpMkLst>
            <pc:docMk/>
            <pc:sldMk cId="1638411881" sldId="2147479584"/>
            <ac:grpSpMk id="110" creationId="{9576FB51-2F29-6BC5-1EEE-AFA54CF16214}"/>
          </ac:grpSpMkLst>
        </pc:grpChg>
      </pc:sldChg>
      <pc:sldChg chg="del">
        <pc:chgData name="Yi, Xiu" userId="0254ba58-9de3-4f23-8680-c5b52ee4cd83" providerId="ADAL" clId="{9556181F-D2E1-4175-B10B-6D2FDEAADCA9}" dt="2023-03-29T10:43:09.915" v="1" actId="47"/>
        <pc:sldMkLst>
          <pc:docMk/>
          <pc:sldMk cId="1227745755" sldId="2147479585"/>
        </pc:sldMkLst>
      </pc:sldChg>
    </pc:docChg>
  </pc:docChgLst>
  <pc:docChgLst>
    <pc:chgData name="Hu, Frank" userId="d3ad470f-91d8-4bd6-b171-9c10023cc60b" providerId="ADAL" clId="{F46F829C-35B7-4081-93FD-C381AD92AAD7}"/>
    <pc:docChg chg="undo custSel addSld delSld modSld sldOrd">
      <pc:chgData name="Hu, Frank" userId="d3ad470f-91d8-4bd6-b171-9c10023cc60b" providerId="ADAL" clId="{F46F829C-35B7-4081-93FD-C381AD92AAD7}" dt="2023-04-27T09:44:43.710" v="12018"/>
      <pc:docMkLst>
        <pc:docMk/>
      </pc:docMkLst>
      <pc:sldChg chg="modSp mod">
        <pc:chgData name="Hu, Frank" userId="d3ad470f-91d8-4bd6-b171-9c10023cc60b" providerId="ADAL" clId="{F46F829C-35B7-4081-93FD-C381AD92AAD7}" dt="2023-03-31T06:58:32.768" v="1478" actId="20577"/>
        <pc:sldMkLst>
          <pc:docMk/>
          <pc:sldMk cId="3872608267" sldId="2147479198"/>
        </pc:sldMkLst>
        <pc:spChg chg="mod">
          <ac:chgData name="Hu, Frank" userId="d3ad470f-91d8-4bd6-b171-9c10023cc60b" providerId="ADAL" clId="{F46F829C-35B7-4081-93FD-C381AD92AAD7}" dt="2023-03-31T06:58:32.768" v="1478" actId="20577"/>
          <ac:spMkLst>
            <pc:docMk/>
            <pc:sldMk cId="3872608267" sldId="2147479198"/>
            <ac:spMk id="2" creationId="{7756B8F4-874A-CFB5-B37C-9B912FD9E344}"/>
          </ac:spMkLst>
        </pc:spChg>
      </pc:sldChg>
      <pc:sldChg chg="modSp mod">
        <pc:chgData name="Hu, Frank" userId="d3ad470f-91d8-4bd6-b171-9c10023cc60b" providerId="ADAL" clId="{F46F829C-35B7-4081-93FD-C381AD92AAD7}" dt="2023-03-31T06:58:38.747" v="1481" actId="20577"/>
        <pc:sldMkLst>
          <pc:docMk/>
          <pc:sldMk cId="1739901954" sldId="2147479199"/>
        </pc:sldMkLst>
        <pc:spChg chg="mod">
          <ac:chgData name="Hu, Frank" userId="d3ad470f-91d8-4bd6-b171-9c10023cc60b" providerId="ADAL" clId="{F46F829C-35B7-4081-93FD-C381AD92AAD7}" dt="2023-03-31T06:58:38.747" v="1481" actId="20577"/>
          <ac:spMkLst>
            <pc:docMk/>
            <pc:sldMk cId="1739901954" sldId="2147479199"/>
            <ac:spMk id="2" creationId="{7756B8F4-874A-CFB5-B37C-9B912FD9E344}"/>
          </ac:spMkLst>
        </pc:spChg>
        <pc:graphicFrameChg chg="mod modGraphic">
          <ac:chgData name="Hu, Frank" userId="d3ad470f-91d8-4bd6-b171-9c10023cc60b" providerId="ADAL" clId="{F46F829C-35B7-4081-93FD-C381AD92AAD7}" dt="2023-03-31T06:40:44.725" v="1035"/>
          <ac:graphicFrameMkLst>
            <pc:docMk/>
            <pc:sldMk cId="1739901954" sldId="2147479199"/>
            <ac:graphicFrameMk id="5" creationId="{AC3AAA03-45B4-A976-9A3F-E8F1CDCFDCA2}"/>
          </ac:graphicFrameMkLst>
        </pc:graphicFrameChg>
      </pc:sldChg>
      <pc:sldChg chg="modSp mod">
        <pc:chgData name="Hu, Frank" userId="d3ad470f-91d8-4bd6-b171-9c10023cc60b" providerId="ADAL" clId="{F46F829C-35B7-4081-93FD-C381AD92AAD7}" dt="2023-03-31T07:02:42.682" v="1578" actId="20577"/>
        <pc:sldMkLst>
          <pc:docMk/>
          <pc:sldMk cId="3201368661" sldId="2147479201"/>
        </pc:sldMkLst>
        <pc:spChg chg="mod">
          <ac:chgData name="Hu, Frank" userId="d3ad470f-91d8-4bd6-b171-9c10023cc60b" providerId="ADAL" clId="{F46F829C-35B7-4081-93FD-C381AD92AAD7}" dt="2023-03-31T07:01:25.874" v="1520" actId="20577"/>
          <ac:spMkLst>
            <pc:docMk/>
            <pc:sldMk cId="3201368661" sldId="2147479201"/>
            <ac:spMk id="2" creationId="{7756B8F4-874A-CFB5-B37C-9B912FD9E344}"/>
          </ac:spMkLst>
        </pc:spChg>
        <pc:graphicFrameChg chg="mod modGraphic">
          <ac:chgData name="Hu, Frank" userId="d3ad470f-91d8-4bd6-b171-9c10023cc60b" providerId="ADAL" clId="{F46F829C-35B7-4081-93FD-C381AD92AAD7}" dt="2023-03-31T07:02:42.682" v="1578" actId="20577"/>
          <ac:graphicFrameMkLst>
            <pc:docMk/>
            <pc:sldMk cId="3201368661" sldId="2147479201"/>
            <ac:graphicFrameMk id="5" creationId="{9E296B13-D1C2-B83C-7EB6-1EB33B5ADEF8}"/>
          </ac:graphicFrameMkLst>
        </pc:graphicFrameChg>
      </pc:sldChg>
      <pc:sldChg chg="modSp mod">
        <pc:chgData name="Hu, Frank" userId="d3ad470f-91d8-4bd6-b171-9c10023cc60b" providerId="ADAL" clId="{F46F829C-35B7-4081-93FD-C381AD92AAD7}" dt="2023-04-27T01:44:10.154" v="11746" actId="6549"/>
        <pc:sldMkLst>
          <pc:docMk/>
          <pc:sldMk cId="388204582" sldId="2147479207"/>
        </pc:sldMkLst>
        <pc:graphicFrameChg chg="modGraphic">
          <ac:chgData name="Hu, Frank" userId="d3ad470f-91d8-4bd6-b171-9c10023cc60b" providerId="ADAL" clId="{F46F829C-35B7-4081-93FD-C381AD92AAD7}" dt="2023-04-27T01:44:10.154" v="11746" actId="6549"/>
          <ac:graphicFrameMkLst>
            <pc:docMk/>
            <pc:sldMk cId="388204582" sldId="2147479207"/>
            <ac:graphicFrameMk id="19" creationId="{BD63767C-6470-D2B1-7894-AD4635C34B6F}"/>
          </ac:graphicFrameMkLst>
        </pc:graphicFrameChg>
      </pc:sldChg>
      <pc:sldChg chg="delSp modSp mod">
        <pc:chgData name="Hu, Frank" userId="d3ad470f-91d8-4bd6-b171-9c10023cc60b" providerId="ADAL" clId="{F46F829C-35B7-4081-93FD-C381AD92AAD7}" dt="2023-03-31T09:07:35.898" v="1582" actId="478"/>
        <pc:sldMkLst>
          <pc:docMk/>
          <pc:sldMk cId="1629897296" sldId="2147479210"/>
        </pc:sldMkLst>
        <pc:spChg chg="mod">
          <ac:chgData name="Hu, Frank" userId="d3ad470f-91d8-4bd6-b171-9c10023cc60b" providerId="ADAL" clId="{F46F829C-35B7-4081-93FD-C381AD92AAD7}" dt="2023-03-31T06:47:20.388" v="1235" actId="20577"/>
          <ac:spMkLst>
            <pc:docMk/>
            <pc:sldMk cId="1629897296" sldId="2147479210"/>
            <ac:spMk id="40" creationId="{BB381822-17F4-5CDF-2D5D-D70889045957}"/>
          </ac:spMkLst>
        </pc:spChg>
        <pc:spChg chg="mod">
          <ac:chgData name="Hu, Frank" userId="d3ad470f-91d8-4bd6-b171-9c10023cc60b" providerId="ADAL" clId="{F46F829C-35B7-4081-93FD-C381AD92AAD7}" dt="2023-03-31T06:35:32.642" v="756" actId="20577"/>
          <ac:spMkLst>
            <pc:docMk/>
            <pc:sldMk cId="1629897296" sldId="2147479210"/>
            <ac:spMk id="58" creationId="{1A26B2E7-E7AE-DBCA-A30E-D1DBB6EAD8CF}"/>
          </ac:spMkLst>
        </pc:spChg>
        <pc:spChg chg="del">
          <ac:chgData name="Hu, Frank" userId="d3ad470f-91d8-4bd6-b171-9c10023cc60b" providerId="ADAL" clId="{F46F829C-35B7-4081-93FD-C381AD92AAD7}" dt="2023-03-31T09:07:32.551" v="1580" actId="478"/>
          <ac:spMkLst>
            <pc:docMk/>
            <pc:sldMk cId="1629897296" sldId="2147479210"/>
            <ac:spMk id="64" creationId="{540AA7B0-3C99-9984-3208-88E8CCDCCFD9}"/>
          </ac:spMkLst>
        </pc:spChg>
        <pc:spChg chg="del mod">
          <ac:chgData name="Hu, Frank" userId="d3ad470f-91d8-4bd6-b171-9c10023cc60b" providerId="ADAL" clId="{F46F829C-35B7-4081-93FD-C381AD92AAD7}" dt="2023-03-31T09:07:35.898" v="1582" actId="478"/>
          <ac:spMkLst>
            <pc:docMk/>
            <pc:sldMk cId="1629897296" sldId="2147479210"/>
            <ac:spMk id="69" creationId="{AF7D2739-F0AB-BACB-4055-DB52842C4B35}"/>
          </ac:spMkLst>
        </pc:spChg>
      </pc:sldChg>
      <pc:sldChg chg="modSp mod">
        <pc:chgData name="Hu, Frank" userId="d3ad470f-91d8-4bd6-b171-9c10023cc60b" providerId="ADAL" clId="{F46F829C-35B7-4081-93FD-C381AD92AAD7}" dt="2023-04-24T10:12:17.455" v="7979" actId="113"/>
        <pc:sldMkLst>
          <pc:docMk/>
          <pc:sldMk cId="1202851494" sldId="2147479522"/>
        </pc:sldMkLst>
        <pc:spChg chg="mod">
          <ac:chgData name="Hu, Frank" userId="d3ad470f-91d8-4bd6-b171-9c10023cc60b" providerId="ADAL" clId="{F46F829C-35B7-4081-93FD-C381AD92AAD7}" dt="2023-04-24T10:10:41.971" v="7977" actId="14100"/>
          <ac:spMkLst>
            <pc:docMk/>
            <pc:sldMk cId="1202851494" sldId="2147479522"/>
            <ac:spMk id="4" creationId="{DFC3E535-65FA-BE21-FBBF-B0C92747E258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9" creationId="{A404F097-6BA0-DE44-5DD5-5F12222A5A1E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21" creationId="{414E3312-9E5D-C49C-9CDD-C441DD1474F7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22" creationId="{E461EC14-A2AB-E2C7-A74D-3C394FC28021}"/>
          </ac:spMkLst>
        </pc:spChg>
        <pc:spChg chg="mod">
          <ac:chgData name="Hu, Frank" userId="d3ad470f-91d8-4bd6-b171-9c10023cc60b" providerId="ADAL" clId="{F46F829C-35B7-4081-93FD-C381AD92AAD7}" dt="2023-04-24T10:10:37.907" v="7976" actId="14100"/>
          <ac:spMkLst>
            <pc:docMk/>
            <pc:sldMk cId="1202851494" sldId="2147479522"/>
            <ac:spMk id="23" creationId="{D212E85C-E8F0-C387-F553-B63A45612658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46" creationId="{07C8DDE9-65EB-BE2B-CE17-72DDAD72A6A6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47" creationId="{FC6BB909-4B9B-8186-40E8-36A26AE75387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51" creationId="{4E0165E0-D9A6-5A68-AFE3-22295ABD4CF8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55" creationId="{5B5F904E-AEE8-58E2-DCC3-8594F99A1429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56" creationId="{A64C9F7F-F0C7-9A95-071F-71DF53E9D4C5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60" creationId="{EE53B1C1-2560-A6FB-F722-D8EDB557F495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63" creationId="{24450B3A-8149-D24C-2989-E47DFA4D760A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65" creationId="{4A1DEEAA-3792-C417-5D57-7FAA3645BAE0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66" creationId="{CE67E39F-12CF-1DB3-54AE-559CA0A36F9F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68" creationId="{ED5CFCDB-1815-8C6E-E97A-6F6161EAC89F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78" creationId="{218ED13B-D766-06C6-8D4A-9507648698DA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82" creationId="{22020634-30FD-45BC-EFE2-85370BEBCEA9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83" creationId="{832FFE46-5985-512B-3530-B3F5E66D1E1D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86" creationId="{5C610BF1-3BF9-B5E9-6E48-263AD223956E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88" creationId="{AB2942D4-A479-BD0F-C593-FB9718A4CCDA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89" creationId="{AB9E8F9C-C3B3-FB57-159B-C62A70E3418E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95" creationId="{FF63174F-6190-69FF-2025-F44FBE4DB9D2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21" creationId="{EE31197E-2BD1-A2D7-11F9-77EA8C4AEB17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23" creationId="{C8CD5E06-A5AE-E701-0F4C-40D5C206EEDC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24" creationId="{56B5D445-4237-6B98-137E-1DB579B6A536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30" creationId="{07EE12E6-CDC8-4219-68AF-9C590D037C00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31" creationId="{9787D9EC-0E07-8F94-EB09-D686D3B70431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32" creationId="{20A61275-A766-494E-B935-F08EA0953332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33" creationId="{8F639471-50EF-24F0-3BD9-7F163B6A1032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34" creationId="{49DF089C-EAD8-FA4C-ED2D-96A3F2C8B8D8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35" creationId="{0E6C00BF-0E89-ADC9-DEE8-63CFDA2FAA75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47" creationId="{86881CA3-8A0B-6340-569B-F849D1CFB709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49" creationId="{B7EFDF92-B431-95C8-2943-597A7C2D467C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50" creationId="{252F7DEB-6CAF-C3D9-55DE-BAD2D2356D98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65" creationId="{C8DBCE21-0D90-11DF-15E9-D79290D734A5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73" creationId="{496DFE2D-45DD-47B5-0844-E584E52FBDAE}"/>
          </ac:spMkLst>
        </pc:spChg>
        <pc:spChg chg="mod">
          <ac:chgData name="Hu, Frank" userId="d3ad470f-91d8-4bd6-b171-9c10023cc60b" providerId="ADAL" clId="{F46F829C-35B7-4081-93FD-C381AD92AAD7}" dt="2023-04-24T10:08:17.259" v="7963" actId="20577"/>
          <ac:spMkLst>
            <pc:docMk/>
            <pc:sldMk cId="1202851494" sldId="2147479522"/>
            <ac:spMk id="182" creationId="{278D26E1-09E9-BCE9-280C-DD643470C382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90" creationId="{6E19BC73-2440-C771-5F8A-C8A2345369B5}"/>
          </ac:spMkLst>
        </pc:spChg>
        <pc:spChg chg="mod">
          <ac:chgData name="Hu, Frank" userId="d3ad470f-91d8-4bd6-b171-9c10023cc60b" providerId="ADAL" clId="{F46F829C-35B7-4081-93FD-C381AD92AAD7}" dt="2023-04-24T10:12:17.455" v="7979" actId="113"/>
          <ac:spMkLst>
            <pc:docMk/>
            <pc:sldMk cId="1202851494" sldId="2147479522"/>
            <ac:spMk id="192" creationId="{2AF82947-D683-3261-A52A-F9F280A35C45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94" creationId="{070D1E5F-5D80-BF80-5020-9325B523FC92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98" creationId="{7CDE1717-B404-4106-2BAF-7F75982FE955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199" creationId="{BC776657-27D1-B22A-C02D-C5FD92E15DE3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200" creationId="{57369826-3F03-170F-FCEF-4A7BB29A09AA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202" creationId="{B6D12A7C-0557-27DF-9DF7-E015E52604C7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203" creationId="{77A43201-3B0F-03A7-505E-558C300BD258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205" creationId="{F4688359-5FAC-F09B-3894-3504AACA5E45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206" creationId="{5F0C6694-B9CB-D779-51EB-F6C7507C292F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207" creationId="{33F64CB9-676D-71BC-451B-35F2B20E9495}"/>
          </ac:spMkLst>
        </pc:spChg>
        <pc:spChg chg="mod">
          <ac:chgData name="Hu, Frank" userId="d3ad470f-91d8-4bd6-b171-9c10023cc60b" providerId="ADAL" clId="{F46F829C-35B7-4081-93FD-C381AD92AAD7}" dt="2023-04-24T10:10:31.670" v="7975" actId="1035"/>
          <ac:spMkLst>
            <pc:docMk/>
            <pc:sldMk cId="1202851494" sldId="2147479522"/>
            <ac:spMk id="208" creationId="{67A9D68A-582C-0FBE-6C97-4B9A196A85EE}"/>
          </ac:spMkLst>
        </pc:spChg>
        <pc:grpChg chg="mod">
          <ac:chgData name="Hu, Frank" userId="d3ad470f-91d8-4bd6-b171-9c10023cc60b" providerId="ADAL" clId="{F46F829C-35B7-4081-93FD-C381AD92AAD7}" dt="2023-04-24T10:10:31.670" v="7975" actId="1035"/>
          <ac:grpSpMkLst>
            <pc:docMk/>
            <pc:sldMk cId="1202851494" sldId="2147479522"/>
            <ac:grpSpMk id="39" creationId="{2DFAC540-F96C-997A-DE29-07CDD332027D}"/>
          </ac:grpSpMkLst>
        </pc:grpChg>
        <pc:grpChg chg="mod">
          <ac:chgData name="Hu, Frank" userId="d3ad470f-91d8-4bd6-b171-9c10023cc60b" providerId="ADAL" clId="{F46F829C-35B7-4081-93FD-C381AD92AAD7}" dt="2023-04-24T10:10:31.670" v="7975" actId="1035"/>
          <ac:grpSpMkLst>
            <pc:docMk/>
            <pc:sldMk cId="1202851494" sldId="2147479522"/>
            <ac:grpSpMk id="50" creationId="{6A770945-DD5C-8E9B-3CB1-B7E3B000A524}"/>
          </ac:grpSpMkLst>
        </pc:grpChg>
        <pc:graphicFrameChg chg="mod">
          <ac:chgData name="Hu, Frank" userId="d3ad470f-91d8-4bd6-b171-9c10023cc60b" providerId="ADAL" clId="{F46F829C-35B7-4081-93FD-C381AD92AAD7}" dt="2023-04-24T10:10:31.670" v="7975" actId="1035"/>
          <ac:graphicFrameMkLst>
            <pc:docMk/>
            <pc:sldMk cId="1202851494" sldId="2147479522"/>
            <ac:graphicFrameMk id="94" creationId="{2C917C4A-13D2-6274-BB24-6C90CAE798BE}"/>
          </ac:graphicFrameMkLst>
        </pc:graphicFrameChg>
        <pc:picChg chg="mod">
          <ac:chgData name="Hu, Frank" userId="d3ad470f-91d8-4bd6-b171-9c10023cc60b" providerId="ADAL" clId="{F46F829C-35B7-4081-93FD-C381AD92AAD7}" dt="2023-04-24T09:49:28.242" v="7914" actId="1076"/>
          <ac:picMkLst>
            <pc:docMk/>
            <pc:sldMk cId="1202851494" sldId="2147479522"/>
            <ac:picMk id="5" creationId="{99D3D3A0-9D95-C51A-80D9-61A6D53BEFE8}"/>
          </ac:picMkLst>
        </pc:picChg>
        <pc:picChg chg="mod">
          <ac:chgData name="Hu, Frank" userId="d3ad470f-91d8-4bd6-b171-9c10023cc60b" providerId="ADAL" clId="{F46F829C-35B7-4081-93FD-C381AD92AAD7}" dt="2023-04-24T10:10:31.670" v="7975" actId="1035"/>
          <ac:picMkLst>
            <pc:docMk/>
            <pc:sldMk cId="1202851494" sldId="2147479522"/>
            <ac:picMk id="45" creationId="{7FF7D62F-7EE5-5B3F-7B28-7D55D5DAD21F}"/>
          </ac:picMkLst>
        </pc:picChg>
        <pc:cxnChg chg="mod">
          <ac:chgData name="Hu, Frank" userId="d3ad470f-91d8-4bd6-b171-9c10023cc60b" providerId="ADAL" clId="{F46F829C-35B7-4081-93FD-C381AD92AAD7}" dt="2023-04-24T10:10:31.670" v="7975" actId="1035"/>
          <ac:cxnSpMkLst>
            <pc:docMk/>
            <pc:sldMk cId="1202851494" sldId="2147479522"/>
            <ac:cxnSpMk id="97" creationId="{37832572-3AF0-69A6-8569-AE6D11C6E81A}"/>
          </ac:cxnSpMkLst>
        </pc:cxnChg>
        <pc:cxnChg chg="mod">
          <ac:chgData name="Hu, Frank" userId="d3ad470f-91d8-4bd6-b171-9c10023cc60b" providerId="ADAL" clId="{F46F829C-35B7-4081-93FD-C381AD92AAD7}" dt="2023-04-24T10:10:31.670" v="7975" actId="1035"/>
          <ac:cxnSpMkLst>
            <pc:docMk/>
            <pc:sldMk cId="1202851494" sldId="2147479522"/>
            <ac:cxnSpMk id="141" creationId="{DC36EC5C-7548-A202-25EC-2553379CF587}"/>
          </ac:cxnSpMkLst>
        </pc:cxnChg>
        <pc:cxnChg chg="mod">
          <ac:chgData name="Hu, Frank" userId="d3ad470f-91d8-4bd6-b171-9c10023cc60b" providerId="ADAL" clId="{F46F829C-35B7-4081-93FD-C381AD92AAD7}" dt="2023-04-24T10:10:31.670" v="7975" actId="1035"/>
          <ac:cxnSpMkLst>
            <pc:docMk/>
            <pc:sldMk cId="1202851494" sldId="2147479522"/>
            <ac:cxnSpMk id="151" creationId="{38616B50-DCE0-40AC-2D9A-049EB7A19189}"/>
          </ac:cxnSpMkLst>
        </pc:cxnChg>
        <pc:cxnChg chg="mod">
          <ac:chgData name="Hu, Frank" userId="d3ad470f-91d8-4bd6-b171-9c10023cc60b" providerId="ADAL" clId="{F46F829C-35B7-4081-93FD-C381AD92AAD7}" dt="2023-04-24T10:10:31.670" v="7975" actId="1035"/>
          <ac:cxnSpMkLst>
            <pc:docMk/>
            <pc:sldMk cId="1202851494" sldId="2147479522"/>
            <ac:cxnSpMk id="166" creationId="{96EB2CD1-49FB-00F6-280F-1BDE79DD5D06}"/>
          </ac:cxnSpMkLst>
        </pc:cxnChg>
        <pc:cxnChg chg="mod">
          <ac:chgData name="Hu, Frank" userId="d3ad470f-91d8-4bd6-b171-9c10023cc60b" providerId="ADAL" clId="{F46F829C-35B7-4081-93FD-C381AD92AAD7}" dt="2023-04-24T10:10:31.670" v="7975" actId="1035"/>
          <ac:cxnSpMkLst>
            <pc:docMk/>
            <pc:sldMk cId="1202851494" sldId="2147479522"/>
            <ac:cxnSpMk id="169" creationId="{B0DB2D7A-CED8-2A3F-A4C8-B51B5598B5D8}"/>
          </ac:cxnSpMkLst>
        </pc:cxnChg>
        <pc:cxnChg chg="mod">
          <ac:chgData name="Hu, Frank" userId="d3ad470f-91d8-4bd6-b171-9c10023cc60b" providerId="ADAL" clId="{F46F829C-35B7-4081-93FD-C381AD92AAD7}" dt="2023-04-24T10:10:31.670" v="7975" actId="1035"/>
          <ac:cxnSpMkLst>
            <pc:docMk/>
            <pc:sldMk cId="1202851494" sldId="2147479522"/>
            <ac:cxnSpMk id="174" creationId="{533B23C2-1AC1-A15E-DA6A-9505CBF5AE00}"/>
          </ac:cxnSpMkLst>
        </pc:cxnChg>
      </pc:sldChg>
      <pc:sldChg chg="modSp mod">
        <pc:chgData name="Hu, Frank" userId="d3ad470f-91d8-4bd6-b171-9c10023cc60b" providerId="ADAL" clId="{F46F829C-35B7-4081-93FD-C381AD92AAD7}" dt="2023-03-31T07:01:03.041" v="1504" actId="20577"/>
        <pc:sldMkLst>
          <pc:docMk/>
          <pc:sldMk cId="228772253" sldId="2147479586"/>
        </pc:sldMkLst>
        <pc:spChg chg="mod">
          <ac:chgData name="Hu, Frank" userId="d3ad470f-91d8-4bd6-b171-9c10023cc60b" providerId="ADAL" clId="{F46F829C-35B7-4081-93FD-C381AD92AAD7}" dt="2023-03-31T07:01:03.041" v="1504" actId="20577"/>
          <ac:spMkLst>
            <pc:docMk/>
            <pc:sldMk cId="228772253" sldId="2147479586"/>
            <ac:spMk id="3" creationId="{70FA95E4-14A9-A0D5-F0DF-339A223CE8A8}"/>
          </ac:spMkLst>
        </pc:spChg>
        <pc:graphicFrameChg chg="modGraphic">
          <ac:chgData name="Hu, Frank" userId="d3ad470f-91d8-4bd6-b171-9c10023cc60b" providerId="ADAL" clId="{F46F829C-35B7-4081-93FD-C381AD92AAD7}" dt="2023-03-31T06:34:40.440" v="755" actId="207"/>
          <ac:graphicFrameMkLst>
            <pc:docMk/>
            <pc:sldMk cId="228772253" sldId="2147479586"/>
            <ac:graphicFrameMk id="17" creationId="{98286A7B-A899-A30A-F56C-573400038B2D}"/>
          </ac:graphicFrameMkLst>
        </pc:graphicFrameChg>
      </pc:sldChg>
      <pc:sldChg chg="addSp delSp modSp mod ord">
        <pc:chgData name="Hu, Frank" userId="d3ad470f-91d8-4bd6-b171-9c10023cc60b" providerId="ADAL" clId="{F46F829C-35B7-4081-93FD-C381AD92AAD7}" dt="2023-03-31T09:18:32.206" v="1687" actId="20577"/>
        <pc:sldMkLst>
          <pc:docMk/>
          <pc:sldMk cId="2873784161" sldId="2147479587"/>
        </pc:sldMkLst>
        <pc:spChg chg="mod">
          <ac:chgData name="Hu, Frank" userId="d3ad470f-91d8-4bd6-b171-9c10023cc60b" providerId="ADAL" clId="{F46F829C-35B7-4081-93FD-C381AD92AAD7}" dt="2023-03-31T06:58:18.662" v="1467" actId="20577"/>
          <ac:spMkLst>
            <pc:docMk/>
            <pc:sldMk cId="2873784161" sldId="2147479587"/>
            <ac:spMk id="2" creationId="{BC490A35-1DC8-9744-73AA-9460F2D0B0A7}"/>
          </ac:spMkLst>
        </pc:spChg>
        <pc:spChg chg="mod ord">
          <ac:chgData name="Hu, Frank" userId="d3ad470f-91d8-4bd6-b171-9c10023cc60b" providerId="ADAL" clId="{F46F829C-35B7-4081-93FD-C381AD92AAD7}" dt="2023-03-31T09:10:17.972" v="1592" actId="1076"/>
          <ac:spMkLst>
            <pc:docMk/>
            <pc:sldMk cId="2873784161" sldId="2147479587"/>
            <ac:spMk id="6" creationId="{BB66D4D3-2964-533F-FFE0-B444952E7FC8}"/>
          </ac:spMkLst>
        </pc:spChg>
        <pc:spChg chg="mod ord">
          <ac:chgData name="Hu, Frank" userId="d3ad470f-91d8-4bd6-b171-9c10023cc60b" providerId="ADAL" clId="{F46F829C-35B7-4081-93FD-C381AD92AAD7}" dt="2023-03-31T06:55:59.092" v="1450" actId="20577"/>
          <ac:spMkLst>
            <pc:docMk/>
            <pc:sldMk cId="2873784161" sldId="2147479587"/>
            <ac:spMk id="7" creationId="{379A5AB2-E984-7CE5-3CBC-5D72F63BC156}"/>
          </ac:spMkLst>
        </pc:spChg>
        <pc:spChg chg="mod ord">
          <ac:chgData name="Hu, Frank" userId="d3ad470f-91d8-4bd6-b171-9c10023cc60b" providerId="ADAL" clId="{F46F829C-35B7-4081-93FD-C381AD92AAD7}" dt="2023-03-31T09:10:14.214" v="1591" actId="1076"/>
          <ac:spMkLst>
            <pc:docMk/>
            <pc:sldMk cId="2873784161" sldId="2147479587"/>
            <ac:spMk id="8" creationId="{7DEDF191-891E-E251-CD2C-777181A1501C}"/>
          </ac:spMkLst>
        </pc:spChg>
        <pc:spChg chg="mod">
          <ac:chgData name="Hu, Frank" userId="d3ad470f-91d8-4bd6-b171-9c10023cc60b" providerId="ADAL" clId="{F46F829C-35B7-4081-93FD-C381AD92AAD7}" dt="2023-03-31T06:30:47.751" v="621" actId="1076"/>
          <ac:spMkLst>
            <pc:docMk/>
            <pc:sldMk cId="2873784161" sldId="2147479587"/>
            <ac:spMk id="10" creationId="{7309260E-3B39-6A31-B44D-B6064FF33930}"/>
          </ac:spMkLst>
        </pc:spChg>
        <pc:spChg chg="mod">
          <ac:chgData name="Hu, Frank" userId="d3ad470f-91d8-4bd6-b171-9c10023cc60b" providerId="ADAL" clId="{F46F829C-35B7-4081-93FD-C381AD92AAD7}" dt="2023-03-31T05:55:00.570" v="79" actId="1076"/>
          <ac:spMkLst>
            <pc:docMk/>
            <pc:sldMk cId="2873784161" sldId="2147479587"/>
            <ac:spMk id="18" creationId="{E9370A7B-7FA6-289F-3FB6-82DB5CE627D3}"/>
          </ac:spMkLst>
        </pc:spChg>
        <pc:spChg chg="mod">
          <ac:chgData name="Hu, Frank" userId="d3ad470f-91d8-4bd6-b171-9c10023cc60b" providerId="ADAL" clId="{F46F829C-35B7-4081-93FD-C381AD92AAD7}" dt="2023-03-31T06:55:39.246" v="1448" actId="1076"/>
          <ac:spMkLst>
            <pc:docMk/>
            <pc:sldMk cId="2873784161" sldId="2147479587"/>
            <ac:spMk id="25" creationId="{EF0B6AB1-AC63-8AA3-165D-4FE7875FF401}"/>
          </ac:spMkLst>
        </pc:spChg>
        <pc:spChg chg="mod ord">
          <ac:chgData name="Hu, Frank" userId="d3ad470f-91d8-4bd6-b171-9c10023cc60b" providerId="ADAL" clId="{F46F829C-35B7-4081-93FD-C381AD92AAD7}" dt="2023-03-31T09:14:03.655" v="1634" actId="20577"/>
          <ac:spMkLst>
            <pc:docMk/>
            <pc:sldMk cId="2873784161" sldId="2147479587"/>
            <ac:spMk id="30" creationId="{7E5DEF78-6C94-D3E2-E651-C4BE8001383F}"/>
          </ac:spMkLst>
        </pc:spChg>
        <pc:spChg chg="mod">
          <ac:chgData name="Hu, Frank" userId="d3ad470f-91d8-4bd6-b171-9c10023cc60b" providerId="ADAL" clId="{F46F829C-35B7-4081-93FD-C381AD92AAD7}" dt="2023-03-31T06:48:39.079" v="1237" actId="1076"/>
          <ac:spMkLst>
            <pc:docMk/>
            <pc:sldMk cId="2873784161" sldId="2147479587"/>
            <ac:spMk id="31" creationId="{AE30DFBA-5182-5A57-EEA9-EE1503355B22}"/>
          </ac:spMkLst>
        </pc:spChg>
        <pc:spChg chg="mod">
          <ac:chgData name="Hu, Frank" userId="d3ad470f-91d8-4bd6-b171-9c10023cc60b" providerId="ADAL" clId="{F46F829C-35B7-4081-93FD-C381AD92AAD7}" dt="2023-03-31T09:18:32.206" v="1687" actId="20577"/>
          <ac:spMkLst>
            <pc:docMk/>
            <pc:sldMk cId="2873784161" sldId="2147479587"/>
            <ac:spMk id="32" creationId="{8CEAF265-3E65-86E6-8FC6-75C4EE8276A5}"/>
          </ac:spMkLst>
        </pc:spChg>
        <pc:graphicFrameChg chg="add mod modGraphic">
          <ac:chgData name="Hu, Frank" userId="d3ad470f-91d8-4bd6-b171-9c10023cc60b" providerId="ADAL" clId="{F46F829C-35B7-4081-93FD-C381AD92AAD7}" dt="2023-03-31T06:05:21.076" v="125" actId="1076"/>
          <ac:graphicFrameMkLst>
            <pc:docMk/>
            <pc:sldMk cId="2873784161" sldId="2147479587"/>
            <ac:graphicFrameMk id="20" creationId="{6CAC0D50-75F5-C484-0F80-765F91CB1D41}"/>
          </ac:graphicFrameMkLst>
        </pc:graphicFrameChg>
        <pc:picChg chg="add del mod">
          <ac:chgData name="Hu, Frank" userId="d3ad470f-91d8-4bd6-b171-9c10023cc60b" providerId="ADAL" clId="{F46F829C-35B7-4081-93FD-C381AD92AAD7}" dt="2023-03-31T05:53:06.335" v="71"/>
          <ac:picMkLst>
            <pc:docMk/>
            <pc:sldMk cId="2873784161" sldId="2147479587"/>
            <ac:picMk id="5" creationId="{42752805-9926-EFCE-B713-EDC457FE0D2D}"/>
          </ac:picMkLst>
        </pc:picChg>
        <pc:picChg chg="add del">
          <ac:chgData name="Hu, Frank" userId="d3ad470f-91d8-4bd6-b171-9c10023cc60b" providerId="ADAL" clId="{F46F829C-35B7-4081-93FD-C381AD92AAD7}" dt="2023-03-31T05:56:02.004" v="84" actId="478"/>
          <ac:picMkLst>
            <pc:docMk/>
            <pc:sldMk cId="2873784161" sldId="2147479587"/>
            <ac:picMk id="9" creationId="{9B67CC98-FDA8-04F6-4FD2-426F57A25258}"/>
          </ac:picMkLst>
        </pc:picChg>
        <pc:picChg chg="add del mod">
          <ac:chgData name="Hu, Frank" userId="d3ad470f-91d8-4bd6-b171-9c10023cc60b" providerId="ADAL" clId="{F46F829C-35B7-4081-93FD-C381AD92AAD7}" dt="2023-03-31T05:54:28.958" v="74" actId="478"/>
          <ac:picMkLst>
            <pc:docMk/>
            <pc:sldMk cId="2873784161" sldId="2147479587"/>
            <ac:picMk id="11" creationId="{E9A1E109-22D5-21EC-A92E-4A1455BADEC9}"/>
          </ac:picMkLst>
        </pc:picChg>
        <pc:picChg chg="add del mod">
          <ac:chgData name="Hu, Frank" userId="d3ad470f-91d8-4bd6-b171-9c10023cc60b" providerId="ADAL" clId="{F46F829C-35B7-4081-93FD-C381AD92AAD7}" dt="2023-03-31T05:56:03.102" v="85" actId="478"/>
          <ac:picMkLst>
            <pc:docMk/>
            <pc:sldMk cId="2873784161" sldId="2147479587"/>
            <ac:picMk id="14" creationId="{FC9FB948-FEFA-4A19-41A9-04E393C048E4}"/>
          </ac:picMkLst>
        </pc:picChg>
        <pc:picChg chg="add mod ord">
          <ac:chgData name="Hu, Frank" userId="d3ad470f-91d8-4bd6-b171-9c10023cc60b" providerId="ADAL" clId="{F46F829C-35B7-4081-93FD-C381AD92AAD7}" dt="2023-03-31T05:57:28.635" v="91" actId="171"/>
          <ac:picMkLst>
            <pc:docMk/>
            <pc:sldMk cId="2873784161" sldId="2147479587"/>
            <ac:picMk id="19" creationId="{47A6CDFB-F63A-FB22-147E-B3C7A1E1F1BD}"/>
          </ac:picMkLst>
        </pc:picChg>
      </pc:sldChg>
      <pc:sldChg chg="modSp del mod ord modShow">
        <pc:chgData name="Hu, Frank" userId="d3ad470f-91d8-4bd6-b171-9c10023cc60b" providerId="ADAL" clId="{F46F829C-35B7-4081-93FD-C381AD92AAD7}" dt="2023-03-31T05:59:28.198" v="119"/>
        <pc:sldMkLst>
          <pc:docMk/>
          <pc:sldMk cId="435103073" sldId="2147479588"/>
        </pc:sldMkLst>
        <pc:spChg chg="mod">
          <ac:chgData name="Hu, Frank" userId="d3ad470f-91d8-4bd6-b171-9c10023cc60b" providerId="ADAL" clId="{F46F829C-35B7-4081-93FD-C381AD92AAD7}" dt="2023-03-31T01:26:26.860" v="30" actId="20577"/>
          <ac:spMkLst>
            <pc:docMk/>
            <pc:sldMk cId="435103073" sldId="2147479588"/>
            <ac:spMk id="5" creationId="{24CF1438-BD00-0DC0-5825-D8E137AC727B}"/>
          </ac:spMkLst>
        </pc:spChg>
      </pc:sldChg>
      <pc:sldChg chg="modSp mod">
        <pc:chgData name="Hu, Frank" userId="d3ad470f-91d8-4bd6-b171-9c10023cc60b" providerId="ADAL" clId="{F46F829C-35B7-4081-93FD-C381AD92AAD7}" dt="2023-04-03T12:00:14.105" v="1688" actId="14734"/>
        <pc:sldMkLst>
          <pc:docMk/>
          <pc:sldMk cId="2548611513" sldId="2147479589"/>
        </pc:sldMkLst>
        <pc:spChg chg="mod">
          <ac:chgData name="Hu, Frank" userId="d3ad470f-91d8-4bd6-b171-9c10023cc60b" providerId="ADAL" clId="{F46F829C-35B7-4081-93FD-C381AD92AAD7}" dt="2023-03-31T06:58:24.350" v="1473" actId="20577"/>
          <ac:spMkLst>
            <pc:docMk/>
            <pc:sldMk cId="2548611513" sldId="2147479589"/>
            <ac:spMk id="3" creationId="{70FA95E4-14A9-A0D5-F0DF-339A223CE8A8}"/>
          </ac:spMkLst>
        </pc:spChg>
        <pc:graphicFrameChg chg="modGraphic">
          <ac:chgData name="Hu, Frank" userId="d3ad470f-91d8-4bd6-b171-9c10023cc60b" providerId="ADAL" clId="{F46F829C-35B7-4081-93FD-C381AD92AAD7}" dt="2023-04-03T12:00:14.105" v="1688" actId="14734"/>
          <ac:graphicFrameMkLst>
            <pc:docMk/>
            <pc:sldMk cId="2548611513" sldId="2147479589"/>
            <ac:graphicFrameMk id="4" creationId="{69E6BDDA-2083-49A5-2535-404BBB2F3686}"/>
          </ac:graphicFrameMkLst>
        </pc:graphicFrameChg>
      </pc:sldChg>
      <pc:sldChg chg="delSp modSp mod ord">
        <pc:chgData name="Hu, Frank" userId="d3ad470f-91d8-4bd6-b171-9c10023cc60b" providerId="ADAL" clId="{F46F829C-35B7-4081-93FD-C381AD92AAD7}" dt="2023-04-10T10:21:13.713" v="3095"/>
        <pc:sldMkLst>
          <pc:docMk/>
          <pc:sldMk cId="2283045370" sldId="2147479600"/>
        </pc:sldMkLst>
        <pc:spChg chg="mod">
          <ac:chgData name="Hu, Frank" userId="d3ad470f-91d8-4bd6-b171-9c10023cc60b" providerId="ADAL" clId="{F46F829C-35B7-4081-93FD-C381AD92AAD7}" dt="2023-03-31T05:49:42.995" v="37" actId="6549"/>
          <ac:spMkLst>
            <pc:docMk/>
            <pc:sldMk cId="2283045370" sldId="2147479600"/>
            <ac:spMk id="53" creationId="{DB3E97CF-BF10-9431-8937-A889B6A99170}"/>
          </ac:spMkLst>
        </pc:spChg>
        <pc:spChg chg="mod">
          <ac:chgData name="Hu, Frank" userId="d3ad470f-91d8-4bd6-b171-9c10023cc60b" providerId="ADAL" clId="{F46F829C-35B7-4081-93FD-C381AD92AAD7}" dt="2023-03-31T05:49:40.146" v="36" actId="20577"/>
          <ac:spMkLst>
            <pc:docMk/>
            <pc:sldMk cId="2283045370" sldId="2147479600"/>
            <ac:spMk id="59" creationId="{C4FA5857-D9DA-9327-212C-B73D9E0E47BF}"/>
          </ac:spMkLst>
        </pc:spChg>
        <pc:spChg chg="mod">
          <ac:chgData name="Hu, Frank" userId="d3ad470f-91d8-4bd6-b171-9c10023cc60b" providerId="ADAL" clId="{F46F829C-35B7-4081-93FD-C381AD92AAD7}" dt="2023-03-31T05:49:07.411" v="35" actId="20577"/>
          <ac:spMkLst>
            <pc:docMk/>
            <pc:sldMk cId="2283045370" sldId="2147479600"/>
            <ac:spMk id="83" creationId="{B2F912FF-0A5F-0DF0-6B01-D82E5942C70F}"/>
          </ac:spMkLst>
        </pc:spChg>
        <pc:spChg chg="mod">
          <ac:chgData name="Hu, Frank" userId="d3ad470f-91d8-4bd6-b171-9c10023cc60b" providerId="ADAL" clId="{F46F829C-35B7-4081-93FD-C381AD92AAD7}" dt="2023-03-31T05:49:04.313" v="34" actId="20577"/>
          <ac:spMkLst>
            <pc:docMk/>
            <pc:sldMk cId="2283045370" sldId="2147479600"/>
            <ac:spMk id="87" creationId="{DBA0C69B-B586-D5B1-719A-ABC7E8F9330B}"/>
          </ac:spMkLst>
        </pc:spChg>
        <pc:spChg chg="del">
          <ac:chgData name="Hu, Frank" userId="d3ad470f-91d8-4bd6-b171-9c10023cc60b" providerId="ADAL" clId="{F46F829C-35B7-4081-93FD-C381AD92AAD7}" dt="2023-03-31T05:47:56.182" v="31" actId="478"/>
          <ac:spMkLst>
            <pc:docMk/>
            <pc:sldMk cId="2283045370" sldId="2147479600"/>
            <ac:spMk id="161" creationId="{40CD0688-A40C-313C-E8F4-F012757048EB}"/>
          </ac:spMkLst>
        </pc:spChg>
        <pc:spChg chg="del">
          <ac:chgData name="Hu, Frank" userId="d3ad470f-91d8-4bd6-b171-9c10023cc60b" providerId="ADAL" clId="{F46F829C-35B7-4081-93FD-C381AD92AAD7}" dt="2023-03-31T05:47:58.918" v="32" actId="478"/>
          <ac:spMkLst>
            <pc:docMk/>
            <pc:sldMk cId="2283045370" sldId="2147479600"/>
            <ac:spMk id="162" creationId="{8B9EE866-3120-9A1C-62F0-8D05EB07CB90}"/>
          </ac:spMkLst>
        </pc:spChg>
        <pc:spChg chg="del">
          <ac:chgData name="Hu, Frank" userId="d3ad470f-91d8-4bd6-b171-9c10023cc60b" providerId="ADAL" clId="{F46F829C-35B7-4081-93FD-C381AD92AAD7}" dt="2023-03-31T05:48:00.879" v="33" actId="478"/>
          <ac:spMkLst>
            <pc:docMk/>
            <pc:sldMk cId="2283045370" sldId="2147479600"/>
            <ac:spMk id="163" creationId="{6F912E37-8D3C-A097-C907-BFF1A8F2DD3C}"/>
          </ac:spMkLst>
        </pc:spChg>
      </pc:sldChg>
      <pc:sldChg chg="modSp mod">
        <pc:chgData name="Hu, Frank" userId="d3ad470f-91d8-4bd6-b171-9c10023cc60b" providerId="ADAL" clId="{F46F829C-35B7-4081-93FD-C381AD92AAD7}" dt="2023-03-31T06:38:58.562" v="1005" actId="20577"/>
        <pc:sldMkLst>
          <pc:docMk/>
          <pc:sldMk cId="3529416156" sldId="2147479602"/>
        </pc:sldMkLst>
        <pc:spChg chg="mod">
          <ac:chgData name="Hu, Frank" userId="d3ad470f-91d8-4bd6-b171-9c10023cc60b" providerId="ADAL" clId="{F46F829C-35B7-4081-93FD-C381AD92AAD7}" dt="2023-03-31T06:38:58.562" v="1005" actId="20577"/>
          <ac:spMkLst>
            <pc:docMk/>
            <pc:sldMk cId="3529416156" sldId="2147479602"/>
            <ac:spMk id="100" creationId="{CDCCF724-E1E4-3C6E-9D42-048C4F196354}"/>
          </ac:spMkLst>
        </pc:spChg>
      </pc:sldChg>
      <pc:sldChg chg="addSp modSp mod ord modShow">
        <pc:chgData name="Hu, Frank" userId="d3ad470f-91d8-4bd6-b171-9c10023cc60b" providerId="ADAL" clId="{F46F829C-35B7-4081-93FD-C381AD92AAD7}" dt="2023-04-10T10:22:28.953" v="3101"/>
        <pc:sldMkLst>
          <pc:docMk/>
          <pc:sldMk cId="3083748365" sldId="2147479667"/>
        </pc:sldMkLst>
        <pc:spChg chg="mod">
          <ac:chgData name="Hu, Frank" userId="d3ad470f-91d8-4bd6-b171-9c10023cc60b" providerId="ADAL" clId="{F46F829C-35B7-4081-93FD-C381AD92AAD7}" dt="2023-04-10T08:31:42.320" v="1876" actId="20577"/>
          <ac:spMkLst>
            <pc:docMk/>
            <pc:sldMk cId="3083748365" sldId="2147479667"/>
            <ac:spMk id="3" creationId="{3C351361-B5FC-3B4C-93C7-23720EA4465F}"/>
          </ac:spMkLst>
        </pc:spChg>
        <pc:spChg chg="mod">
          <ac:chgData name="Hu, Frank" userId="d3ad470f-91d8-4bd6-b171-9c10023cc60b" providerId="ADAL" clId="{F46F829C-35B7-4081-93FD-C381AD92AAD7}" dt="2023-04-10T08:28:58.136" v="1752" actId="1076"/>
          <ac:spMkLst>
            <pc:docMk/>
            <pc:sldMk cId="3083748365" sldId="2147479667"/>
            <ac:spMk id="17" creationId="{C80B02E7-1180-234E-F2F3-E33C44A47D52}"/>
          </ac:spMkLst>
        </pc:spChg>
        <pc:spChg chg="add mod">
          <ac:chgData name="Hu, Frank" userId="d3ad470f-91d8-4bd6-b171-9c10023cc60b" providerId="ADAL" clId="{F46F829C-35B7-4081-93FD-C381AD92AAD7}" dt="2023-04-07T09:24:05.598" v="1690" actId="1076"/>
          <ac:spMkLst>
            <pc:docMk/>
            <pc:sldMk cId="3083748365" sldId="2147479667"/>
            <ac:spMk id="22" creationId="{171328AC-8B28-0B9D-5301-DED210D9941C}"/>
          </ac:spMkLst>
        </pc:spChg>
        <pc:spChg chg="add mod">
          <ac:chgData name="Hu, Frank" userId="d3ad470f-91d8-4bd6-b171-9c10023cc60b" providerId="ADAL" clId="{F46F829C-35B7-4081-93FD-C381AD92AAD7}" dt="2023-04-07T09:24:12.237" v="1692" actId="1076"/>
          <ac:spMkLst>
            <pc:docMk/>
            <pc:sldMk cId="3083748365" sldId="2147479667"/>
            <ac:spMk id="24" creationId="{EC2AF732-5463-12C5-569C-B0DFD96B09C8}"/>
          </ac:spMkLst>
        </pc:spChg>
        <pc:spChg chg="mod">
          <ac:chgData name="Hu, Frank" userId="d3ad470f-91d8-4bd6-b171-9c10023cc60b" providerId="ADAL" clId="{F46F829C-35B7-4081-93FD-C381AD92AAD7}" dt="2023-04-10T08:29:54.267" v="1832" actId="20577"/>
          <ac:spMkLst>
            <pc:docMk/>
            <pc:sldMk cId="3083748365" sldId="2147479667"/>
            <ac:spMk id="56" creationId="{C9CDC39A-79BF-9E57-BAA2-2DE9D1DAF8B3}"/>
          </ac:spMkLst>
        </pc:spChg>
        <pc:spChg chg="mod">
          <ac:chgData name="Hu, Frank" userId="d3ad470f-91d8-4bd6-b171-9c10023cc60b" providerId="ADAL" clId="{F46F829C-35B7-4081-93FD-C381AD92AAD7}" dt="2023-04-10T08:31:46.966" v="1881" actId="20577"/>
          <ac:spMkLst>
            <pc:docMk/>
            <pc:sldMk cId="3083748365" sldId="2147479667"/>
            <ac:spMk id="82" creationId="{161D99B6-FF3E-1D66-D890-AD0BA723250A}"/>
          </ac:spMkLst>
        </pc:spChg>
        <pc:spChg chg="mod">
          <ac:chgData name="Hu, Frank" userId="d3ad470f-91d8-4bd6-b171-9c10023cc60b" providerId="ADAL" clId="{F46F829C-35B7-4081-93FD-C381AD92AAD7}" dt="2023-04-10T08:28:53.009" v="1751" actId="20577"/>
          <ac:spMkLst>
            <pc:docMk/>
            <pc:sldMk cId="3083748365" sldId="2147479667"/>
            <ac:spMk id="104" creationId="{5C039F13-0454-07BF-6A56-3A3BEC83724E}"/>
          </ac:spMkLst>
        </pc:spChg>
      </pc:sldChg>
      <pc:sldChg chg="addSp delSp modSp add mod ord modShow">
        <pc:chgData name="Hu, Frank" userId="d3ad470f-91d8-4bd6-b171-9c10023cc60b" providerId="ADAL" clId="{F46F829C-35B7-4081-93FD-C381AD92AAD7}" dt="2023-04-10T10:22:28.953" v="3101"/>
        <pc:sldMkLst>
          <pc:docMk/>
          <pc:sldMk cId="4093366862" sldId="2147479671"/>
        </pc:sldMkLst>
        <pc:spChg chg="mod">
          <ac:chgData name="Hu, Frank" userId="d3ad470f-91d8-4bd6-b171-9c10023cc60b" providerId="ADAL" clId="{F46F829C-35B7-4081-93FD-C381AD92AAD7}" dt="2023-04-10T09:06:37.955" v="2904" actId="20577"/>
          <ac:spMkLst>
            <pc:docMk/>
            <pc:sldMk cId="4093366862" sldId="2147479671"/>
            <ac:spMk id="3" creationId="{3C351361-B5FC-3B4C-93C7-23720EA4465F}"/>
          </ac:spMkLst>
        </pc:spChg>
        <pc:spChg chg="mod">
          <ac:chgData name="Hu, Frank" userId="d3ad470f-91d8-4bd6-b171-9c10023cc60b" providerId="ADAL" clId="{F46F829C-35B7-4081-93FD-C381AD92AAD7}" dt="2023-04-10T08:53:39.382" v="2339" actId="1035"/>
          <ac:spMkLst>
            <pc:docMk/>
            <pc:sldMk cId="4093366862" sldId="2147479671"/>
            <ac:spMk id="4" creationId="{F2744372-ED7F-C1E4-437F-42D7D85A9001}"/>
          </ac:spMkLst>
        </pc:spChg>
        <pc:spChg chg="mod">
          <ac:chgData name="Hu, Frank" userId="d3ad470f-91d8-4bd6-b171-9c10023cc60b" providerId="ADAL" clId="{F46F829C-35B7-4081-93FD-C381AD92AAD7}" dt="2023-04-10T08:54:46.669" v="2376" actId="20577"/>
          <ac:spMkLst>
            <pc:docMk/>
            <pc:sldMk cId="4093366862" sldId="2147479671"/>
            <ac:spMk id="7" creationId="{7DB22AF5-BAC5-902E-F5C8-B86B603DE846}"/>
          </ac:spMkLst>
        </pc:spChg>
        <pc:spChg chg="del mod">
          <ac:chgData name="Hu, Frank" userId="d3ad470f-91d8-4bd6-b171-9c10023cc60b" providerId="ADAL" clId="{F46F829C-35B7-4081-93FD-C381AD92AAD7}" dt="2023-04-10T09:00:29.024" v="2558" actId="478"/>
          <ac:spMkLst>
            <pc:docMk/>
            <pc:sldMk cId="4093366862" sldId="2147479671"/>
            <ac:spMk id="8" creationId="{91AC2D51-2161-8661-1945-3EE380E4E1BA}"/>
          </ac:spMkLst>
        </pc:spChg>
        <pc:spChg chg="del mod">
          <ac:chgData name="Hu, Frank" userId="d3ad470f-91d8-4bd6-b171-9c10023cc60b" providerId="ADAL" clId="{F46F829C-35B7-4081-93FD-C381AD92AAD7}" dt="2023-04-10T09:00:27.092" v="2557" actId="478"/>
          <ac:spMkLst>
            <pc:docMk/>
            <pc:sldMk cId="4093366862" sldId="2147479671"/>
            <ac:spMk id="9" creationId="{0A84FDE8-FCF8-2DF5-B5BF-6A5DCD206B12}"/>
          </ac:spMkLst>
        </pc:spChg>
        <pc:spChg chg="del mod">
          <ac:chgData name="Hu, Frank" userId="d3ad470f-91d8-4bd6-b171-9c10023cc60b" providerId="ADAL" clId="{F46F829C-35B7-4081-93FD-C381AD92AAD7}" dt="2023-04-10T09:00:25.316" v="2556" actId="478"/>
          <ac:spMkLst>
            <pc:docMk/>
            <pc:sldMk cId="4093366862" sldId="2147479671"/>
            <ac:spMk id="10" creationId="{7C112D3C-A170-C5DA-72CE-C6599B5C9BA0}"/>
          </ac:spMkLst>
        </pc:spChg>
        <pc:spChg chg="del mod">
          <ac:chgData name="Hu, Frank" userId="d3ad470f-91d8-4bd6-b171-9c10023cc60b" providerId="ADAL" clId="{F46F829C-35B7-4081-93FD-C381AD92AAD7}" dt="2023-04-10T09:00:22.643" v="2554" actId="478"/>
          <ac:spMkLst>
            <pc:docMk/>
            <pc:sldMk cId="4093366862" sldId="2147479671"/>
            <ac:spMk id="11" creationId="{DDE2A1E0-4BD9-F0F2-A8BB-B3E97ECBBB14}"/>
          </ac:spMkLst>
        </pc:spChg>
        <pc:spChg chg="del mod">
          <ac:chgData name="Hu, Frank" userId="d3ad470f-91d8-4bd6-b171-9c10023cc60b" providerId="ADAL" clId="{F46F829C-35B7-4081-93FD-C381AD92AAD7}" dt="2023-04-10T09:00:24.430" v="2555" actId="478"/>
          <ac:spMkLst>
            <pc:docMk/>
            <pc:sldMk cId="4093366862" sldId="2147479671"/>
            <ac:spMk id="12" creationId="{394C7ED8-678D-FE15-F153-7B7A84033A2B}"/>
          </ac:spMkLst>
        </pc:spChg>
        <pc:spChg chg="del mod">
          <ac:chgData name="Hu, Frank" userId="d3ad470f-91d8-4bd6-b171-9c10023cc60b" providerId="ADAL" clId="{F46F829C-35B7-4081-93FD-C381AD92AAD7}" dt="2023-04-10T08:52:54.716" v="2317" actId="478"/>
          <ac:spMkLst>
            <pc:docMk/>
            <pc:sldMk cId="4093366862" sldId="2147479671"/>
            <ac:spMk id="13" creationId="{DEDDEE1E-CA50-A531-01DC-E660B780AE73}"/>
          </ac:spMkLst>
        </pc:spChg>
        <pc:spChg chg="mod">
          <ac:chgData name="Hu, Frank" userId="d3ad470f-91d8-4bd6-b171-9c10023cc60b" providerId="ADAL" clId="{F46F829C-35B7-4081-93FD-C381AD92AAD7}" dt="2023-04-10T08:53:58.323" v="2353" actId="20577"/>
          <ac:spMkLst>
            <pc:docMk/>
            <pc:sldMk cId="4093366862" sldId="2147479671"/>
            <ac:spMk id="15" creationId="{4CF9433E-2310-DE83-2E19-F17CDC19CF82}"/>
          </ac:spMkLst>
        </pc:spChg>
        <pc:spChg chg="del">
          <ac:chgData name="Hu, Frank" userId="d3ad470f-91d8-4bd6-b171-9c10023cc60b" providerId="ADAL" clId="{F46F829C-35B7-4081-93FD-C381AD92AAD7}" dt="2023-04-10T08:39:38.340" v="2054" actId="478"/>
          <ac:spMkLst>
            <pc:docMk/>
            <pc:sldMk cId="4093366862" sldId="2147479671"/>
            <ac:spMk id="17" creationId="{C80B02E7-1180-234E-F2F3-E33C44A47D52}"/>
          </ac:spMkLst>
        </pc:spChg>
        <pc:spChg chg="mod">
          <ac:chgData name="Hu, Frank" userId="d3ad470f-91d8-4bd6-b171-9c10023cc60b" providerId="ADAL" clId="{F46F829C-35B7-4081-93FD-C381AD92AAD7}" dt="2023-04-10T08:39:57.708" v="2072" actId="20577"/>
          <ac:spMkLst>
            <pc:docMk/>
            <pc:sldMk cId="4093366862" sldId="2147479671"/>
            <ac:spMk id="19" creationId="{5810984A-1973-E074-373C-41FA2BFB491A}"/>
          </ac:spMkLst>
        </pc:spChg>
        <pc:spChg chg="del">
          <ac:chgData name="Hu, Frank" userId="d3ad470f-91d8-4bd6-b171-9c10023cc60b" providerId="ADAL" clId="{F46F829C-35B7-4081-93FD-C381AD92AAD7}" dt="2023-04-10T08:47:34.454" v="2172" actId="478"/>
          <ac:spMkLst>
            <pc:docMk/>
            <pc:sldMk cId="4093366862" sldId="2147479671"/>
            <ac:spMk id="22" creationId="{171328AC-8B28-0B9D-5301-DED210D9941C}"/>
          </ac:spMkLst>
        </pc:spChg>
        <pc:spChg chg="del">
          <ac:chgData name="Hu, Frank" userId="d3ad470f-91d8-4bd6-b171-9c10023cc60b" providerId="ADAL" clId="{F46F829C-35B7-4081-93FD-C381AD92AAD7}" dt="2023-04-10T08:47:35.845" v="2173" actId="478"/>
          <ac:spMkLst>
            <pc:docMk/>
            <pc:sldMk cId="4093366862" sldId="2147479671"/>
            <ac:spMk id="24" creationId="{EC2AF732-5463-12C5-569C-B0DFD96B09C8}"/>
          </ac:spMkLst>
        </pc:spChg>
        <pc:spChg chg="mod">
          <ac:chgData name="Hu, Frank" userId="d3ad470f-91d8-4bd6-b171-9c10023cc60b" providerId="ADAL" clId="{F46F829C-35B7-4081-93FD-C381AD92AAD7}" dt="2023-04-10T08:53:45.474" v="2345" actId="1036"/>
          <ac:spMkLst>
            <pc:docMk/>
            <pc:sldMk cId="4093366862" sldId="2147479671"/>
            <ac:spMk id="25" creationId="{044EF3B8-075C-AF5D-0B11-A2A6F2C2A623}"/>
          </ac:spMkLst>
        </pc:spChg>
        <pc:spChg chg="mod topLvl">
          <ac:chgData name="Hu, Frank" userId="d3ad470f-91d8-4bd6-b171-9c10023cc60b" providerId="ADAL" clId="{F46F829C-35B7-4081-93FD-C381AD92AAD7}" dt="2023-04-10T08:51:53.501" v="2305" actId="1035"/>
          <ac:spMkLst>
            <pc:docMk/>
            <pc:sldMk cId="4093366862" sldId="2147479671"/>
            <ac:spMk id="38" creationId="{79517A75-9E37-67DD-ED9E-E12247BF2789}"/>
          </ac:spMkLst>
        </pc:spChg>
        <pc:spChg chg="mod topLvl">
          <ac:chgData name="Hu, Frank" userId="d3ad470f-91d8-4bd6-b171-9c10023cc60b" providerId="ADAL" clId="{F46F829C-35B7-4081-93FD-C381AD92AAD7}" dt="2023-04-10T08:51:46.120" v="2294" actId="165"/>
          <ac:spMkLst>
            <pc:docMk/>
            <pc:sldMk cId="4093366862" sldId="2147479671"/>
            <ac:spMk id="40" creationId="{FBD981CB-3606-A850-645B-4404AB7FD325}"/>
          </ac:spMkLst>
        </pc:spChg>
        <pc:spChg chg="mod topLvl">
          <ac:chgData name="Hu, Frank" userId="d3ad470f-91d8-4bd6-b171-9c10023cc60b" providerId="ADAL" clId="{F46F829C-35B7-4081-93FD-C381AD92AAD7}" dt="2023-04-10T08:51:53.501" v="2305" actId="1035"/>
          <ac:spMkLst>
            <pc:docMk/>
            <pc:sldMk cId="4093366862" sldId="2147479671"/>
            <ac:spMk id="41" creationId="{98B473A6-18A4-B43F-F7A3-3761F6CCE64C}"/>
          </ac:spMkLst>
        </pc:spChg>
        <pc:spChg chg="mod">
          <ac:chgData name="Hu, Frank" userId="d3ad470f-91d8-4bd6-b171-9c10023cc60b" providerId="ADAL" clId="{F46F829C-35B7-4081-93FD-C381AD92AAD7}" dt="2023-04-10T08:52:14.031" v="2310" actId="14100"/>
          <ac:spMkLst>
            <pc:docMk/>
            <pc:sldMk cId="4093366862" sldId="2147479671"/>
            <ac:spMk id="43" creationId="{63B4EB4D-803B-B99B-F427-61856A1A5984}"/>
          </ac:spMkLst>
        </pc:spChg>
        <pc:spChg chg="mod">
          <ac:chgData name="Hu, Frank" userId="d3ad470f-91d8-4bd6-b171-9c10023cc60b" providerId="ADAL" clId="{F46F829C-35B7-4081-93FD-C381AD92AAD7}" dt="2023-04-10T08:42:05.503" v="2079" actId="1076"/>
          <ac:spMkLst>
            <pc:docMk/>
            <pc:sldMk cId="4093366862" sldId="2147479671"/>
            <ac:spMk id="45" creationId="{DB528820-D7FF-C53B-AE08-1CA29824E965}"/>
          </ac:spMkLst>
        </pc:spChg>
        <pc:spChg chg="add mod">
          <ac:chgData name="Hu, Frank" userId="d3ad470f-91d8-4bd6-b171-9c10023cc60b" providerId="ADAL" clId="{F46F829C-35B7-4081-93FD-C381AD92AAD7}" dt="2023-04-10T08:56:39.135" v="2429" actId="20577"/>
          <ac:spMkLst>
            <pc:docMk/>
            <pc:sldMk cId="4093366862" sldId="2147479671"/>
            <ac:spMk id="49" creationId="{BD14BE27-7488-521C-8DDC-7B4C5504608E}"/>
          </ac:spMkLst>
        </pc:spChg>
        <pc:spChg chg="del">
          <ac:chgData name="Hu, Frank" userId="d3ad470f-91d8-4bd6-b171-9c10023cc60b" providerId="ADAL" clId="{F46F829C-35B7-4081-93FD-C381AD92AAD7}" dt="2023-04-10T08:47:44.063" v="2176" actId="478"/>
          <ac:spMkLst>
            <pc:docMk/>
            <pc:sldMk cId="4093366862" sldId="2147479671"/>
            <ac:spMk id="51" creationId="{94AE6377-D923-D7E4-77F4-E910CEC12EB6}"/>
          </ac:spMkLst>
        </pc:spChg>
        <pc:spChg chg="del">
          <ac:chgData name="Hu, Frank" userId="d3ad470f-91d8-4bd6-b171-9c10023cc60b" providerId="ADAL" clId="{F46F829C-35B7-4081-93FD-C381AD92AAD7}" dt="2023-04-10T08:47:42.969" v="2175" actId="478"/>
          <ac:spMkLst>
            <pc:docMk/>
            <pc:sldMk cId="4093366862" sldId="2147479671"/>
            <ac:spMk id="53" creationId="{9D717655-90B3-B672-A51F-CBDA17DAEAC8}"/>
          </ac:spMkLst>
        </pc:spChg>
        <pc:spChg chg="mod">
          <ac:chgData name="Hu, Frank" userId="d3ad470f-91d8-4bd6-b171-9c10023cc60b" providerId="ADAL" clId="{F46F829C-35B7-4081-93FD-C381AD92AAD7}" dt="2023-04-10T09:12:16.018" v="2945" actId="20577"/>
          <ac:spMkLst>
            <pc:docMk/>
            <pc:sldMk cId="4093366862" sldId="2147479671"/>
            <ac:spMk id="56" creationId="{C9CDC39A-79BF-9E57-BAA2-2DE9D1DAF8B3}"/>
          </ac:spMkLst>
        </pc:spChg>
        <pc:spChg chg="mod">
          <ac:chgData name="Hu, Frank" userId="d3ad470f-91d8-4bd6-b171-9c10023cc60b" providerId="ADAL" clId="{F46F829C-35B7-4081-93FD-C381AD92AAD7}" dt="2023-04-10T08:52:39.582" v="2316" actId="1076"/>
          <ac:spMkLst>
            <pc:docMk/>
            <pc:sldMk cId="4093366862" sldId="2147479671"/>
            <ac:spMk id="59" creationId="{100F6A83-0C25-7843-96C1-E74EA2F6037E}"/>
          </ac:spMkLst>
        </pc:spChg>
        <pc:spChg chg="add mod">
          <ac:chgData name="Hu, Frank" userId="d3ad470f-91d8-4bd6-b171-9c10023cc60b" providerId="ADAL" clId="{F46F829C-35B7-4081-93FD-C381AD92AAD7}" dt="2023-04-10T08:49:40.030" v="2290" actId="1036"/>
          <ac:spMkLst>
            <pc:docMk/>
            <pc:sldMk cId="4093366862" sldId="2147479671"/>
            <ac:spMk id="65" creationId="{BAAE826E-C3ED-F610-76F0-686A985DB389}"/>
          </ac:spMkLst>
        </pc:spChg>
        <pc:spChg chg="mod topLvl">
          <ac:chgData name="Hu, Frank" userId="d3ad470f-91d8-4bd6-b171-9c10023cc60b" providerId="ADAL" clId="{F46F829C-35B7-4081-93FD-C381AD92AAD7}" dt="2023-04-10T08:51:46.120" v="2294" actId="165"/>
          <ac:spMkLst>
            <pc:docMk/>
            <pc:sldMk cId="4093366862" sldId="2147479671"/>
            <ac:spMk id="66" creationId="{2A49D86E-3EBE-CF96-571C-4C9A1CF28EAF}"/>
          </ac:spMkLst>
        </pc:spChg>
        <pc:spChg chg="mod topLvl">
          <ac:chgData name="Hu, Frank" userId="d3ad470f-91d8-4bd6-b171-9c10023cc60b" providerId="ADAL" clId="{F46F829C-35B7-4081-93FD-C381AD92AAD7}" dt="2023-04-10T09:01:47.105" v="2625" actId="1036"/>
          <ac:spMkLst>
            <pc:docMk/>
            <pc:sldMk cId="4093366862" sldId="2147479671"/>
            <ac:spMk id="70" creationId="{B5C92738-CBB4-A183-69DB-561E291B3BF4}"/>
          </ac:spMkLst>
        </pc:spChg>
        <pc:spChg chg="del mod">
          <ac:chgData name="Hu, Frank" userId="d3ad470f-91d8-4bd6-b171-9c10023cc60b" providerId="ADAL" clId="{F46F829C-35B7-4081-93FD-C381AD92AAD7}" dt="2023-04-10T08:56:03.571" v="2399" actId="478"/>
          <ac:spMkLst>
            <pc:docMk/>
            <pc:sldMk cId="4093366862" sldId="2147479671"/>
            <ac:spMk id="71" creationId="{7F1D12B8-7BBB-7570-3A11-549195A3243A}"/>
          </ac:spMkLst>
        </pc:spChg>
        <pc:spChg chg="mod">
          <ac:chgData name="Hu, Frank" userId="d3ad470f-91d8-4bd6-b171-9c10023cc60b" providerId="ADAL" clId="{F46F829C-35B7-4081-93FD-C381AD92AAD7}" dt="2023-04-10T08:55:59.522" v="2398" actId="20577"/>
          <ac:spMkLst>
            <pc:docMk/>
            <pc:sldMk cId="4093366862" sldId="2147479671"/>
            <ac:spMk id="72" creationId="{73BE0095-B33D-CE3C-8AE5-953BB91FD4CE}"/>
          </ac:spMkLst>
        </pc:spChg>
        <pc:spChg chg="del">
          <ac:chgData name="Hu, Frank" userId="d3ad470f-91d8-4bd6-b171-9c10023cc60b" providerId="ADAL" clId="{F46F829C-35B7-4081-93FD-C381AD92AAD7}" dt="2023-04-10T08:55:56.680" v="2397" actId="478"/>
          <ac:spMkLst>
            <pc:docMk/>
            <pc:sldMk cId="4093366862" sldId="2147479671"/>
            <ac:spMk id="73" creationId="{6E65EC3F-FF48-9B95-A785-B384250A13B2}"/>
          </ac:spMkLst>
        </pc:spChg>
        <pc:spChg chg="add mod">
          <ac:chgData name="Hu, Frank" userId="d3ad470f-91d8-4bd6-b171-9c10023cc60b" providerId="ADAL" clId="{F46F829C-35B7-4081-93FD-C381AD92AAD7}" dt="2023-04-10T09:00:15.693" v="2553" actId="20577"/>
          <ac:spMkLst>
            <pc:docMk/>
            <pc:sldMk cId="4093366862" sldId="2147479671"/>
            <ac:spMk id="74" creationId="{64A0F82A-98A5-45C2-6B96-B180880FAAE5}"/>
          </ac:spMkLst>
        </pc:spChg>
        <pc:spChg chg="add mod">
          <ac:chgData name="Hu, Frank" userId="d3ad470f-91d8-4bd6-b171-9c10023cc60b" providerId="ADAL" clId="{F46F829C-35B7-4081-93FD-C381AD92AAD7}" dt="2023-04-10T08:55:02.326" v="2396" actId="20577"/>
          <ac:spMkLst>
            <pc:docMk/>
            <pc:sldMk cId="4093366862" sldId="2147479671"/>
            <ac:spMk id="75" creationId="{DC839376-4172-C601-CE57-05EF5429AAA6}"/>
          </ac:spMkLst>
        </pc:spChg>
        <pc:spChg chg="add mod">
          <ac:chgData name="Hu, Frank" userId="d3ad470f-91d8-4bd6-b171-9c10023cc60b" providerId="ADAL" clId="{F46F829C-35B7-4081-93FD-C381AD92AAD7}" dt="2023-04-10T08:52:26.480" v="2313" actId="1076"/>
          <ac:spMkLst>
            <pc:docMk/>
            <pc:sldMk cId="4093366862" sldId="2147479671"/>
            <ac:spMk id="76" creationId="{601C092E-A19B-F7B3-75D6-72541949303E}"/>
          </ac:spMkLst>
        </pc:spChg>
        <pc:spChg chg="add mod">
          <ac:chgData name="Hu, Frank" userId="d3ad470f-91d8-4bd6-b171-9c10023cc60b" providerId="ADAL" clId="{F46F829C-35B7-4081-93FD-C381AD92AAD7}" dt="2023-04-10T08:52:31.568" v="2315" actId="1076"/>
          <ac:spMkLst>
            <pc:docMk/>
            <pc:sldMk cId="4093366862" sldId="2147479671"/>
            <ac:spMk id="78" creationId="{E460DCF3-54BB-5A5A-EFBD-D0E9DCF2A885}"/>
          </ac:spMkLst>
        </pc:spChg>
        <pc:spChg chg="add mod">
          <ac:chgData name="Hu, Frank" userId="d3ad470f-91d8-4bd6-b171-9c10023cc60b" providerId="ADAL" clId="{F46F829C-35B7-4081-93FD-C381AD92AAD7}" dt="2023-04-10T09:11:49.817" v="2907" actId="20577"/>
          <ac:spMkLst>
            <pc:docMk/>
            <pc:sldMk cId="4093366862" sldId="2147479671"/>
            <ac:spMk id="79" creationId="{53831649-5D71-C501-73DB-00100F1E9F39}"/>
          </ac:spMkLst>
        </pc:spChg>
        <pc:spChg chg="mod">
          <ac:chgData name="Hu, Frank" userId="d3ad470f-91d8-4bd6-b171-9c10023cc60b" providerId="ADAL" clId="{F46F829C-35B7-4081-93FD-C381AD92AAD7}" dt="2023-04-10T08:23:00.073" v="1720" actId="1076"/>
          <ac:spMkLst>
            <pc:docMk/>
            <pc:sldMk cId="4093366862" sldId="2147479671"/>
            <ac:spMk id="82" creationId="{161D99B6-FF3E-1D66-D890-AD0BA723250A}"/>
          </ac:spMkLst>
        </pc:spChg>
        <pc:spChg chg="add mod">
          <ac:chgData name="Hu, Frank" userId="d3ad470f-91d8-4bd6-b171-9c10023cc60b" providerId="ADAL" clId="{F46F829C-35B7-4081-93FD-C381AD92AAD7}" dt="2023-04-10T09:12:09.796" v="2936" actId="20577"/>
          <ac:spMkLst>
            <pc:docMk/>
            <pc:sldMk cId="4093366862" sldId="2147479671"/>
            <ac:spMk id="84" creationId="{594988BD-D2B8-129D-931D-373BB4597471}"/>
          </ac:spMkLst>
        </pc:spChg>
        <pc:spChg chg="add mod">
          <ac:chgData name="Hu, Frank" userId="d3ad470f-91d8-4bd6-b171-9c10023cc60b" providerId="ADAL" clId="{F46F829C-35B7-4081-93FD-C381AD92AAD7}" dt="2023-04-10T09:56:00.536" v="2947" actId="571"/>
          <ac:spMkLst>
            <pc:docMk/>
            <pc:sldMk cId="4093366862" sldId="2147479671"/>
            <ac:spMk id="87" creationId="{676C636A-E33B-2E52-7CE4-D5C729D2C87F}"/>
          </ac:spMkLst>
        </pc:spChg>
        <pc:spChg chg="add mod">
          <ac:chgData name="Hu, Frank" userId="d3ad470f-91d8-4bd6-b171-9c10023cc60b" providerId="ADAL" clId="{F46F829C-35B7-4081-93FD-C381AD92AAD7}" dt="2023-04-10T09:56:12.399" v="2954" actId="1036"/>
          <ac:spMkLst>
            <pc:docMk/>
            <pc:sldMk cId="4093366862" sldId="2147479671"/>
            <ac:spMk id="88" creationId="{4EABF1A7-1E79-E0C4-F6E1-B856580E09E0}"/>
          </ac:spMkLst>
        </pc:spChg>
        <pc:spChg chg="mod topLvl">
          <ac:chgData name="Hu, Frank" userId="d3ad470f-91d8-4bd6-b171-9c10023cc60b" providerId="ADAL" clId="{F46F829C-35B7-4081-93FD-C381AD92AAD7}" dt="2023-04-10T08:51:53.501" v="2305" actId="1035"/>
          <ac:spMkLst>
            <pc:docMk/>
            <pc:sldMk cId="4093366862" sldId="2147479671"/>
            <ac:spMk id="114" creationId="{552D9B66-B4AD-4B1E-1599-38BC2BFD28B9}"/>
          </ac:spMkLst>
        </pc:spChg>
        <pc:spChg chg="mod topLvl">
          <ac:chgData name="Hu, Frank" userId="d3ad470f-91d8-4bd6-b171-9c10023cc60b" providerId="ADAL" clId="{F46F829C-35B7-4081-93FD-C381AD92AAD7}" dt="2023-04-10T08:51:46.120" v="2294" actId="165"/>
          <ac:spMkLst>
            <pc:docMk/>
            <pc:sldMk cId="4093366862" sldId="2147479671"/>
            <ac:spMk id="149" creationId="{B4EF6349-EE03-70D9-ACF7-177C20A70FAF}"/>
          </ac:spMkLst>
        </pc:spChg>
        <pc:spChg chg="mod topLvl">
          <ac:chgData name="Hu, Frank" userId="d3ad470f-91d8-4bd6-b171-9c10023cc60b" providerId="ADAL" clId="{F46F829C-35B7-4081-93FD-C381AD92AAD7}" dt="2023-04-10T09:01:47.105" v="2625" actId="1036"/>
          <ac:spMkLst>
            <pc:docMk/>
            <pc:sldMk cId="4093366862" sldId="2147479671"/>
            <ac:spMk id="151" creationId="{FD2E0028-496C-8CC8-531C-52B0D5AEAA1E}"/>
          </ac:spMkLst>
        </pc:spChg>
        <pc:grpChg chg="del mod">
          <ac:chgData name="Hu, Frank" userId="d3ad470f-91d8-4bd6-b171-9c10023cc60b" providerId="ADAL" clId="{F46F829C-35B7-4081-93FD-C381AD92AAD7}" dt="2023-04-10T08:51:46.120" v="2294" actId="165"/>
          <ac:grpSpMkLst>
            <pc:docMk/>
            <pc:sldMk cId="4093366862" sldId="2147479671"/>
            <ac:grpSpMk id="6" creationId="{1D8E1593-11E0-54C5-E190-C88203F0DDB6}"/>
          </ac:grpSpMkLst>
        </pc:grpChg>
      </pc:sldChg>
      <pc:sldChg chg="addSp delSp modSp add mod">
        <pc:chgData name="Hu, Frank" userId="d3ad470f-91d8-4bd6-b171-9c10023cc60b" providerId="ADAL" clId="{F46F829C-35B7-4081-93FD-C381AD92AAD7}" dt="2023-04-10T11:44:14.251" v="3149" actId="1038"/>
        <pc:sldMkLst>
          <pc:docMk/>
          <pc:sldMk cId="958827785" sldId="2147479677"/>
        </pc:sldMkLst>
        <pc:spChg chg="del">
          <ac:chgData name="Hu, Frank" userId="d3ad470f-91d8-4bd6-b171-9c10023cc60b" providerId="ADAL" clId="{F46F829C-35B7-4081-93FD-C381AD92AAD7}" dt="2023-04-10T10:10:17.751" v="3083" actId="478"/>
          <ac:spMkLst>
            <pc:docMk/>
            <pc:sldMk cId="958827785" sldId="2147479677"/>
            <ac:spMk id="5" creationId="{9860A6DF-5C68-C31A-94E8-8A78C161F114}"/>
          </ac:spMkLst>
        </pc:spChg>
        <pc:spChg chg="add del mod">
          <ac:chgData name="Hu, Frank" userId="d3ad470f-91d8-4bd6-b171-9c10023cc60b" providerId="ADAL" clId="{F46F829C-35B7-4081-93FD-C381AD92AAD7}" dt="2023-04-10T10:51:06.900" v="3125" actId="478"/>
          <ac:spMkLst>
            <pc:docMk/>
            <pc:sldMk cId="958827785" sldId="2147479677"/>
            <ac:spMk id="6" creationId="{E84D442C-A32F-FCC9-AE52-EBCD68A29541}"/>
          </ac:spMkLst>
        </pc:spChg>
        <pc:spChg chg="del">
          <ac:chgData name="Hu, Frank" userId="d3ad470f-91d8-4bd6-b171-9c10023cc60b" providerId="ADAL" clId="{F46F829C-35B7-4081-93FD-C381AD92AAD7}" dt="2023-04-10T10:19:59.613" v="3090" actId="478"/>
          <ac:spMkLst>
            <pc:docMk/>
            <pc:sldMk cId="958827785" sldId="2147479677"/>
            <ac:spMk id="13" creationId="{DEDDEE1E-CA50-A531-01DC-E660B780AE73}"/>
          </ac:spMkLst>
        </pc:spChg>
        <pc:spChg chg="del">
          <ac:chgData name="Hu, Frank" userId="d3ad470f-91d8-4bd6-b171-9c10023cc60b" providerId="ADAL" clId="{F46F829C-35B7-4081-93FD-C381AD92AAD7}" dt="2023-04-10T10:20:10.473" v="3093" actId="478"/>
          <ac:spMkLst>
            <pc:docMk/>
            <pc:sldMk cId="958827785" sldId="2147479677"/>
            <ac:spMk id="15" creationId="{4CF9433E-2310-DE83-2E19-F17CDC19CF82}"/>
          </ac:spMkLst>
        </pc:spChg>
        <pc:spChg chg="del mod">
          <ac:chgData name="Hu, Frank" userId="d3ad470f-91d8-4bd6-b171-9c10023cc60b" providerId="ADAL" clId="{F46F829C-35B7-4081-93FD-C381AD92AAD7}" dt="2023-04-10T10:20:02.901" v="3091" actId="478"/>
          <ac:spMkLst>
            <pc:docMk/>
            <pc:sldMk cId="958827785" sldId="2147479677"/>
            <ac:spMk id="17" creationId="{C80B02E7-1180-234E-F2F3-E33C44A47D52}"/>
          </ac:spMkLst>
        </pc:spChg>
        <pc:spChg chg="add mod">
          <ac:chgData name="Hu, Frank" userId="d3ad470f-91d8-4bd6-b171-9c10023cc60b" providerId="ADAL" clId="{F46F829C-35B7-4081-93FD-C381AD92AAD7}" dt="2023-04-10T10:06:59.138" v="3071" actId="1076"/>
          <ac:spMkLst>
            <pc:docMk/>
            <pc:sldMk cId="958827785" sldId="2147479677"/>
            <ac:spMk id="22" creationId="{C1823145-6950-34EF-71F3-1194C85C8400}"/>
          </ac:spMkLst>
        </pc:spChg>
        <pc:spChg chg="mod">
          <ac:chgData name="Hu, Frank" userId="d3ad470f-91d8-4bd6-b171-9c10023cc60b" providerId="ADAL" clId="{F46F829C-35B7-4081-93FD-C381AD92AAD7}" dt="2023-04-10T10:10:22.753" v="3084" actId="1076"/>
          <ac:spMkLst>
            <pc:docMk/>
            <pc:sldMk cId="958827785" sldId="2147479677"/>
            <ac:spMk id="26" creationId="{ACE84A0D-155F-43A8-8A57-79E56688D52F}"/>
          </ac:spMkLst>
        </pc:spChg>
        <pc:spChg chg="mod">
          <ac:chgData name="Hu, Frank" userId="d3ad470f-91d8-4bd6-b171-9c10023cc60b" providerId="ADAL" clId="{F46F829C-35B7-4081-93FD-C381AD92AAD7}" dt="2023-04-10T11:44:14.251" v="3149" actId="1038"/>
          <ac:spMkLst>
            <pc:docMk/>
            <pc:sldMk cId="958827785" sldId="2147479677"/>
            <ac:spMk id="38" creationId="{79517A75-9E37-67DD-ED9E-E12247BF2789}"/>
          </ac:spMkLst>
        </pc:spChg>
        <pc:spChg chg="mod">
          <ac:chgData name="Hu, Frank" userId="d3ad470f-91d8-4bd6-b171-9c10023cc60b" providerId="ADAL" clId="{F46F829C-35B7-4081-93FD-C381AD92AAD7}" dt="2023-04-10T11:44:14.251" v="3149" actId="1038"/>
          <ac:spMkLst>
            <pc:docMk/>
            <pc:sldMk cId="958827785" sldId="2147479677"/>
            <ac:spMk id="41" creationId="{98B473A6-18A4-B43F-F7A3-3761F6CCE64C}"/>
          </ac:spMkLst>
        </pc:spChg>
        <pc:spChg chg="mod">
          <ac:chgData name="Hu, Frank" userId="d3ad470f-91d8-4bd6-b171-9c10023cc60b" providerId="ADAL" clId="{F46F829C-35B7-4081-93FD-C381AD92AAD7}" dt="2023-04-10T10:10:01.023" v="3081" actId="1076"/>
          <ac:spMkLst>
            <pc:docMk/>
            <pc:sldMk cId="958827785" sldId="2147479677"/>
            <ac:spMk id="44" creationId="{62D3B640-4A90-B350-049B-3E2334A4615B}"/>
          </ac:spMkLst>
        </pc:spChg>
        <pc:spChg chg="mod">
          <ac:chgData name="Hu, Frank" userId="d3ad470f-91d8-4bd6-b171-9c10023cc60b" providerId="ADAL" clId="{F46F829C-35B7-4081-93FD-C381AD92AAD7}" dt="2023-04-10T10:05:40.840" v="2984" actId="6549"/>
          <ac:spMkLst>
            <pc:docMk/>
            <pc:sldMk cId="958827785" sldId="2147479677"/>
            <ac:spMk id="49" creationId="{67F1AB62-4748-5067-DA39-B8F8FF8DF784}"/>
          </ac:spMkLst>
        </pc:spChg>
        <pc:spChg chg="del">
          <ac:chgData name="Hu, Frank" userId="d3ad470f-91d8-4bd6-b171-9c10023cc60b" providerId="ADAL" clId="{F46F829C-35B7-4081-93FD-C381AD92AAD7}" dt="2023-04-10T11:43:55.728" v="3129" actId="478"/>
          <ac:spMkLst>
            <pc:docMk/>
            <pc:sldMk cId="958827785" sldId="2147479677"/>
            <ac:spMk id="65" creationId="{4A8A2182-AA37-965C-AEBF-166CDC9D7389}"/>
          </ac:spMkLst>
        </pc:spChg>
        <pc:spChg chg="del mod">
          <ac:chgData name="Hu, Frank" userId="d3ad470f-91d8-4bd6-b171-9c10023cc60b" providerId="ADAL" clId="{F46F829C-35B7-4081-93FD-C381AD92AAD7}" dt="2023-04-10T10:21:44.327" v="3096" actId="478"/>
          <ac:spMkLst>
            <pc:docMk/>
            <pc:sldMk cId="958827785" sldId="2147479677"/>
            <ac:spMk id="71" creationId="{7F1D12B8-7BBB-7570-3A11-549195A3243A}"/>
          </ac:spMkLst>
        </pc:spChg>
        <pc:spChg chg="del topLvl">
          <ac:chgData name="Hu, Frank" userId="d3ad470f-91d8-4bd6-b171-9c10023cc60b" providerId="ADAL" clId="{F46F829C-35B7-4081-93FD-C381AD92AAD7}" dt="2023-04-10T10:22:09.236" v="3098" actId="478"/>
          <ac:spMkLst>
            <pc:docMk/>
            <pc:sldMk cId="958827785" sldId="2147479677"/>
            <ac:spMk id="72" creationId="{73BE0095-B33D-CE3C-8AE5-953BB91FD4CE}"/>
          </ac:spMkLst>
        </pc:spChg>
        <pc:spChg chg="del topLvl">
          <ac:chgData name="Hu, Frank" userId="d3ad470f-91d8-4bd6-b171-9c10023cc60b" providerId="ADAL" clId="{F46F829C-35B7-4081-93FD-C381AD92AAD7}" dt="2023-04-10T10:22:11.574" v="3099" actId="478"/>
          <ac:spMkLst>
            <pc:docMk/>
            <pc:sldMk cId="958827785" sldId="2147479677"/>
            <ac:spMk id="73" creationId="{6E65EC3F-FF48-9B95-A785-B384250A13B2}"/>
          </ac:spMkLst>
        </pc:spChg>
        <pc:spChg chg="del">
          <ac:chgData name="Hu, Frank" userId="d3ad470f-91d8-4bd6-b171-9c10023cc60b" providerId="ADAL" clId="{F46F829C-35B7-4081-93FD-C381AD92AAD7}" dt="2023-04-10T11:44:04.850" v="3130" actId="478"/>
          <ac:spMkLst>
            <pc:docMk/>
            <pc:sldMk cId="958827785" sldId="2147479677"/>
            <ac:spMk id="74" creationId="{64B5ABD5-F6F4-FA69-9129-9A4B4BB7A092}"/>
          </ac:spMkLst>
        </pc:spChg>
        <pc:spChg chg="mod">
          <ac:chgData name="Hu, Frank" userId="d3ad470f-91d8-4bd6-b171-9c10023cc60b" providerId="ADAL" clId="{F46F829C-35B7-4081-93FD-C381AD92AAD7}" dt="2023-04-10T10:06:44.681" v="3068" actId="1076"/>
          <ac:spMkLst>
            <pc:docMk/>
            <pc:sldMk cId="958827785" sldId="2147479677"/>
            <ac:spMk id="75" creationId="{41D8764D-010E-967C-8C56-4B8D04D27C40}"/>
          </ac:spMkLst>
        </pc:spChg>
        <pc:spChg chg="mod">
          <ac:chgData name="Hu, Frank" userId="d3ad470f-91d8-4bd6-b171-9c10023cc60b" providerId="ADAL" clId="{F46F829C-35B7-4081-93FD-C381AD92AAD7}" dt="2023-04-10T10:51:18.830" v="3126" actId="408"/>
          <ac:spMkLst>
            <pc:docMk/>
            <pc:sldMk cId="958827785" sldId="2147479677"/>
            <ac:spMk id="92" creationId="{B369E46F-C620-11FD-B784-38AFBDCF9E8C}"/>
          </ac:spMkLst>
        </pc:spChg>
        <pc:spChg chg="del">
          <ac:chgData name="Hu, Frank" userId="d3ad470f-91d8-4bd6-b171-9c10023cc60b" providerId="ADAL" clId="{F46F829C-35B7-4081-93FD-C381AD92AAD7}" dt="2023-04-10T10:20:05.938" v="3092" actId="478"/>
          <ac:spMkLst>
            <pc:docMk/>
            <pc:sldMk cId="958827785" sldId="2147479677"/>
            <ac:spMk id="93" creationId="{91C3C883-6159-F405-027A-8667EFC13559}"/>
          </ac:spMkLst>
        </pc:spChg>
        <pc:spChg chg="del">
          <ac:chgData name="Hu, Frank" userId="d3ad470f-91d8-4bd6-b171-9c10023cc60b" providerId="ADAL" clId="{F46F829C-35B7-4081-93FD-C381AD92AAD7}" dt="2023-04-10T10:21:47.110" v="3097" actId="478"/>
          <ac:spMkLst>
            <pc:docMk/>
            <pc:sldMk cId="958827785" sldId="2147479677"/>
            <ac:spMk id="94" creationId="{44BBE95D-A158-811D-1769-1377B0FBC9E5}"/>
          </ac:spMkLst>
        </pc:spChg>
        <pc:spChg chg="mod">
          <ac:chgData name="Hu, Frank" userId="d3ad470f-91d8-4bd6-b171-9c10023cc60b" providerId="ADAL" clId="{F46F829C-35B7-4081-93FD-C381AD92AAD7}" dt="2023-04-10T11:44:14.251" v="3149" actId="1038"/>
          <ac:spMkLst>
            <pc:docMk/>
            <pc:sldMk cId="958827785" sldId="2147479677"/>
            <ac:spMk id="114" creationId="{552D9B66-B4AD-4B1E-1599-38BC2BFD28B9}"/>
          </ac:spMkLst>
        </pc:spChg>
        <pc:grpChg chg="del mod ord">
          <ac:chgData name="Hu, Frank" userId="d3ad470f-91d8-4bd6-b171-9c10023cc60b" providerId="ADAL" clId="{F46F829C-35B7-4081-93FD-C381AD92AAD7}" dt="2023-04-10T10:22:09.236" v="3098" actId="478"/>
          <ac:grpSpMkLst>
            <pc:docMk/>
            <pc:sldMk cId="958827785" sldId="2147479677"/>
            <ac:grpSpMk id="95" creationId="{D1289F14-E81E-554B-83D8-A730F6FD0108}"/>
          </ac:grpSpMkLst>
        </pc:grpChg>
      </pc:sldChg>
      <pc:sldChg chg="modSp mod">
        <pc:chgData name="Hu, Frank" userId="d3ad470f-91d8-4bd6-b171-9c10023cc60b" providerId="ADAL" clId="{F46F829C-35B7-4081-93FD-C381AD92AAD7}" dt="2023-04-20T06:32:45.847" v="4439" actId="113"/>
        <pc:sldMkLst>
          <pc:docMk/>
          <pc:sldMk cId="1017949021" sldId="2147479688"/>
        </pc:sldMkLst>
        <pc:spChg chg="mod">
          <ac:chgData name="Hu, Frank" userId="d3ad470f-91d8-4bd6-b171-9c10023cc60b" providerId="ADAL" clId="{F46F829C-35B7-4081-93FD-C381AD92AAD7}" dt="2023-04-20T06:32:45.847" v="4439" actId="113"/>
          <ac:spMkLst>
            <pc:docMk/>
            <pc:sldMk cId="1017949021" sldId="2147479688"/>
            <ac:spMk id="56" creationId="{C9CDC39A-79BF-9E57-BAA2-2DE9D1DAF8B3}"/>
          </ac:spMkLst>
        </pc:spChg>
        <pc:spChg chg="mod">
          <ac:chgData name="Hu, Frank" userId="d3ad470f-91d8-4bd6-b171-9c10023cc60b" providerId="ADAL" clId="{F46F829C-35B7-4081-93FD-C381AD92AAD7}" dt="2023-04-19T10:16:53.610" v="3188" actId="1076"/>
          <ac:spMkLst>
            <pc:docMk/>
            <pc:sldMk cId="1017949021" sldId="2147479688"/>
            <ac:spMk id="69" creationId="{F7B396A0-18A0-106B-3CFC-711DBC023222}"/>
          </ac:spMkLst>
        </pc:spChg>
        <pc:spChg chg="mod">
          <ac:chgData name="Hu, Frank" userId="d3ad470f-91d8-4bd6-b171-9c10023cc60b" providerId="ADAL" clId="{F46F829C-35B7-4081-93FD-C381AD92AAD7}" dt="2023-04-19T10:16:46.083" v="3187" actId="1076"/>
          <ac:spMkLst>
            <pc:docMk/>
            <pc:sldMk cId="1017949021" sldId="2147479688"/>
            <ac:spMk id="71" creationId="{7F1D12B8-7BBB-7570-3A11-549195A3243A}"/>
          </ac:spMkLst>
        </pc:spChg>
      </pc:sldChg>
      <pc:sldChg chg="ord">
        <pc:chgData name="Hu, Frank" userId="d3ad470f-91d8-4bd6-b171-9c10023cc60b" providerId="ADAL" clId="{F46F829C-35B7-4081-93FD-C381AD92AAD7}" dt="2023-04-27T09:44:13.213" v="12014"/>
        <pc:sldMkLst>
          <pc:docMk/>
          <pc:sldMk cId="50369006" sldId="2147479689"/>
        </pc:sldMkLst>
      </pc:sldChg>
      <pc:sldChg chg="addSp delSp modSp add mod ord modShow">
        <pc:chgData name="Hu, Frank" userId="d3ad470f-91d8-4bd6-b171-9c10023cc60b" providerId="ADAL" clId="{F46F829C-35B7-4081-93FD-C381AD92AAD7}" dt="2023-04-27T09:44:43.710" v="12018"/>
        <pc:sldMkLst>
          <pc:docMk/>
          <pc:sldMk cId="1796338601" sldId="2147479725"/>
        </pc:sldMkLst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2" creationId="{613E9A57-CB75-5562-65AA-BBEC656EC238}"/>
          </ac:spMkLst>
        </pc:spChg>
        <pc:spChg chg="mod">
          <ac:chgData name="Hu, Frank" userId="d3ad470f-91d8-4bd6-b171-9c10023cc60b" providerId="ADAL" clId="{F46F829C-35B7-4081-93FD-C381AD92AAD7}" dt="2023-04-20T02:20:24.284" v="3260" actId="20577"/>
          <ac:spMkLst>
            <pc:docMk/>
            <pc:sldMk cId="1796338601" sldId="2147479725"/>
            <ac:spMk id="3" creationId="{3C351361-B5FC-3B4C-93C7-23720EA4465F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4" creationId="{F2744372-ED7F-C1E4-437F-42D7D85A9001}"/>
          </ac:spMkLst>
        </pc:spChg>
        <pc:spChg chg="del mod">
          <ac:chgData name="Hu, Frank" userId="d3ad470f-91d8-4bd6-b171-9c10023cc60b" providerId="ADAL" clId="{F46F829C-35B7-4081-93FD-C381AD92AAD7}" dt="2023-04-20T06:43:33.467" v="4537" actId="478"/>
          <ac:spMkLst>
            <pc:docMk/>
            <pc:sldMk cId="1796338601" sldId="2147479725"/>
            <ac:spMk id="5" creationId="{9860A6DF-5C68-C31A-94E8-8A78C161F114}"/>
          </ac:spMkLst>
        </pc:spChg>
        <pc:spChg chg="mod">
          <ac:chgData name="Hu, Frank" userId="d3ad470f-91d8-4bd6-b171-9c10023cc60b" providerId="ADAL" clId="{F46F829C-35B7-4081-93FD-C381AD92AAD7}" dt="2023-04-21T01:12:54.453" v="4550" actId="164"/>
          <ac:spMkLst>
            <pc:docMk/>
            <pc:sldMk cId="1796338601" sldId="2147479725"/>
            <ac:spMk id="6" creationId="{8FE2089A-7FFE-140B-A8E9-C4EF0AEB797C}"/>
          </ac:spMkLst>
        </pc:spChg>
        <pc:spChg chg="mod">
          <ac:chgData name="Hu, Frank" userId="d3ad470f-91d8-4bd6-b171-9c10023cc60b" providerId="ADAL" clId="{F46F829C-35B7-4081-93FD-C381AD92AAD7}" dt="2023-04-21T01:24:59.086" v="4739" actId="164"/>
          <ac:spMkLst>
            <pc:docMk/>
            <pc:sldMk cId="1796338601" sldId="2147479725"/>
            <ac:spMk id="7" creationId="{7DB22AF5-BAC5-902E-F5C8-B86B603DE846}"/>
          </ac:spMkLst>
        </pc:spChg>
        <pc:spChg chg="mod">
          <ac:chgData name="Hu, Frank" userId="d3ad470f-91d8-4bd6-b171-9c10023cc60b" providerId="ADAL" clId="{F46F829C-35B7-4081-93FD-C381AD92AAD7}" dt="2023-04-21T01:24:59.086" v="4739" actId="164"/>
          <ac:spMkLst>
            <pc:docMk/>
            <pc:sldMk cId="1796338601" sldId="2147479725"/>
            <ac:spMk id="8" creationId="{91AC2D51-2161-8661-1945-3EE380E4E1BA}"/>
          </ac:spMkLst>
        </pc:spChg>
        <pc:spChg chg="del mod">
          <ac:chgData name="Hu, Frank" userId="d3ad470f-91d8-4bd6-b171-9c10023cc60b" providerId="ADAL" clId="{F46F829C-35B7-4081-93FD-C381AD92AAD7}" dt="2023-04-20T03:51:31.713" v="4038" actId="478"/>
          <ac:spMkLst>
            <pc:docMk/>
            <pc:sldMk cId="1796338601" sldId="2147479725"/>
            <ac:spMk id="9" creationId="{0A84FDE8-FCF8-2DF5-B5BF-6A5DCD206B12}"/>
          </ac:spMkLst>
        </pc:spChg>
        <pc:spChg chg="mod">
          <ac:chgData name="Hu, Frank" userId="d3ad470f-91d8-4bd6-b171-9c10023cc60b" providerId="ADAL" clId="{F46F829C-35B7-4081-93FD-C381AD92AAD7}" dt="2023-04-21T01:24:59.086" v="4739" actId="164"/>
          <ac:spMkLst>
            <pc:docMk/>
            <pc:sldMk cId="1796338601" sldId="2147479725"/>
            <ac:spMk id="10" creationId="{7C112D3C-A170-C5DA-72CE-C6599B5C9BA0}"/>
          </ac:spMkLst>
        </pc:spChg>
        <pc:spChg chg="del mod">
          <ac:chgData name="Hu, Frank" userId="d3ad470f-91d8-4bd6-b171-9c10023cc60b" providerId="ADAL" clId="{F46F829C-35B7-4081-93FD-C381AD92AAD7}" dt="2023-04-20T03:51:28.235" v="4037" actId="478"/>
          <ac:spMkLst>
            <pc:docMk/>
            <pc:sldMk cId="1796338601" sldId="2147479725"/>
            <ac:spMk id="11" creationId="{DDE2A1E0-4BD9-F0F2-A8BB-B3E97ECBBB14}"/>
          </ac:spMkLst>
        </pc:spChg>
        <pc:spChg chg="mod">
          <ac:chgData name="Hu, Frank" userId="d3ad470f-91d8-4bd6-b171-9c10023cc60b" providerId="ADAL" clId="{F46F829C-35B7-4081-93FD-C381AD92AAD7}" dt="2023-04-21T01:24:59.086" v="4739" actId="164"/>
          <ac:spMkLst>
            <pc:docMk/>
            <pc:sldMk cId="1796338601" sldId="2147479725"/>
            <ac:spMk id="12" creationId="{394C7ED8-678D-FE15-F153-7B7A84033A2B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13" creationId="{53972670-BC75-8115-5567-FF315840C475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14" creationId="{6D967CCF-5E54-4443-F254-F5EF3F13B61D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16" creationId="{E26698F4-350E-C049-E5A1-A718B51A93C9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17" creationId="{56032294-B650-7257-AA8E-45A082324D48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18" creationId="{404DBAC2-18F7-7509-B24D-258FC79C2D8B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19" creationId="{5810984A-1973-E074-373C-41FA2BFB491A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20" creationId="{8215F382-68BB-1B97-CCAA-840E1E959B93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21" creationId="{5725C3B3-43B9-537F-C7B6-625F0AE8E38E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22" creationId="{5278B1AD-58FD-C5CE-2FB1-9E5525395FCD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23" creationId="{542C84DF-0CFC-603E-8CE0-FE2C2181113E}"/>
          </ac:spMkLst>
        </pc:spChg>
        <pc:spChg chg="del mod">
          <ac:chgData name="Hu, Frank" userId="d3ad470f-91d8-4bd6-b171-9c10023cc60b" providerId="ADAL" clId="{F46F829C-35B7-4081-93FD-C381AD92AAD7}" dt="2023-04-20T06:43:35.252" v="4538" actId="478"/>
          <ac:spMkLst>
            <pc:docMk/>
            <pc:sldMk cId="1796338601" sldId="2147479725"/>
            <ac:spMk id="26" creationId="{ACE84A0D-155F-43A8-8A57-79E56688D52F}"/>
          </ac:spMkLst>
        </pc:spChg>
        <pc:spChg chg="add mod">
          <ac:chgData name="Hu, Frank" userId="d3ad470f-91d8-4bd6-b171-9c10023cc60b" providerId="ADAL" clId="{F46F829C-35B7-4081-93FD-C381AD92AAD7}" dt="2023-04-21T01:12:38.860" v="4548" actId="164"/>
          <ac:spMkLst>
            <pc:docMk/>
            <pc:sldMk cId="1796338601" sldId="2147479725"/>
            <ac:spMk id="27" creationId="{05D71A79-45FA-B857-D63A-5D8164D10E28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28" creationId="{A6E260C3-8A19-6E3B-53B3-51E1DD373792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29" creationId="{0D9DE54B-B5AC-44E7-593C-AA89FD48DE1D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30" creationId="{D3852551-1543-EC05-EBF5-F7FB94D8B03E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31" creationId="{7E31F183-EB64-54BF-4381-1DC44EFD0C92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32" creationId="{44136927-858F-6DA3-98D9-F71401917AE7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33" creationId="{B7316411-D4C5-299C-1622-5F54EC5A9818}"/>
          </ac:spMkLst>
        </pc:spChg>
        <pc:spChg chg="mod">
          <ac:chgData name="Hu, Frank" userId="d3ad470f-91d8-4bd6-b171-9c10023cc60b" providerId="ADAL" clId="{F46F829C-35B7-4081-93FD-C381AD92AAD7}" dt="2023-04-21T01:12:38.860" v="4548" actId="164"/>
          <ac:spMkLst>
            <pc:docMk/>
            <pc:sldMk cId="1796338601" sldId="2147479725"/>
            <ac:spMk id="34" creationId="{55054CB2-60FD-98A9-5029-40AF50469FD8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35" creationId="{6DC6D3BB-3AAF-C52A-02D2-5DCB03804867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36" creationId="{186652DF-610C-F1BF-04ED-DD93B0BC485A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37" creationId="{6278E8FF-BB7D-DCA7-2BF6-971FBC8C5232}"/>
          </ac:spMkLst>
        </pc:spChg>
        <pc:spChg chg="mod">
          <ac:chgData name="Hu, Frank" userId="d3ad470f-91d8-4bd6-b171-9c10023cc60b" providerId="ADAL" clId="{F46F829C-35B7-4081-93FD-C381AD92AAD7}" dt="2023-04-21T01:29:14.852" v="4805" actId="164"/>
          <ac:spMkLst>
            <pc:docMk/>
            <pc:sldMk cId="1796338601" sldId="2147479725"/>
            <ac:spMk id="38" creationId="{79517A75-9E37-67DD-ED9E-E12247BF2789}"/>
          </ac:spMkLst>
        </pc:spChg>
        <pc:spChg chg="add mod">
          <ac:chgData name="Hu, Frank" userId="d3ad470f-91d8-4bd6-b171-9c10023cc60b" providerId="ADAL" clId="{F46F829C-35B7-4081-93FD-C381AD92AAD7}" dt="2023-04-21T01:12:38.860" v="4548" actId="164"/>
          <ac:spMkLst>
            <pc:docMk/>
            <pc:sldMk cId="1796338601" sldId="2147479725"/>
            <ac:spMk id="39" creationId="{B3349C54-6DE3-4D37-E746-4B6416AAD634}"/>
          </ac:spMkLst>
        </pc:spChg>
        <pc:spChg chg="mod">
          <ac:chgData name="Hu, Frank" userId="d3ad470f-91d8-4bd6-b171-9c10023cc60b" providerId="ADAL" clId="{F46F829C-35B7-4081-93FD-C381AD92AAD7}" dt="2023-04-21T01:29:14.852" v="4805" actId="164"/>
          <ac:spMkLst>
            <pc:docMk/>
            <pc:sldMk cId="1796338601" sldId="2147479725"/>
            <ac:spMk id="40" creationId="{FBD981CB-3606-A850-645B-4404AB7FD325}"/>
          </ac:spMkLst>
        </pc:spChg>
        <pc:spChg chg="mod">
          <ac:chgData name="Hu, Frank" userId="d3ad470f-91d8-4bd6-b171-9c10023cc60b" providerId="ADAL" clId="{F46F829C-35B7-4081-93FD-C381AD92AAD7}" dt="2023-04-21T01:29:14.852" v="4805" actId="164"/>
          <ac:spMkLst>
            <pc:docMk/>
            <pc:sldMk cId="1796338601" sldId="2147479725"/>
            <ac:spMk id="41" creationId="{98B473A6-18A4-B43F-F7A3-3761F6CCE64C}"/>
          </ac:spMkLst>
        </pc:spChg>
        <pc:spChg chg="mod">
          <ac:chgData name="Hu, Frank" userId="d3ad470f-91d8-4bd6-b171-9c10023cc60b" providerId="ADAL" clId="{F46F829C-35B7-4081-93FD-C381AD92AAD7}" dt="2023-04-21T01:24:59.086" v="4739" actId="164"/>
          <ac:spMkLst>
            <pc:docMk/>
            <pc:sldMk cId="1796338601" sldId="2147479725"/>
            <ac:spMk id="43" creationId="{63B4EB4D-803B-B99B-F427-61856A1A5984}"/>
          </ac:spMkLst>
        </pc:spChg>
        <pc:spChg chg="mod">
          <ac:chgData name="Hu, Frank" userId="d3ad470f-91d8-4bd6-b171-9c10023cc60b" providerId="ADAL" clId="{F46F829C-35B7-4081-93FD-C381AD92AAD7}" dt="2023-04-21T01:12:38.860" v="4548" actId="164"/>
          <ac:spMkLst>
            <pc:docMk/>
            <pc:sldMk cId="1796338601" sldId="2147479725"/>
            <ac:spMk id="44" creationId="{62D3B640-4A90-B350-049B-3E2334A4615B}"/>
          </ac:spMkLst>
        </pc:spChg>
        <pc:spChg chg="mod">
          <ac:chgData name="Hu, Frank" userId="d3ad470f-91d8-4bd6-b171-9c10023cc60b" providerId="ADAL" clId="{F46F829C-35B7-4081-93FD-C381AD92AAD7}" dt="2023-04-21T01:30:51.318" v="4909" actId="164"/>
          <ac:spMkLst>
            <pc:docMk/>
            <pc:sldMk cId="1796338601" sldId="2147479725"/>
            <ac:spMk id="45" creationId="{3772F819-D521-B498-F383-8AD75EFA8206}"/>
          </ac:spMkLst>
        </pc:spChg>
        <pc:spChg chg="del mod">
          <ac:chgData name="Hu, Frank" userId="d3ad470f-91d8-4bd6-b171-9c10023cc60b" providerId="ADAL" clId="{F46F829C-35B7-4081-93FD-C381AD92AAD7}" dt="2023-04-20T06:43:19.440" v="4534" actId="478"/>
          <ac:spMkLst>
            <pc:docMk/>
            <pc:sldMk cId="1796338601" sldId="2147479725"/>
            <ac:spMk id="46" creationId="{D338BD34-600C-A13E-7B60-A3B2362F48F3}"/>
          </ac:spMkLst>
        </pc:spChg>
        <pc:spChg chg="del mod">
          <ac:chgData name="Hu, Frank" userId="d3ad470f-91d8-4bd6-b171-9c10023cc60b" providerId="ADAL" clId="{F46F829C-35B7-4081-93FD-C381AD92AAD7}" dt="2023-04-20T06:43:12.812" v="4532" actId="478"/>
          <ac:spMkLst>
            <pc:docMk/>
            <pc:sldMk cId="1796338601" sldId="2147479725"/>
            <ac:spMk id="49" creationId="{67F1AB62-4748-5067-DA39-B8F8FF8DF784}"/>
          </ac:spMkLst>
        </pc:spChg>
        <pc:spChg chg="del mod">
          <ac:chgData name="Hu, Frank" userId="d3ad470f-91d8-4bd6-b171-9c10023cc60b" providerId="ADAL" clId="{F46F829C-35B7-4081-93FD-C381AD92AAD7}" dt="2023-04-20T03:30:06.745" v="3441" actId="478"/>
          <ac:spMkLst>
            <pc:docMk/>
            <pc:sldMk cId="1796338601" sldId="2147479725"/>
            <ac:spMk id="51" creationId="{94AE6377-D923-D7E4-77F4-E910CEC12EB6}"/>
          </ac:spMkLst>
        </pc:spChg>
        <pc:spChg chg="del mod">
          <ac:chgData name="Hu, Frank" userId="d3ad470f-91d8-4bd6-b171-9c10023cc60b" providerId="ADAL" clId="{F46F829C-35B7-4081-93FD-C381AD92AAD7}" dt="2023-04-20T03:30:02.735" v="3438" actId="478"/>
          <ac:spMkLst>
            <pc:docMk/>
            <pc:sldMk cId="1796338601" sldId="2147479725"/>
            <ac:spMk id="53" creationId="{9D717655-90B3-B672-A51F-CBDA17DAEAC8}"/>
          </ac:spMkLst>
        </pc:spChg>
        <pc:spChg chg="mod">
          <ac:chgData name="Hu, Frank" userId="d3ad470f-91d8-4bd6-b171-9c10023cc60b" providerId="ADAL" clId="{F46F829C-35B7-4081-93FD-C381AD92AAD7}" dt="2023-04-21T01:30:51.318" v="4909" actId="164"/>
          <ac:spMkLst>
            <pc:docMk/>
            <pc:sldMk cId="1796338601" sldId="2147479725"/>
            <ac:spMk id="54" creationId="{5D294140-2CC3-07F8-16A7-3793A4E17E02}"/>
          </ac:spMkLst>
        </pc:spChg>
        <pc:spChg chg="del">
          <ac:chgData name="Hu, Frank" userId="d3ad470f-91d8-4bd6-b171-9c10023cc60b" providerId="ADAL" clId="{F46F829C-35B7-4081-93FD-C381AD92AAD7}" dt="2023-04-20T02:18:55.492" v="3204" actId="478"/>
          <ac:spMkLst>
            <pc:docMk/>
            <pc:sldMk cId="1796338601" sldId="2147479725"/>
            <ac:spMk id="56" creationId="{C9CDC39A-79BF-9E57-BAA2-2DE9D1DAF8B3}"/>
          </ac:spMkLst>
        </pc:spChg>
        <pc:spChg chg="mod">
          <ac:chgData name="Hu, Frank" userId="d3ad470f-91d8-4bd6-b171-9c10023cc60b" providerId="ADAL" clId="{F46F829C-35B7-4081-93FD-C381AD92AAD7}" dt="2023-04-21T01:30:51.318" v="4909" actId="164"/>
          <ac:spMkLst>
            <pc:docMk/>
            <pc:sldMk cId="1796338601" sldId="2147479725"/>
            <ac:spMk id="57" creationId="{75D60AE7-FBF4-74BB-376F-A24563894285}"/>
          </ac:spMkLst>
        </pc:spChg>
        <pc:spChg chg="mod">
          <ac:chgData name="Hu, Frank" userId="d3ad470f-91d8-4bd6-b171-9c10023cc60b" providerId="ADAL" clId="{F46F829C-35B7-4081-93FD-C381AD92AAD7}" dt="2023-04-21T01:12:54.453" v="4550" actId="164"/>
          <ac:spMkLst>
            <pc:docMk/>
            <pc:sldMk cId="1796338601" sldId="2147479725"/>
            <ac:spMk id="58" creationId="{5A40EAB2-F340-89D1-CAC7-C7EBE81A07E2}"/>
          </ac:spMkLst>
        </pc:spChg>
        <pc:spChg chg="del mod">
          <ac:chgData name="Hu, Frank" userId="d3ad470f-91d8-4bd6-b171-9c10023cc60b" providerId="ADAL" clId="{F46F829C-35B7-4081-93FD-C381AD92AAD7}" dt="2023-04-20T03:47:15.445" v="3872" actId="478"/>
          <ac:spMkLst>
            <pc:docMk/>
            <pc:sldMk cId="1796338601" sldId="2147479725"/>
            <ac:spMk id="59" creationId="{100F6A83-0C25-7843-96C1-E74EA2F6037E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60" creationId="{9E07AFD9-5A22-607C-59C3-CEB4D147B1F2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61" creationId="{F9CDAAC2-F706-046C-761D-DAF8B1BEF416}"/>
          </ac:spMkLst>
        </pc:spChg>
        <pc:spChg chg="mod">
          <ac:chgData name="Hu, Frank" userId="d3ad470f-91d8-4bd6-b171-9c10023cc60b" providerId="ADAL" clId="{F46F829C-35B7-4081-93FD-C381AD92AAD7}" dt="2023-04-21T01:12:54.453" v="4550" actId="164"/>
          <ac:spMkLst>
            <pc:docMk/>
            <pc:sldMk cId="1796338601" sldId="2147479725"/>
            <ac:spMk id="62" creationId="{D0A540FA-02CA-2729-343D-ACD21C960C1B}"/>
          </ac:spMkLst>
        </pc:spChg>
        <pc:spChg chg="del mod">
          <ac:chgData name="Hu, Frank" userId="d3ad470f-91d8-4bd6-b171-9c10023cc60b" providerId="ADAL" clId="{F46F829C-35B7-4081-93FD-C381AD92AAD7}" dt="2023-04-20T06:43:12.812" v="4532" actId="478"/>
          <ac:spMkLst>
            <pc:docMk/>
            <pc:sldMk cId="1796338601" sldId="2147479725"/>
            <ac:spMk id="63" creationId="{B10521D2-53C2-FF33-93B7-850D7860B07A}"/>
          </ac:spMkLst>
        </pc:spChg>
        <pc:spChg chg="mod topLvl">
          <ac:chgData name="Hu, Frank" userId="d3ad470f-91d8-4bd6-b171-9c10023cc60b" providerId="ADAL" clId="{F46F829C-35B7-4081-93FD-C381AD92AAD7}" dt="2023-04-21T01:31:32.274" v="4942" actId="1076"/>
          <ac:spMkLst>
            <pc:docMk/>
            <pc:sldMk cId="1796338601" sldId="2147479725"/>
            <ac:spMk id="64" creationId="{EB298ED1-FAA3-E801-D0D5-C9B0DE061CE1}"/>
          </ac:spMkLst>
        </pc:spChg>
        <pc:spChg chg="del mod">
          <ac:chgData name="Hu, Frank" userId="d3ad470f-91d8-4bd6-b171-9c10023cc60b" providerId="ADAL" clId="{F46F829C-35B7-4081-93FD-C381AD92AAD7}" dt="2023-04-20T06:43:12.812" v="4532" actId="478"/>
          <ac:spMkLst>
            <pc:docMk/>
            <pc:sldMk cId="1796338601" sldId="2147479725"/>
            <ac:spMk id="65" creationId="{C9E8BE40-6EAD-92FE-7E1A-BFD92FFC7D14}"/>
          </ac:spMkLst>
        </pc:spChg>
        <pc:spChg chg="del mod">
          <ac:chgData name="Hu, Frank" userId="d3ad470f-91d8-4bd6-b171-9c10023cc60b" providerId="ADAL" clId="{F46F829C-35B7-4081-93FD-C381AD92AAD7}" dt="2023-04-20T06:43:12.812" v="4532" actId="478"/>
          <ac:spMkLst>
            <pc:docMk/>
            <pc:sldMk cId="1796338601" sldId="2147479725"/>
            <ac:spMk id="66" creationId="{0FE68884-A7CB-3112-81F7-FF44447AB867}"/>
          </ac:spMkLst>
        </pc:spChg>
        <pc:spChg chg="del mod">
          <ac:chgData name="Hu, Frank" userId="d3ad470f-91d8-4bd6-b171-9c10023cc60b" providerId="ADAL" clId="{F46F829C-35B7-4081-93FD-C381AD92AAD7}" dt="2023-04-20T06:43:12.812" v="4532" actId="478"/>
          <ac:spMkLst>
            <pc:docMk/>
            <pc:sldMk cId="1796338601" sldId="2147479725"/>
            <ac:spMk id="67" creationId="{315821CD-4198-9A5B-3BEA-3345B977AAAD}"/>
          </ac:spMkLst>
        </pc:spChg>
        <pc:spChg chg="del mod">
          <ac:chgData name="Hu, Frank" userId="d3ad470f-91d8-4bd6-b171-9c10023cc60b" providerId="ADAL" clId="{F46F829C-35B7-4081-93FD-C381AD92AAD7}" dt="2023-04-20T06:43:12.812" v="4532" actId="478"/>
          <ac:spMkLst>
            <pc:docMk/>
            <pc:sldMk cId="1796338601" sldId="2147479725"/>
            <ac:spMk id="69" creationId="{F7B396A0-18A0-106B-3CFC-711DBC023222}"/>
          </ac:spMkLst>
        </pc:spChg>
        <pc:spChg chg="del mod">
          <ac:chgData name="Hu, Frank" userId="d3ad470f-91d8-4bd6-b171-9c10023cc60b" providerId="ADAL" clId="{F46F829C-35B7-4081-93FD-C381AD92AAD7}" dt="2023-04-20T06:43:33.467" v="4537" actId="478"/>
          <ac:spMkLst>
            <pc:docMk/>
            <pc:sldMk cId="1796338601" sldId="2147479725"/>
            <ac:spMk id="70" creationId="{F050CBE3-49EA-A9CF-8CB2-266A06DF374C}"/>
          </ac:spMkLst>
        </pc:spChg>
        <pc:spChg chg="del">
          <ac:chgData name="Hu, Frank" userId="d3ad470f-91d8-4bd6-b171-9c10023cc60b" providerId="ADAL" clId="{F46F829C-35B7-4081-93FD-C381AD92AAD7}" dt="2023-04-20T02:20:50.793" v="3263" actId="478"/>
          <ac:spMkLst>
            <pc:docMk/>
            <pc:sldMk cId="1796338601" sldId="2147479725"/>
            <ac:spMk id="71" creationId="{7F1D12B8-7BBB-7570-3A11-549195A3243A}"/>
          </ac:spMkLst>
        </pc:spChg>
        <pc:spChg chg="del">
          <ac:chgData name="Hu, Frank" userId="d3ad470f-91d8-4bd6-b171-9c10023cc60b" providerId="ADAL" clId="{F46F829C-35B7-4081-93FD-C381AD92AAD7}" dt="2023-04-20T02:21:04.276" v="3266" actId="478"/>
          <ac:spMkLst>
            <pc:docMk/>
            <pc:sldMk cId="1796338601" sldId="2147479725"/>
            <ac:spMk id="72" creationId="{73BE0095-B33D-CE3C-8AE5-953BB91FD4CE}"/>
          </ac:spMkLst>
        </pc:spChg>
        <pc:spChg chg="del mod">
          <ac:chgData name="Hu, Frank" userId="d3ad470f-91d8-4bd6-b171-9c10023cc60b" providerId="ADAL" clId="{F46F829C-35B7-4081-93FD-C381AD92AAD7}" dt="2023-04-21T01:23:08.468" v="4732" actId="478"/>
          <ac:spMkLst>
            <pc:docMk/>
            <pc:sldMk cId="1796338601" sldId="2147479725"/>
            <ac:spMk id="73" creationId="{6E65EC3F-FF48-9B95-A785-B384250A13B2}"/>
          </ac:spMkLst>
        </pc:spChg>
        <pc:spChg chg="mod">
          <ac:chgData name="Hu, Frank" userId="d3ad470f-91d8-4bd6-b171-9c10023cc60b" providerId="ADAL" clId="{F46F829C-35B7-4081-93FD-C381AD92AAD7}" dt="2023-04-21T01:29:14.852" v="4805" actId="164"/>
          <ac:spMkLst>
            <pc:docMk/>
            <pc:sldMk cId="1796338601" sldId="2147479725"/>
            <ac:spMk id="74" creationId="{AE1A1E8D-0C93-55A4-47BD-8CF30CF70FD5}"/>
          </ac:spMkLst>
        </pc:spChg>
        <pc:spChg chg="del mod">
          <ac:chgData name="Hu, Frank" userId="d3ad470f-91d8-4bd6-b171-9c10023cc60b" providerId="ADAL" clId="{F46F829C-35B7-4081-93FD-C381AD92AAD7}" dt="2023-04-20T06:43:12.812" v="4532" actId="478"/>
          <ac:spMkLst>
            <pc:docMk/>
            <pc:sldMk cId="1796338601" sldId="2147479725"/>
            <ac:spMk id="75" creationId="{41D8764D-010E-967C-8C56-4B8D04D27C40}"/>
          </ac:spMkLst>
        </pc:spChg>
        <pc:spChg chg="mod">
          <ac:chgData name="Hu, Frank" userId="d3ad470f-91d8-4bd6-b171-9c10023cc60b" providerId="ADAL" clId="{F46F829C-35B7-4081-93FD-C381AD92AAD7}" dt="2023-04-21T01:29:14.852" v="4805" actId="164"/>
          <ac:spMkLst>
            <pc:docMk/>
            <pc:sldMk cId="1796338601" sldId="2147479725"/>
            <ac:spMk id="76" creationId="{1BB32611-D945-FBBF-A3D8-C48DB8C61793}"/>
          </ac:spMkLst>
        </pc:spChg>
        <pc:spChg chg="del">
          <ac:chgData name="Hu, Frank" userId="d3ad470f-91d8-4bd6-b171-9c10023cc60b" providerId="ADAL" clId="{F46F829C-35B7-4081-93FD-C381AD92AAD7}" dt="2023-04-20T02:30:28.350" v="3379" actId="478"/>
          <ac:spMkLst>
            <pc:docMk/>
            <pc:sldMk cId="1796338601" sldId="2147479725"/>
            <ac:spMk id="78" creationId="{052E2156-6930-BF1F-908F-9B25F495DB67}"/>
          </ac:spMkLst>
        </pc:spChg>
        <pc:spChg chg="del">
          <ac:chgData name="Hu, Frank" userId="d3ad470f-91d8-4bd6-b171-9c10023cc60b" providerId="ADAL" clId="{F46F829C-35B7-4081-93FD-C381AD92AAD7}" dt="2023-04-20T02:30:28.350" v="3379" actId="478"/>
          <ac:spMkLst>
            <pc:docMk/>
            <pc:sldMk cId="1796338601" sldId="2147479725"/>
            <ac:spMk id="79" creationId="{73DA05AA-093D-504D-A3DA-8FEF860526F2}"/>
          </ac:spMkLst>
        </pc:spChg>
        <pc:spChg chg="mod">
          <ac:chgData name="Hu, Frank" userId="d3ad470f-91d8-4bd6-b171-9c10023cc60b" providerId="ADAL" clId="{F46F829C-35B7-4081-93FD-C381AD92AAD7}" dt="2023-04-21T01:28:41.652" v="4802" actId="1035"/>
          <ac:spMkLst>
            <pc:docMk/>
            <pc:sldMk cId="1796338601" sldId="2147479725"/>
            <ac:spMk id="82" creationId="{161D99B6-FF3E-1D66-D890-AD0BA723250A}"/>
          </ac:spMkLst>
        </pc:spChg>
        <pc:spChg chg="del">
          <ac:chgData name="Hu, Frank" userId="d3ad470f-91d8-4bd6-b171-9c10023cc60b" providerId="ADAL" clId="{F46F829C-35B7-4081-93FD-C381AD92AAD7}" dt="2023-04-20T02:22:22.532" v="3273" actId="478"/>
          <ac:spMkLst>
            <pc:docMk/>
            <pc:sldMk cId="1796338601" sldId="2147479725"/>
            <ac:spMk id="84" creationId="{2B69AAAE-B97A-F539-7D02-8BA67F0E0B85}"/>
          </ac:spMkLst>
        </pc:spChg>
        <pc:spChg chg="del">
          <ac:chgData name="Hu, Frank" userId="d3ad470f-91d8-4bd6-b171-9c10023cc60b" providerId="ADAL" clId="{F46F829C-35B7-4081-93FD-C381AD92AAD7}" dt="2023-04-20T02:22:21.535" v="3272" actId="478"/>
          <ac:spMkLst>
            <pc:docMk/>
            <pc:sldMk cId="1796338601" sldId="2147479725"/>
            <ac:spMk id="88" creationId="{94770DC7-234B-764B-3522-C3FD48D89472}"/>
          </ac:spMkLst>
        </pc:spChg>
        <pc:spChg chg="del">
          <ac:chgData name="Hu, Frank" userId="d3ad470f-91d8-4bd6-b171-9c10023cc60b" providerId="ADAL" clId="{F46F829C-35B7-4081-93FD-C381AD92AAD7}" dt="2023-04-20T02:22:20.254" v="3271" actId="478"/>
          <ac:spMkLst>
            <pc:docMk/>
            <pc:sldMk cId="1796338601" sldId="2147479725"/>
            <ac:spMk id="89" creationId="{6B4082B8-0391-3703-1A0B-1927AA066B9B}"/>
          </ac:spMkLst>
        </pc:spChg>
        <pc:spChg chg="del">
          <ac:chgData name="Hu, Frank" userId="d3ad470f-91d8-4bd6-b171-9c10023cc60b" providerId="ADAL" clId="{F46F829C-35B7-4081-93FD-C381AD92AAD7}" dt="2023-04-20T02:20:31.696" v="3261" actId="478"/>
          <ac:spMkLst>
            <pc:docMk/>
            <pc:sldMk cId="1796338601" sldId="2147479725"/>
            <ac:spMk id="91" creationId="{B455937C-7A11-349F-2F8C-E724F156C7F4}"/>
          </ac:spMkLst>
        </pc:spChg>
        <pc:spChg chg="del mod">
          <ac:chgData name="Hu, Frank" userId="d3ad470f-91d8-4bd6-b171-9c10023cc60b" providerId="ADAL" clId="{F46F829C-35B7-4081-93FD-C381AD92AAD7}" dt="2023-04-20T06:43:12.812" v="4532" actId="478"/>
          <ac:spMkLst>
            <pc:docMk/>
            <pc:sldMk cId="1796338601" sldId="2147479725"/>
            <ac:spMk id="92" creationId="{B369E46F-C620-11FD-B784-38AFBDCF9E8C}"/>
          </ac:spMkLst>
        </pc:spChg>
        <pc:spChg chg="del mod">
          <ac:chgData name="Hu, Frank" userId="d3ad470f-91d8-4bd6-b171-9c10023cc60b" providerId="ADAL" clId="{F46F829C-35B7-4081-93FD-C381AD92AAD7}" dt="2023-04-20T03:47:28.827" v="3876" actId="478"/>
          <ac:spMkLst>
            <pc:docMk/>
            <pc:sldMk cId="1796338601" sldId="2147479725"/>
            <ac:spMk id="94" creationId="{44BBE95D-A158-811D-1769-1377B0FBC9E5}"/>
          </ac:spMkLst>
        </pc:spChg>
        <pc:spChg chg="add del mod">
          <ac:chgData name="Hu, Frank" userId="d3ad470f-91d8-4bd6-b171-9c10023cc60b" providerId="ADAL" clId="{F46F829C-35B7-4081-93FD-C381AD92AAD7}" dt="2023-04-20T03:35:22.702" v="3520" actId="478"/>
          <ac:spMkLst>
            <pc:docMk/>
            <pc:sldMk cId="1796338601" sldId="2147479725"/>
            <ac:spMk id="95" creationId="{D5F6D765-4BD5-3EEA-5D36-BE20357A7A65}"/>
          </ac:spMkLst>
        </pc:spChg>
        <pc:spChg chg="del mod">
          <ac:chgData name="Hu, Frank" userId="d3ad470f-91d8-4bd6-b171-9c10023cc60b" providerId="ADAL" clId="{F46F829C-35B7-4081-93FD-C381AD92AAD7}" dt="2023-04-20T06:43:12.812" v="4532" actId="478"/>
          <ac:spMkLst>
            <pc:docMk/>
            <pc:sldMk cId="1796338601" sldId="2147479725"/>
            <ac:spMk id="96" creationId="{4064D806-2FE2-E53D-B694-BE159914C045}"/>
          </ac:spMkLst>
        </pc:spChg>
        <pc:spChg chg="mod topLvl">
          <ac:chgData name="Hu, Frank" userId="d3ad470f-91d8-4bd6-b171-9c10023cc60b" providerId="ADAL" clId="{F46F829C-35B7-4081-93FD-C381AD92AAD7}" dt="2023-04-21T01:25:24.789" v="4744" actId="164"/>
          <ac:spMkLst>
            <pc:docMk/>
            <pc:sldMk cId="1796338601" sldId="2147479725"/>
            <ac:spMk id="97" creationId="{87CF77C4-AE11-BAC1-2210-776C1E4AFF46}"/>
          </ac:spMkLst>
        </pc:spChg>
        <pc:spChg chg="mod topLvl">
          <ac:chgData name="Hu, Frank" userId="d3ad470f-91d8-4bd6-b171-9c10023cc60b" providerId="ADAL" clId="{F46F829C-35B7-4081-93FD-C381AD92AAD7}" dt="2023-04-21T01:25:24.789" v="4744" actId="164"/>
          <ac:spMkLst>
            <pc:docMk/>
            <pc:sldMk cId="1796338601" sldId="2147479725"/>
            <ac:spMk id="98" creationId="{766E9DE0-3AD9-A620-6FC5-55E745111B5B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99" creationId="{271B20AC-F24A-6727-E5CF-95D6D300F127}"/>
          </ac:spMkLst>
        </pc:spChg>
        <pc:spChg chg="mod">
          <ac:chgData name="Hu, Frank" userId="d3ad470f-91d8-4bd6-b171-9c10023cc60b" providerId="ADAL" clId="{F46F829C-35B7-4081-93FD-C381AD92AAD7}" dt="2023-04-21T01:28:49.309" v="4803" actId="14100"/>
          <ac:spMkLst>
            <pc:docMk/>
            <pc:sldMk cId="1796338601" sldId="2147479725"/>
            <ac:spMk id="100" creationId="{1DA86A75-B960-2B54-8DEB-60CB24714A25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101" creationId="{3CB2492A-8AB6-B52F-ED4E-97767A7D8949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102" creationId="{32B07F15-F498-0570-42EE-6CD7711831EC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103" creationId="{9A73E786-6CEC-FA2E-31C5-1EC4AC4A38A3}"/>
          </ac:spMkLst>
        </pc:spChg>
        <pc:spChg chg="mod">
          <ac:chgData name="Hu, Frank" userId="d3ad470f-91d8-4bd6-b171-9c10023cc60b" providerId="ADAL" clId="{F46F829C-35B7-4081-93FD-C381AD92AAD7}" dt="2023-04-21T01:12:38.860" v="4548" actId="164"/>
          <ac:spMkLst>
            <pc:docMk/>
            <pc:sldMk cId="1796338601" sldId="2147479725"/>
            <ac:spMk id="104" creationId="{5C039F13-0454-07BF-6A56-3A3BEC83724E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105" creationId="{15AB6091-B7BE-608D-0100-028F8701EDA3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106" creationId="{83773241-E896-11C4-AD72-A7D44727E069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107" creationId="{BD052F94-FE10-E276-F88F-3B7939B0DB8A}"/>
          </ac:spMkLst>
        </pc:spChg>
        <pc:spChg chg="del mod">
          <ac:chgData name="Hu, Frank" userId="d3ad470f-91d8-4bd6-b171-9c10023cc60b" providerId="ADAL" clId="{F46F829C-35B7-4081-93FD-C381AD92AAD7}" dt="2023-04-20T03:30:09.218" v="3443" actId="478"/>
          <ac:spMkLst>
            <pc:docMk/>
            <pc:sldMk cId="1796338601" sldId="2147479725"/>
            <ac:spMk id="108" creationId="{6D754720-5B2F-26B5-27E5-ACA9DE958D1E}"/>
          </ac:spMkLst>
        </pc:spChg>
        <pc:spChg chg="del mod">
          <ac:chgData name="Hu, Frank" userId="d3ad470f-91d8-4bd6-b171-9c10023cc60b" providerId="ADAL" clId="{F46F829C-35B7-4081-93FD-C381AD92AAD7}" dt="2023-04-20T06:43:20.602" v="4535" actId="478"/>
          <ac:spMkLst>
            <pc:docMk/>
            <pc:sldMk cId="1796338601" sldId="2147479725"/>
            <ac:spMk id="109" creationId="{B7214C6E-0F32-2725-6DCC-13C740D2A008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110" creationId="{0246DDA4-1652-16BA-CB24-12EB02CE0D55}"/>
          </ac:spMkLst>
        </pc:spChg>
        <pc:spChg chg="del mod">
          <ac:chgData name="Hu, Frank" userId="d3ad470f-91d8-4bd6-b171-9c10023cc60b" providerId="ADAL" clId="{F46F829C-35B7-4081-93FD-C381AD92AAD7}" dt="2023-04-20T03:30:08.046" v="3442" actId="478"/>
          <ac:spMkLst>
            <pc:docMk/>
            <pc:sldMk cId="1796338601" sldId="2147479725"/>
            <ac:spMk id="111" creationId="{F3F2B00A-42FE-7D3E-A2CA-05A93A29FC63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112" creationId="{044A6CA2-F78F-5A2B-40C5-F01A38F76CB6}"/>
          </ac:spMkLst>
        </pc:spChg>
        <pc:spChg chg="del">
          <ac:chgData name="Hu, Frank" userId="d3ad470f-91d8-4bd6-b171-9c10023cc60b" providerId="ADAL" clId="{F46F829C-35B7-4081-93FD-C381AD92AAD7}" dt="2023-04-20T02:22:18.909" v="3270" actId="478"/>
          <ac:spMkLst>
            <pc:docMk/>
            <pc:sldMk cId="1796338601" sldId="2147479725"/>
            <ac:spMk id="113" creationId="{0B443D9D-81DA-50D5-22E9-69FD2ABD9673}"/>
          </ac:spMkLst>
        </pc:spChg>
        <pc:spChg chg="del mod">
          <ac:chgData name="Hu, Frank" userId="d3ad470f-91d8-4bd6-b171-9c10023cc60b" providerId="ADAL" clId="{F46F829C-35B7-4081-93FD-C381AD92AAD7}" dt="2023-04-20T03:47:34.570" v="3877" actId="478"/>
          <ac:spMkLst>
            <pc:docMk/>
            <pc:sldMk cId="1796338601" sldId="2147479725"/>
            <ac:spMk id="114" creationId="{552D9B66-B4AD-4B1E-1599-38BC2BFD28B9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115" creationId="{803B49B9-0E73-5981-A97B-828E591DA38B}"/>
          </ac:spMkLst>
        </pc:spChg>
        <pc:spChg chg="del mod">
          <ac:chgData name="Hu, Frank" userId="d3ad470f-91d8-4bd6-b171-9c10023cc60b" providerId="ADAL" clId="{F46F829C-35B7-4081-93FD-C381AD92AAD7}" dt="2023-04-20T03:58:27.251" v="4043" actId="478"/>
          <ac:spMkLst>
            <pc:docMk/>
            <pc:sldMk cId="1796338601" sldId="2147479725"/>
            <ac:spMk id="116" creationId="{DE9E7195-BE69-6CC7-7891-5A2E10331846}"/>
          </ac:spMkLst>
        </pc:spChg>
        <pc:spChg chg="del mod">
          <ac:chgData name="Hu, Frank" userId="d3ad470f-91d8-4bd6-b171-9c10023cc60b" providerId="ADAL" clId="{F46F829C-35B7-4081-93FD-C381AD92AAD7}" dt="2023-04-20T06:43:22.147" v="4536" actId="478"/>
          <ac:spMkLst>
            <pc:docMk/>
            <pc:sldMk cId="1796338601" sldId="2147479725"/>
            <ac:spMk id="117" creationId="{1C799E89-17D7-50FB-1171-1AFCD878F253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118" creationId="{B6EBD142-5AB5-D181-5E4B-F84EDA260229}"/>
          </ac:spMkLst>
        </pc:spChg>
        <pc:spChg chg="del mod">
          <ac:chgData name="Hu, Frank" userId="d3ad470f-91d8-4bd6-b171-9c10023cc60b" providerId="ADAL" clId="{F46F829C-35B7-4081-93FD-C381AD92AAD7}" dt="2023-04-20T03:58:28.414" v="4044" actId="478"/>
          <ac:spMkLst>
            <pc:docMk/>
            <pc:sldMk cId="1796338601" sldId="2147479725"/>
            <ac:spMk id="119" creationId="{7B2621EC-64FE-3A4A-2D0C-21C7A0E86821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122" creationId="{5B2D1DA8-90A9-F18E-DCE7-167B3FFDB1C3}"/>
          </ac:spMkLst>
        </pc:spChg>
        <pc:spChg chg="del mod">
          <ac:chgData name="Hu, Frank" userId="d3ad470f-91d8-4bd6-b171-9c10023cc60b" providerId="ADAL" clId="{F46F829C-35B7-4081-93FD-C381AD92AAD7}" dt="2023-04-20T03:30:04.656" v="3439" actId="478"/>
          <ac:spMkLst>
            <pc:docMk/>
            <pc:sldMk cId="1796338601" sldId="2147479725"/>
            <ac:spMk id="123" creationId="{6B52A992-F0B6-49A2-18FD-743C8D68A4B6}"/>
          </ac:spMkLst>
        </pc:spChg>
        <pc:spChg chg="del mod">
          <ac:chgData name="Hu, Frank" userId="d3ad470f-91d8-4bd6-b171-9c10023cc60b" providerId="ADAL" clId="{F46F829C-35B7-4081-93FD-C381AD92AAD7}" dt="2023-04-20T03:30:05.621" v="3440" actId="478"/>
          <ac:spMkLst>
            <pc:docMk/>
            <pc:sldMk cId="1796338601" sldId="2147479725"/>
            <ac:spMk id="124" creationId="{743C2350-44EC-EA34-BFB9-3F1A11C91113}"/>
          </ac:spMkLst>
        </pc:spChg>
        <pc:spChg chg="del mod">
          <ac:chgData name="Hu, Frank" userId="d3ad470f-91d8-4bd6-b171-9c10023cc60b" providerId="ADAL" clId="{F46F829C-35B7-4081-93FD-C381AD92AAD7}" dt="2023-04-20T03:47:19.987" v="3874" actId="478"/>
          <ac:spMkLst>
            <pc:docMk/>
            <pc:sldMk cId="1796338601" sldId="2147479725"/>
            <ac:spMk id="125" creationId="{916FF9D9-516F-0452-930C-32D531C562C8}"/>
          </ac:spMkLst>
        </pc:spChg>
        <pc:spChg chg="del mod">
          <ac:chgData name="Hu, Frank" userId="d3ad470f-91d8-4bd6-b171-9c10023cc60b" providerId="ADAL" clId="{F46F829C-35B7-4081-93FD-C381AD92AAD7}" dt="2023-04-20T03:47:18.732" v="3873" actId="478"/>
          <ac:spMkLst>
            <pc:docMk/>
            <pc:sldMk cId="1796338601" sldId="2147479725"/>
            <ac:spMk id="126" creationId="{8D82F92B-51C1-9DFE-9D97-323638004835}"/>
          </ac:spMkLst>
        </pc:spChg>
        <pc:spChg chg="mod">
          <ac:chgData name="Hu, Frank" userId="d3ad470f-91d8-4bd6-b171-9c10023cc60b" providerId="ADAL" clId="{F46F829C-35B7-4081-93FD-C381AD92AAD7}" dt="2023-04-21T01:24:59.086" v="4739" actId="164"/>
          <ac:spMkLst>
            <pc:docMk/>
            <pc:sldMk cId="1796338601" sldId="2147479725"/>
            <ac:spMk id="127" creationId="{537F6AF6-3D1C-E755-E43A-2DF5AD845BFF}"/>
          </ac:spMkLst>
        </pc:spChg>
        <pc:spChg chg="mod">
          <ac:chgData name="Hu, Frank" userId="d3ad470f-91d8-4bd6-b171-9c10023cc60b" providerId="ADAL" clId="{F46F829C-35B7-4081-93FD-C381AD92AAD7}" dt="2023-04-21T01:24:59.086" v="4739" actId="164"/>
          <ac:spMkLst>
            <pc:docMk/>
            <pc:sldMk cId="1796338601" sldId="2147479725"/>
            <ac:spMk id="128" creationId="{51A7BC38-8138-F466-285C-40E73BED99D6}"/>
          </ac:spMkLst>
        </pc:spChg>
        <pc:spChg chg="add mod">
          <ac:chgData name="Hu, Frank" userId="d3ad470f-91d8-4bd6-b171-9c10023cc60b" providerId="ADAL" clId="{F46F829C-35B7-4081-93FD-C381AD92AAD7}" dt="2023-04-21T01:30:04.029" v="4864" actId="1076"/>
          <ac:spMkLst>
            <pc:docMk/>
            <pc:sldMk cId="1796338601" sldId="2147479725"/>
            <ac:spMk id="129" creationId="{A16773A8-4118-9DDE-8E1F-E10F3365F257}"/>
          </ac:spMkLst>
        </pc:spChg>
        <pc:spChg chg="del mod">
          <ac:chgData name="Hu, Frank" userId="d3ad470f-91d8-4bd6-b171-9c10023cc60b" providerId="ADAL" clId="{F46F829C-35B7-4081-93FD-C381AD92AAD7}" dt="2023-04-20T06:43:37.151" v="4539" actId="478"/>
          <ac:spMkLst>
            <pc:docMk/>
            <pc:sldMk cId="1796338601" sldId="2147479725"/>
            <ac:spMk id="131" creationId="{646F9E71-1BD5-4C25-8557-F88EBB340025}"/>
          </ac:spMkLst>
        </pc:spChg>
        <pc:spChg chg="del mod">
          <ac:chgData name="Hu, Frank" userId="d3ad470f-91d8-4bd6-b171-9c10023cc60b" providerId="ADAL" clId="{F46F829C-35B7-4081-93FD-C381AD92AAD7}" dt="2023-04-20T06:43:33.467" v="4537" actId="478"/>
          <ac:spMkLst>
            <pc:docMk/>
            <pc:sldMk cId="1796338601" sldId="2147479725"/>
            <ac:spMk id="132" creationId="{475679F0-B833-5851-5FBB-E61D434530E4}"/>
          </ac:spMkLst>
        </pc:spChg>
        <pc:spChg chg="del mod">
          <ac:chgData name="Hu, Frank" userId="d3ad470f-91d8-4bd6-b171-9c10023cc60b" providerId="ADAL" clId="{F46F829C-35B7-4081-93FD-C381AD92AAD7}" dt="2023-04-20T06:43:33.467" v="4537" actId="478"/>
          <ac:spMkLst>
            <pc:docMk/>
            <pc:sldMk cId="1796338601" sldId="2147479725"/>
            <ac:spMk id="133" creationId="{E11B18C3-31AC-3C29-7DC5-B4D802BEF645}"/>
          </ac:spMkLst>
        </pc:spChg>
        <pc:spChg chg="del mod">
          <ac:chgData name="Hu, Frank" userId="d3ad470f-91d8-4bd6-b171-9c10023cc60b" providerId="ADAL" clId="{F46F829C-35B7-4081-93FD-C381AD92AAD7}" dt="2023-04-20T06:43:33.467" v="4537" actId="478"/>
          <ac:spMkLst>
            <pc:docMk/>
            <pc:sldMk cId="1796338601" sldId="2147479725"/>
            <ac:spMk id="134" creationId="{63696F22-9B00-F0FE-93FE-28464012D537}"/>
          </ac:spMkLst>
        </pc:spChg>
        <pc:spChg chg="del mod">
          <ac:chgData name="Hu, Frank" userId="d3ad470f-91d8-4bd6-b171-9c10023cc60b" providerId="ADAL" clId="{F46F829C-35B7-4081-93FD-C381AD92AAD7}" dt="2023-04-20T06:43:33.467" v="4537" actId="478"/>
          <ac:spMkLst>
            <pc:docMk/>
            <pc:sldMk cId="1796338601" sldId="2147479725"/>
            <ac:spMk id="135" creationId="{82043D1C-B00B-F813-38B8-9167E3E692E7}"/>
          </ac:spMkLst>
        </pc:spChg>
        <pc:spChg chg="del">
          <ac:chgData name="Hu, Frank" userId="d3ad470f-91d8-4bd6-b171-9c10023cc60b" providerId="ADAL" clId="{F46F829C-35B7-4081-93FD-C381AD92AAD7}" dt="2023-04-20T02:21:01.428" v="3265" actId="478"/>
          <ac:spMkLst>
            <pc:docMk/>
            <pc:sldMk cId="1796338601" sldId="2147479725"/>
            <ac:spMk id="136" creationId="{1D41288A-B276-32EB-F428-8316C58AB564}"/>
          </ac:spMkLst>
        </pc:spChg>
        <pc:spChg chg="add del mod">
          <ac:chgData name="Hu, Frank" userId="d3ad470f-91d8-4bd6-b171-9c10023cc60b" providerId="ADAL" clId="{F46F829C-35B7-4081-93FD-C381AD92AAD7}" dt="2023-04-20T06:19:57.997" v="4081" actId="478"/>
          <ac:spMkLst>
            <pc:docMk/>
            <pc:sldMk cId="1796338601" sldId="2147479725"/>
            <ac:spMk id="140" creationId="{2CE6B8F7-853B-805F-5945-6208B0186291}"/>
          </ac:spMkLst>
        </pc:spChg>
        <pc:spChg chg="del mod">
          <ac:chgData name="Hu, Frank" userId="d3ad470f-91d8-4bd6-b171-9c10023cc60b" providerId="ADAL" clId="{F46F829C-35B7-4081-93FD-C381AD92AAD7}" dt="2023-04-20T03:47:02.212" v="3870" actId="478"/>
          <ac:spMkLst>
            <pc:docMk/>
            <pc:sldMk cId="1796338601" sldId="2147479725"/>
            <ac:spMk id="141" creationId="{4E2E81F9-341B-F92C-5EC0-AA8277E4B415}"/>
          </ac:spMkLst>
        </pc:spChg>
        <pc:spChg chg="del mod">
          <ac:chgData name="Hu, Frank" userId="d3ad470f-91d8-4bd6-b171-9c10023cc60b" providerId="ADAL" clId="{F46F829C-35B7-4081-93FD-C381AD92AAD7}" dt="2023-04-20T06:43:17.931" v="4533" actId="478"/>
          <ac:spMkLst>
            <pc:docMk/>
            <pc:sldMk cId="1796338601" sldId="2147479725"/>
            <ac:spMk id="142" creationId="{E2202677-B239-3195-B011-9B53EFCBFB3A}"/>
          </ac:spMkLst>
        </pc:spChg>
        <pc:spChg chg="add mod">
          <ac:chgData name="Hu, Frank" userId="d3ad470f-91d8-4bd6-b171-9c10023cc60b" providerId="ADAL" clId="{F46F829C-35B7-4081-93FD-C381AD92AAD7}" dt="2023-04-21T01:29:14.852" v="4805" actId="164"/>
          <ac:spMkLst>
            <pc:docMk/>
            <pc:sldMk cId="1796338601" sldId="2147479725"/>
            <ac:spMk id="147" creationId="{CAC3C90E-3C1A-AC9E-7EC1-AB30C9A0D12A}"/>
          </ac:spMkLst>
        </pc:spChg>
        <pc:spChg chg="add mod">
          <ac:chgData name="Hu, Frank" userId="d3ad470f-91d8-4bd6-b171-9c10023cc60b" providerId="ADAL" clId="{F46F829C-35B7-4081-93FD-C381AD92AAD7}" dt="2023-04-21T01:30:43.613" v="4906" actId="1076"/>
          <ac:spMkLst>
            <pc:docMk/>
            <pc:sldMk cId="1796338601" sldId="2147479725"/>
            <ac:spMk id="153" creationId="{D2715621-791A-CE11-0B94-C2B4331D2CFC}"/>
          </ac:spMkLst>
        </pc:spChg>
        <pc:spChg chg="add mod">
          <ac:chgData name="Hu, Frank" userId="d3ad470f-91d8-4bd6-b171-9c10023cc60b" providerId="ADAL" clId="{F46F829C-35B7-4081-93FD-C381AD92AAD7}" dt="2023-04-21T01:31:21.273" v="4938" actId="1076"/>
          <ac:spMkLst>
            <pc:docMk/>
            <pc:sldMk cId="1796338601" sldId="2147479725"/>
            <ac:spMk id="157" creationId="{997D2275-08BC-07D8-7773-25467ABF364C}"/>
          </ac:spMkLst>
        </pc:spChg>
        <pc:spChg chg="add mod">
          <ac:chgData name="Hu, Frank" userId="d3ad470f-91d8-4bd6-b171-9c10023cc60b" providerId="ADAL" clId="{F46F829C-35B7-4081-93FD-C381AD92AAD7}" dt="2023-04-21T01:29:57.555" v="4863" actId="1076"/>
          <ac:spMkLst>
            <pc:docMk/>
            <pc:sldMk cId="1796338601" sldId="2147479725"/>
            <ac:spMk id="158" creationId="{29743631-F442-6B0D-50EA-B84A80029C66}"/>
          </ac:spMkLst>
        </pc:spChg>
        <pc:spChg chg="add del mod">
          <ac:chgData name="Hu, Frank" userId="d3ad470f-91d8-4bd6-b171-9c10023cc60b" providerId="ADAL" clId="{F46F829C-35B7-4081-93FD-C381AD92AAD7}" dt="2023-04-21T01:14:06.278" v="4576" actId="478"/>
          <ac:spMkLst>
            <pc:docMk/>
            <pc:sldMk cId="1796338601" sldId="2147479725"/>
            <ac:spMk id="170" creationId="{46292B99-84B6-3D7E-7544-95AE16C7D22A}"/>
          </ac:spMkLst>
        </pc:spChg>
        <pc:spChg chg="add mod">
          <ac:chgData name="Hu, Frank" userId="d3ad470f-91d8-4bd6-b171-9c10023cc60b" providerId="ADAL" clId="{F46F829C-35B7-4081-93FD-C381AD92AAD7}" dt="2023-04-21T01:31:16.506" v="4937" actId="1038"/>
          <ac:spMkLst>
            <pc:docMk/>
            <pc:sldMk cId="1796338601" sldId="2147479725"/>
            <ac:spMk id="179" creationId="{D45BFAC2-C9FA-5E50-5640-FD4A1D821855}"/>
          </ac:spMkLst>
        </pc:spChg>
        <pc:spChg chg="add mod">
          <ac:chgData name="Hu, Frank" userId="d3ad470f-91d8-4bd6-b171-9c10023cc60b" providerId="ADAL" clId="{F46F829C-35B7-4081-93FD-C381AD92AAD7}" dt="2023-04-21T01:31:25.218" v="4939" actId="1076"/>
          <ac:spMkLst>
            <pc:docMk/>
            <pc:sldMk cId="1796338601" sldId="2147479725"/>
            <ac:spMk id="180" creationId="{B2EF30D3-F942-CE22-7657-19BBBB8AAA57}"/>
          </ac:spMkLst>
        </pc:spChg>
        <pc:spChg chg="add mod">
          <ac:chgData name="Hu, Frank" userId="d3ad470f-91d8-4bd6-b171-9c10023cc60b" providerId="ADAL" clId="{F46F829C-35B7-4081-93FD-C381AD92AAD7}" dt="2023-04-21T01:31:51.443" v="4945" actId="1076"/>
          <ac:spMkLst>
            <pc:docMk/>
            <pc:sldMk cId="1796338601" sldId="2147479725"/>
            <ac:spMk id="187" creationId="{8D777A7C-8A65-186A-89F5-C8B5B3BD68DB}"/>
          </ac:spMkLst>
        </pc:spChg>
        <pc:spChg chg="add mod">
          <ac:chgData name="Hu, Frank" userId="d3ad470f-91d8-4bd6-b171-9c10023cc60b" providerId="ADAL" clId="{F46F829C-35B7-4081-93FD-C381AD92AAD7}" dt="2023-04-21T01:27:22.170" v="4785" actId="1037"/>
          <ac:spMkLst>
            <pc:docMk/>
            <pc:sldMk cId="1796338601" sldId="2147479725"/>
            <ac:spMk id="262" creationId="{FE30E43F-C3E4-44E3-7419-38A9564CFF58}"/>
          </ac:spMkLst>
        </pc:spChg>
        <pc:spChg chg="add mod">
          <ac:chgData name="Hu, Frank" userId="d3ad470f-91d8-4bd6-b171-9c10023cc60b" providerId="ADAL" clId="{F46F829C-35B7-4081-93FD-C381AD92AAD7}" dt="2023-04-21T01:27:22.170" v="4785" actId="1037"/>
          <ac:spMkLst>
            <pc:docMk/>
            <pc:sldMk cId="1796338601" sldId="2147479725"/>
            <ac:spMk id="263" creationId="{45BCDF1F-8112-ECB3-B4AE-D95CBBBB6F10}"/>
          </ac:spMkLst>
        </pc:spChg>
        <pc:spChg chg="add mod">
          <ac:chgData name="Hu, Frank" userId="d3ad470f-91d8-4bd6-b171-9c10023cc60b" providerId="ADAL" clId="{F46F829C-35B7-4081-93FD-C381AD92AAD7}" dt="2023-04-21T01:27:22.170" v="4785" actId="1037"/>
          <ac:spMkLst>
            <pc:docMk/>
            <pc:sldMk cId="1796338601" sldId="2147479725"/>
            <ac:spMk id="264" creationId="{EAB378E8-0D7B-2ACF-FCDA-19B2B77AA77F}"/>
          </ac:spMkLst>
        </pc:spChg>
        <pc:spChg chg="add mod">
          <ac:chgData name="Hu, Frank" userId="d3ad470f-91d8-4bd6-b171-9c10023cc60b" providerId="ADAL" clId="{F46F829C-35B7-4081-93FD-C381AD92AAD7}" dt="2023-04-21T01:27:22.170" v="4785" actId="1037"/>
          <ac:spMkLst>
            <pc:docMk/>
            <pc:sldMk cId="1796338601" sldId="2147479725"/>
            <ac:spMk id="265" creationId="{85A8F45F-209D-701D-C1F1-4341865750BE}"/>
          </ac:spMkLst>
        </pc:spChg>
        <pc:spChg chg="mod">
          <ac:chgData name="Hu, Frank" userId="d3ad470f-91d8-4bd6-b171-9c10023cc60b" providerId="ADAL" clId="{F46F829C-35B7-4081-93FD-C381AD92AAD7}" dt="2023-04-21T01:16:53.600" v="4646"/>
          <ac:spMkLst>
            <pc:docMk/>
            <pc:sldMk cId="1796338601" sldId="2147479725"/>
            <ac:spMk id="267" creationId="{17FDCD51-F247-E46E-A2F8-28680A4145E0}"/>
          </ac:spMkLst>
        </pc:spChg>
        <pc:spChg chg="mod">
          <ac:chgData name="Hu, Frank" userId="d3ad470f-91d8-4bd6-b171-9c10023cc60b" providerId="ADAL" clId="{F46F829C-35B7-4081-93FD-C381AD92AAD7}" dt="2023-04-21T01:16:53.600" v="4646"/>
          <ac:spMkLst>
            <pc:docMk/>
            <pc:sldMk cId="1796338601" sldId="2147479725"/>
            <ac:spMk id="268" creationId="{DADBC16E-12A2-6F17-6109-3880A0257097}"/>
          </ac:spMkLst>
        </pc:spChg>
        <pc:spChg chg="mod">
          <ac:chgData name="Hu, Frank" userId="d3ad470f-91d8-4bd6-b171-9c10023cc60b" providerId="ADAL" clId="{F46F829C-35B7-4081-93FD-C381AD92AAD7}" dt="2023-04-21T01:16:53.600" v="4646"/>
          <ac:spMkLst>
            <pc:docMk/>
            <pc:sldMk cId="1796338601" sldId="2147479725"/>
            <ac:spMk id="269" creationId="{4A26B9B2-8235-4027-FF48-68A4E4B35611}"/>
          </ac:spMkLst>
        </pc:spChg>
        <pc:spChg chg="add mod">
          <ac:chgData name="Hu, Frank" userId="d3ad470f-91d8-4bd6-b171-9c10023cc60b" providerId="ADAL" clId="{F46F829C-35B7-4081-93FD-C381AD92AAD7}" dt="2023-04-21T03:27:28.811" v="5026" actId="20577"/>
          <ac:spMkLst>
            <pc:docMk/>
            <pc:sldMk cId="1796338601" sldId="2147479725"/>
            <ac:spMk id="278" creationId="{AD7A131F-53A4-E4A1-E22F-9BFC52970369}"/>
          </ac:spMkLst>
        </pc:spChg>
        <pc:spChg chg="add mod">
          <ac:chgData name="Hu, Frank" userId="d3ad470f-91d8-4bd6-b171-9c10023cc60b" providerId="ADAL" clId="{F46F829C-35B7-4081-93FD-C381AD92AAD7}" dt="2023-04-21T01:33:23.535" v="5023" actId="113"/>
          <ac:spMkLst>
            <pc:docMk/>
            <pc:sldMk cId="1796338601" sldId="2147479725"/>
            <ac:spMk id="285" creationId="{4F3BC610-A64C-FD03-C88F-D2F2AEEEF692}"/>
          </ac:spMkLst>
        </pc:spChg>
        <pc:spChg chg="mod">
          <ac:chgData name="Hu, Frank" userId="d3ad470f-91d8-4bd6-b171-9c10023cc60b" providerId="ADAL" clId="{F46F829C-35B7-4081-93FD-C381AD92AAD7}" dt="2023-04-21T01:30:17.546" v="4868" actId="164"/>
          <ac:spMkLst>
            <pc:docMk/>
            <pc:sldMk cId="1796338601" sldId="2147479725"/>
            <ac:spMk id="293" creationId="{1D3F46A8-6AEA-A772-BC95-CC446FDE0271}"/>
          </ac:spMkLst>
        </pc:spChg>
        <pc:grpChg chg="del">
          <ac:chgData name="Hu, Frank" userId="d3ad470f-91d8-4bd6-b171-9c10023cc60b" providerId="ADAL" clId="{F46F829C-35B7-4081-93FD-C381AD92AAD7}" dt="2023-04-20T02:18:56.809" v="3205" actId="478"/>
          <ac:grpSpMkLst>
            <pc:docMk/>
            <pc:sldMk cId="1796338601" sldId="2147479725"/>
            <ac:grpSpMk id="77" creationId="{09FC2D6D-FC1A-E7EA-44DB-BD5B54CFE610}"/>
          </ac:grpSpMkLst>
        </pc:grpChg>
        <pc:grpChg chg="mod">
          <ac:chgData name="Hu, Frank" userId="d3ad470f-91d8-4bd6-b171-9c10023cc60b" providerId="ADAL" clId="{F46F829C-35B7-4081-93FD-C381AD92AAD7}" dt="2023-04-20T02:19:19.025" v="3208" actId="14100"/>
          <ac:grpSpMkLst>
            <pc:docMk/>
            <pc:sldMk cId="1796338601" sldId="2147479725"/>
            <ac:grpSpMk id="80" creationId="{E55475C0-EEA7-6FC8-07A8-9B1D970C7AE3}"/>
          </ac:grpSpMkLst>
        </pc:grpChg>
        <pc:grpChg chg="add mod">
          <ac:chgData name="Hu, Frank" userId="d3ad470f-91d8-4bd6-b171-9c10023cc60b" providerId="ADAL" clId="{F46F829C-35B7-4081-93FD-C381AD92AAD7}" dt="2023-04-21T01:27:22.170" v="4785" actId="1037"/>
          <ac:grpSpMkLst>
            <pc:docMk/>
            <pc:sldMk cId="1796338601" sldId="2147479725"/>
            <ac:grpSpMk id="259" creationId="{6E970BEC-F55B-2C6F-AE3F-E4C37209785F}"/>
          </ac:grpSpMkLst>
        </pc:grpChg>
        <pc:grpChg chg="add del mod">
          <ac:chgData name="Hu, Frank" userId="d3ad470f-91d8-4bd6-b171-9c10023cc60b" providerId="ADAL" clId="{F46F829C-35B7-4081-93FD-C381AD92AAD7}" dt="2023-04-21T01:16:42.798" v="4643" actId="21"/>
          <ac:grpSpMkLst>
            <pc:docMk/>
            <pc:sldMk cId="1796338601" sldId="2147479725"/>
            <ac:grpSpMk id="260" creationId="{890A6824-D791-ECA0-6190-CB7361843567}"/>
          </ac:grpSpMkLst>
        </pc:grpChg>
        <pc:grpChg chg="add mod">
          <ac:chgData name="Hu, Frank" userId="d3ad470f-91d8-4bd6-b171-9c10023cc60b" providerId="ADAL" clId="{F46F829C-35B7-4081-93FD-C381AD92AAD7}" dt="2023-04-21T01:27:22.170" v="4785" actId="1037"/>
          <ac:grpSpMkLst>
            <pc:docMk/>
            <pc:sldMk cId="1796338601" sldId="2147479725"/>
            <ac:grpSpMk id="266" creationId="{1E62FECD-03D4-E380-C0F8-87247C49EA40}"/>
          </ac:grpSpMkLst>
        </pc:grpChg>
        <pc:grpChg chg="add del mod">
          <ac:chgData name="Hu, Frank" userId="d3ad470f-91d8-4bd6-b171-9c10023cc60b" providerId="ADAL" clId="{F46F829C-35B7-4081-93FD-C381AD92AAD7}" dt="2023-04-21T01:25:22.658" v="4743" actId="165"/>
          <ac:grpSpMkLst>
            <pc:docMk/>
            <pc:sldMk cId="1796338601" sldId="2147479725"/>
            <ac:grpSpMk id="277" creationId="{1FC4BE16-4B54-58B9-4B72-862B6F65E39B}"/>
          </ac:grpSpMkLst>
        </pc:grpChg>
        <pc:grpChg chg="add mod">
          <ac:chgData name="Hu, Frank" userId="d3ad470f-91d8-4bd6-b171-9c10023cc60b" providerId="ADAL" clId="{F46F829C-35B7-4081-93FD-C381AD92AAD7}" dt="2023-04-21T01:31:47.159" v="4944" actId="1076"/>
          <ac:grpSpMkLst>
            <pc:docMk/>
            <pc:sldMk cId="1796338601" sldId="2147479725"/>
            <ac:grpSpMk id="282" creationId="{70B7589D-90B6-2F1A-9937-2E8EFC59AD76}"/>
          </ac:grpSpMkLst>
        </pc:grpChg>
        <pc:grpChg chg="add mod">
          <ac:chgData name="Hu, Frank" userId="d3ad470f-91d8-4bd6-b171-9c10023cc60b" providerId="ADAL" clId="{F46F829C-35B7-4081-93FD-C381AD92AAD7}" dt="2023-04-21T01:31:39.111" v="4943" actId="1076"/>
          <ac:grpSpMkLst>
            <pc:docMk/>
            <pc:sldMk cId="1796338601" sldId="2147479725"/>
            <ac:grpSpMk id="283" creationId="{DBB95068-9D51-F785-136B-C63984EF5FA1}"/>
          </ac:grpSpMkLst>
        </pc:grpChg>
        <pc:grpChg chg="add mod">
          <ac:chgData name="Hu, Frank" userId="d3ad470f-91d8-4bd6-b171-9c10023cc60b" providerId="ADAL" clId="{F46F829C-35B7-4081-93FD-C381AD92AAD7}" dt="2023-04-21T01:29:20.878" v="4840" actId="1037"/>
          <ac:grpSpMkLst>
            <pc:docMk/>
            <pc:sldMk cId="1796338601" sldId="2147479725"/>
            <ac:grpSpMk id="286" creationId="{5E0311C1-BEF6-F828-36AC-46CF8CB717C6}"/>
          </ac:grpSpMkLst>
        </pc:grpChg>
        <pc:grpChg chg="add mod">
          <ac:chgData name="Hu, Frank" userId="d3ad470f-91d8-4bd6-b171-9c10023cc60b" providerId="ADAL" clId="{F46F829C-35B7-4081-93FD-C381AD92AAD7}" dt="2023-04-21T01:30:23.474" v="4904" actId="1038"/>
          <ac:grpSpMkLst>
            <pc:docMk/>
            <pc:sldMk cId="1796338601" sldId="2147479725"/>
            <ac:grpSpMk id="288" creationId="{FE66AC30-5EAD-7273-C2BD-60690FBEC3A5}"/>
          </ac:grpSpMkLst>
        </pc:grpChg>
        <pc:grpChg chg="add mod">
          <ac:chgData name="Hu, Frank" userId="d3ad470f-91d8-4bd6-b171-9c10023cc60b" providerId="ADAL" clId="{F46F829C-35B7-4081-93FD-C381AD92AAD7}" dt="2023-04-21T01:30:54.701" v="4910" actId="1076"/>
          <ac:grpSpMkLst>
            <pc:docMk/>
            <pc:sldMk cId="1796338601" sldId="2147479725"/>
            <ac:grpSpMk id="291" creationId="{643A395C-13B7-8A0D-C38D-27570AA9A9B2}"/>
          </ac:grpSpMkLst>
        </pc:grpChg>
        <pc:cxnChg chg="add del mod">
          <ac:chgData name="Hu, Frank" userId="d3ad470f-91d8-4bd6-b171-9c10023cc60b" providerId="ADAL" clId="{F46F829C-35B7-4081-93FD-C381AD92AAD7}" dt="2023-04-21T01:16:45.296" v="4644" actId="478"/>
          <ac:cxnSpMkLst>
            <pc:docMk/>
            <pc:sldMk cId="1796338601" sldId="2147479725"/>
            <ac:cxnSpMk id="15" creationId="{E6FC8A9E-F3FF-9ABD-FE4E-45DCC3FEA46C}"/>
          </ac:cxnSpMkLst>
        </pc:cxnChg>
        <pc:cxnChg chg="mod">
          <ac:chgData name="Hu, Frank" userId="d3ad470f-91d8-4bd6-b171-9c10023cc60b" providerId="ADAL" clId="{F46F829C-35B7-4081-93FD-C381AD92AAD7}" dt="2023-04-21T01:28:41.652" v="4802" actId="1035"/>
          <ac:cxnSpMkLst>
            <pc:docMk/>
            <pc:sldMk cId="1796338601" sldId="2147479725"/>
            <ac:cxnSpMk id="81" creationId="{A2F57F02-A4EE-079F-E620-EC487EA988C6}"/>
          </ac:cxnSpMkLst>
        </pc:cxnChg>
        <pc:cxnChg chg="add mod">
          <ac:chgData name="Hu, Frank" userId="d3ad470f-91d8-4bd6-b171-9c10023cc60b" providerId="ADAL" clId="{F46F829C-35B7-4081-93FD-C381AD92AAD7}" dt="2023-04-21T01:29:20.878" v="4840" actId="1037"/>
          <ac:cxnSpMkLst>
            <pc:docMk/>
            <pc:sldMk cId="1796338601" sldId="2147479725"/>
            <ac:cxnSpMk id="87" creationId="{590F4157-4703-490A-9F3B-21C0D183A10E}"/>
          </ac:cxnSpMkLst>
        </pc:cxnChg>
        <pc:cxnChg chg="add mod">
          <ac:chgData name="Hu, Frank" userId="d3ad470f-91d8-4bd6-b171-9c10023cc60b" providerId="ADAL" clId="{F46F829C-35B7-4081-93FD-C381AD92AAD7}" dt="2023-04-21T01:30:32.820" v="4905" actId="14100"/>
          <ac:cxnSpMkLst>
            <pc:docMk/>
            <pc:sldMk cId="1796338601" sldId="2147479725"/>
            <ac:cxnSpMk id="137" creationId="{8AF18BDE-6AFF-6521-1DC6-45412AFE6BA2}"/>
          </ac:cxnSpMkLst>
        </pc:cxnChg>
        <pc:cxnChg chg="add mod">
          <ac:chgData name="Hu, Frank" userId="d3ad470f-91d8-4bd6-b171-9c10023cc60b" providerId="ADAL" clId="{F46F829C-35B7-4081-93FD-C381AD92AAD7}" dt="2023-04-21T01:30:59.174" v="4911" actId="14100"/>
          <ac:cxnSpMkLst>
            <pc:docMk/>
            <pc:sldMk cId="1796338601" sldId="2147479725"/>
            <ac:cxnSpMk id="148" creationId="{865B4446-E53E-BBDF-892C-76014D697C39}"/>
          </ac:cxnSpMkLst>
        </pc:cxnChg>
        <pc:cxnChg chg="add mod">
          <ac:chgData name="Hu, Frank" userId="d3ad470f-91d8-4bd6-b171-9c10023cc60b" providerId="ADAL" clId="{F46F829C-35B7-4081-93FD-C381AD92AAD7}" dt="2023-04-21T01:31:16.506" v="4937" actId="1038"/>
          <ac:cxnSpMkLst>
            <pc:docMk/>
            <pc:sldMk cId="1796338601" sldId="2147479725"/>
            <ac:cxnSpMk id="154" creationId="{A59197D0-6167-B75D-CBB9-29A3B72272B2}"/>
          </ac:cxnSpMkLst>
        </pc:cxnChg>
        <pc:cxnChg chg="add mod">
          <ac:chgData name="Hu, Frank" userId="d3ad470f-91d8-4bd6-b171-9c10023cc60b" providerId="ADAL" clId="{F46F829C-35B7-4081-93FD-C381AD92AAD7}" dt="2023-04-21T01:31:16.506" v="4937" actId="1038"/>
          <ac:cxnSpMkLst>
            <pc:docMk/>
            <pc:sldMk cId="1796338601" sldId="2147479725"/>
            <ac:cxnSpMk id="159" creationId="{934E2E0A-0A10-8183-3561-11369CF19062}"/>
          </ac:cxnSpMkLst>
        </pc:cxnChg>
        <pc:cxnChg chg="add mod">
          <ac:chgData name="Hu, Frank" userId="d3ad470f-91d8-4bd6-b171-9c10023cc60b" providerId="ADAL" clId="{F46F829C-35B7-4081-93FD-C381AD92AAD7}" dt="2023-04-21T01:31:27.877" v="4940" actId="1076"/>
          <ac:cxnSpMkLst>
            <pc:docMk/>
            <pc:sldMk cId="1796338601" sldId="2147479725"/>
            <ac:cxnSpMk id="175" creationId="{8475DEDB-4F74-1BCE-C2E9-3AFDAE6D09AA}"/>
          </ac:cxnSpMkLst>
        </pc:cxnChg>
        <pc:cxnChg chg="add mod">
          <ac:chgData name="Hu, Frank" userId="d3ad470f-91d8-4bd6-b171-9c10023cc60b" providerId="ADAL" clId="{F46F829C-35B7-4081-93FD-C381AD92AAD7}" dt="2023-04-21T01:31:59.386" v="4947" actId="14100"/>
          <ac:cxnSpMkLst>
            <pc:docMk/>
            <pc:sldMk cId="1796338601" sldId="2147479725"/>
            <ac:cxnSpMk id="181" creationId="{0BCA0FD6-EE58-62AC-5C31-95D1385553BC}"/>
          </ac:cxnSpMkLst>
        </pc:cxnChg>
        <pc:cxnChg chg="add mod">
          <ac:chgData name="Hu, Frank" userId="d3ad470f-91d8-4bd6-b171-9c10023cc60b" providerId="ADAL" clId="{F46F829C-35B7-4081-93FD-C381AD92AAD7}" dt="2023-04-21T01:27:22.170" v="4785" actId="1037"/>
          <ac:cxnSpMkLst>
            <pc:docMk/>
            <pc:sldMk cId="1796338601" sldId="2147479725"/>
            <ac:cxnSpMk id="270" creationId="{B048208F-DF31-3EC0-0000-F571E99D810B}"/>
          </ac:cxnSpMkLst>
        </pc:cxnChg>
        <pc:cxnChg chg="add mod">
          <ac:chgData name="Hu, Frank" userId="d3ad470f-91d8-4bd6-b171-9c10023cc60b" providerId="ADAL" clId="{F46F829C-35B7-4081-93FD-C381AD92AAD7}" dt="2023-04-21T01:29:20.878" v="4840" actId="1037"/>
          <ac:cxnSpMkLst>
            <pc:docMk/>
            <pc:sldMk cId="1796338601" sldId="2147479725"/>
            <ac:cxnSpMk id="274" creationId="{A5FD7AFB-FCE3-6830-2790-D97586EB52AF}"/>
          </ac:cxnSpMkLst>
        </pc:cxnChg>
      </pc:sldChg>
      <pc:sldChg chg="addSp delSp modSp add mod ord modShow">
        <pc:chgData name="Hu, Frank" userId="d3ad470f-91d8-4bd6-b171-9c10023cc60b" providerId="ADAL" clId="{F46F829C-35B7-4081-93FD-C381AD92AAD7}" dt="2023-04-27T09:44:43.710" v="12018"/>
        <pc:sldMkLst>
          <pc:docMk/>
          <pc:sldMk cId="3500422461" sldId="2147479726"/>
        </pc:sldMkLst>
        <pc:spChg chg="mod">
          <ac:chgData name="Hu, Frank" userId="d3ad470f-91d8-4bd6-b171-9c10023cc60b" providerId="ADAL" clId="{F46F829C-35B7-4081-93FD-C381AD92AAD7}" dt="2023-04-21T06:32:58.486" v="5031" actId="20577"/>
          <ac:spMkLst>
            <pc:docMk/>
            <pc:sldMk cId="3500422461" sldId="2147479726"/>
            <ac:spMk id="3" creationId="{3C351361-B5FC-3B4C-93C7-23720EA4465F}"/>
          </ac:spMkLst>
        </pc:spChg>
        <pc:spChg chg="mod">
          <ac:chgData name="Hu, Frank" userId="d3ad470f-91d8-4bd6-b171-9c10023cc60b" providerId="ADAL" clId="{F46F829C-35B7-4081-93FD-C381AD92AAD7}" dt="2023-04-21T06:36:48.770" v="5034"/>
          <ac:spMkLst>
            <pc:docMk/>
            <pc:sldMk cId="3500422461" sldId="2147479726"/>
            <ac:spMk id="5" creationId="{BA339B11-DB42-2BB7-C3B9-A81B5B465C8E}"/>
          </ac:spMkLst>
        </pc:spChg>
        <pc:spChg chg="add del mod">
          <ac:chgData name="Hu, Frank" userId="d3ad470f-91d8-4bd6-b171-9c10023cc60b" providerId="ADAL" clId="{F46F829C-35B7-4081-93FD-C381AD92AAD7}" dt="2023-04-24T13:04:08.102" v="9292" actId="478"/>
          <ac:spMkLst>
            <pc:docMk/>
            <pc:sldMk cId="3500422461" sldId="2147479726"/>
            <ac:spMk id="6" creationId="{934D64DD-EC0F-2EE3-8EAD-D36C9DFCC3E5}"/>
          </ac:spMkLst>
        </pc:spChg>
        <pc:spChg chg="add mod">
          <ac:chgData name="Hu, Frank" userId="d3ad470f-91d8-4bd6-b171-9c10023cc60b" providerId="ADAL" clId="{F46F829C-35B7-4081-93FD-C381AD92AAD7}" dt="2023-04-26T02:53:10.543" v="9526" actId="1076"/>
          <ac:spMkLst>
            <pc:docMk/>
            <pc:sldMk cId="3500422461" sldId="2147479726"/>
            <ac:spMk id="10" creationId="{B584840A-03A2-430F-E05C-693BC8238CBC}"/>
          </ac:spMkLst>
        </pc:spChg>
        <pc:spChg chg="mod topLvl">
          <ac:chgData name="Hu, Frank" userId="d3ad470f-91d8-4bd6-b171-9c10023cc60b" providerId="ADAL" clId="{F46F829C-35B7-4081-93FD-C381AD92AAD7}" dt="2023-04-24T11:21:23.333" v="7986" actId="14100"/>
          <ac:spMkLst>
            <pc:docMk/>
            <pc:sldMk cId="3500422461" sldId="2147479726"/>
            <ac:spMk id="13" creationId="{C84A991E-80EF-3FE4-F915-2C1D892B951D}"/>
          </ac:spMkLst>
        </pc:spChg>
        <pc:spChg chg="mod topLvl">
          <ac:chgData name="Hu, Frank" userId="d3ad470f-91d8-4bd6-b171-9c10023cc60b" providerId="ADAL" clId="{F46F829C-35B7-4081-93FD-C381AD92AAD7}" dt="2023-04-24T11:55:44.387" v="8420" actId="20577"/>
          <ac:spMkLst>
            <pc:docMk/>
            <pc:sldMk cId="3500422461" sldId="2147479726"/>
            <ac:spMk id="14" creationId="{BEB8974A-666A-5AA6-1592-B44963BB97D8}"/>
          </ac:spMkLst>
        </pc:spChg>
        <pc:spChg chg="del mod">
          <ac:chgData name="Hu, Frank" userId="d3ad470f-91d8-4bd6-b171-9c10023cc60b" providerId="ADAL" clId="{F46F829C-35B7-4081-93FD-C381AD92AAD7}" dt="2023-04-21T06:58:19.692" v="5157" actId="478"/>
          <ac:spMkLst>
            <pc:docMk/>
            <pc:sldMk cId="3500422461" sldId="2147479726"/>
            <ac:spMk id="15" creationId="{4E34D94D-4A4B-1FBF-87A3-D0AA52646BC8}"/>
          </ac:spMkLst>
        </pc:spChg>
        <pc:spChg chg="add del mod">
          <ac:chgData name="Hu, Frank" userId="d3ad470f-91d8-4bd6-b171-9c10023cc60b" providerId="ADAL" clId="{F46F829C-35B7-4081-93FD-C381AD92AAD7}" dt="2023-04-24T11:21:02.921" v="7982" actId="478"/>
          <ac:spMkLst>
            <pc:docMk/>
            <pc:sldMk cId="3500422461" sldId="2147479726"/>
            <ac:spMk id="17" creationId="{904E78B0-C4C8-C362-911F-8A7347E08F2E}"/>
          </ac:spMkLst>
        </pc:spChg>
        <pc:spChg chg="add mod">
          <ac:chgData name="Hu, Frank" userId="d3ad470f-91d8-4bd6-b171-9c10023cc60b" providerId="ADAL" clId="{F46F829C-35B7-4081-93FD-C381AD92AAD7}" dt="2023-04-26T02:50:30.124" v="9478" actId="1076"/>
          <ac:spMkLst>
            <pc:docMk/>
            <pc:sldMk cId="3500422461" sldId="2147479726"/>
            <ac:spMk id="18" creationId="{AFD56FD0-4F03-568E-A1B7-232E2B3C3EA0}"/>
          </ac:spMkLst>
        </pc:spChg>
        <pc:spChg chg="add mod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19" creationId="{9977C264-DE17-0845-763C-90A5A44D3DFD}"/>
          </ac:spMkLst>
        </pc:spChg>
        <pc:spChg chg="add mod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20" creationId="{8E7DB386-8034-C2A2-0CCE-7C39E9F4979A}"/>
          </ac:spMkLst>
        </pc:spChg>
        <pc:spChg chg="add mod">
          <ac:chgData name="Hu, Frank" userId="d3ad470f-91d8-4bd6-b171-9c10023cc60b" providerId="ADAL" clId="{F46F829C-35B7-4081-93FD-C381AD92AAD7}" dt="2023-04-26T02:53:16.887" v="9527" actId="1036"/>
          <ac:spMkLst>
            <pc:docMk/>
            <pc:sldMk cId="3500422461" sldId="2147479726"/>
            <ac:spMk id="22" creationId="{65AD4101-F001-DEE4-1754-4EC0E27444EF}"/>
          </ac:spMkLst>
        </pc:spChg>
        <pc:spChg chg="add mod">
          <ac:chgData name="Hu, Frank" userId="d3ad470f-91d8-4bd6-b171-9c10023cc60b" providerId="ADAL" clId="{F46F829C-35B7-4081-93FD-C381AD92AAD7}" dt="2023-04-26T02:52:26.900" v="9519" actId="207"/>
          <ac:spMkLst>
            <pc:docMk/>
            <pc:sldMk cId="3500422461" sldId="2147479726"/>
            <ac:spMk id="26" creationId="{4D3802A6-8EFB-AF49-CDCE-B530240D6D24}"/>
          </ac:spMkLst>
        </pc:spChg>
        <pc:spChg chg="add del mod">
          <ac:chgData name="Hu, Frank" userId="d3ad470f-91d8-4bd6-b171-9c10023cc60b" providerId="ADAL" clId="{F46F829C-35B7-4081-93FD-C381AD92AAD7}" dt="2023-04-21T07:00:05.430" v="5213"/>
          <ac:spMkLst>
            <pc:docMk/>
            <pc:sldMk cId="3500422461" sldId="2147479726"/>
            <ac:spMk id="26" creationId="{9B212A5A-E9D3-E4D8-7AB0-AC4869666973}"/>
          </ac:spMkLst>
        </pc:spChg>
        <pc:spChg chg="add mod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28" creationId="{4E7090C4-6DBF-F1C4-E186-96D73FA4B245}"/>
          </ac:spMkLst>
        </pc:spChg>
        <pc:spChg chg="add mod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30" creationId="{4FD2A6D2-A6E0-F592-75F7-F09C0B66313F}"/>
          </ac:spMkLst>
        </pc:spChg>
        <pc:spChg chg="add mod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31" creationId="{00B48058-58B3-B991-1564-F286DC911D73}"/>
          </ac:spMkLst>
        </pc:spChg>
        <pc:spChg chg="add mod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36" creationId="{1E1DF582-3413-1127-C77F-A43608D23473}"/>
          </ac:spMkLst>
        </pc:spChg>
        <pc:spChg chg="add mod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38" creationId="{2B9F5A51-D1FE-D35E-718D-1F4E2498E9B5}"/>
          </ac:spMkLst>
        </pc:spChg>
        <pc:spChg chg="add mod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39" creationId="{921FF923-2FFE-D627-305F-99BF4CA62E9D}"/>
          </ac:spMkLst>
        </pc:spChg>
        <pc:spChg chg="add mod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41" creationId="{8B76DFE1-68D3-5565-440F-D379A0FCB151}"/>
          </ac:spMkLst>
        </pc:spChg>
        <pc:spChg chg="add mod">
          <ac:chgData name="Hu, Frank" userId="d3ad470f-91d8-4bd6-b171-9c10023cc60b" providerId="ADAL" clId="{F46F829C-35B7-4081-93FD-C381AD92AAD7}" dt="2023-04-26T02:53:16.887" v="9527" actId="1036"/>
          <ac:spMkLst>
            <pc:docMk/>
            <pc:sldMk cId="3500422461" sldId="2147479726"/>
            <ac:spMk id="42" creationId="{69235594-E16C-9D9C-2B75-D1AEA480DDC6}"/>
          </ac:spMkLst>
        </pc:spChg>
        <pc:spChg chg="add mod ord topLvl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43" creationId="{30AD533E-FA70-40D2-81CC-EB53DD8F6792}"/>
          </ac:spMkLst>
        </pc:spChg>
        <pc:spChg chg="add mod ord topLvl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44" creationId="{C855D536-4B3D-9F56-1D17-BC449D3ADF85}"/>
          </ac:spMkLst>
        </pc:spChg>
        <pc:spChg chg="add mod ord topLvl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45" creationId="{B3BB6D75-6FD4-1602-1D5E-39E6BA4FB64A}"/>
          </ac:spMkLst>
        </pc:spChg>
        <pc:spChg chg="add del mod">
          <ac:chgData name="Hu, Frank" userId="d3ad470f-91d8-4bd6-b171-9c10023cc60b" providerId="ADAL" clId="{F46F829C-35B7-4081-93FD-C381AD92AAD7}" dt="2023-04-24T11:23:24.622" v="8040" actId="478"/>
          <ac:spMkLst>
            <pc:docMk/>
            <pc:sldMk cId="3500422461" sldId="2147479726"/>
            <ac:spMk id="46" creationId="{55BF202D-2B4C-DE72-7106-0D536903CBFB}"/>
          </ac:spMkLst>
        </pc:spChg>
        <pc:spChg chg="add del mod">
          <ac:chgData name="Hu, Frank" userId="d3ad470f-91d8-4bd6-b171-9c10023cc60b" providerId="ADAL" clId="{F46F829C-35B7-4081-93FD-C381AD92AAD7}" dt="2023-04-24T11:23:15.875" v="8038" actId="478"/>
          <ac:spMkLst>
            <pc:docMk/>
            <pc:sldMk cId="3500422461" sldId="2147479726"/>
            <ac:spMk id="47" creationId="{16CEEAFB-2939-63C4-3F4B-8AF801063E53}"/>
          </ac:spMkLst>
        </pc:spChg>
        <pc:spChg chg="mod topLvl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49" creationId="{0B47AF7B-C13C-CE7E-8D66-28C8C330AC43}"/>
          </ac:spMkLst>
        </pc:spChg>
        <pc:spChg chg="del mod topLvl">
          <ac:chgData name="Hu, Frank" userId="d3ad470f-91d8-4bd6-b171-9c10023cc60b" providerId="ADAL" clId="{F46F829C-35B7-4081-93FD-C381AD92AAD7}" dt="2023-04-24T11:26:25.258" v="8073" actId="478"/>
          <ac:spMkLst>
            <pc:docMk/>
            <pc:sldMk cId="3500422461" sldId="2147479726"/>
            <ac:spMk id="50" creationId="{7CD5BAAC-15BB-CD69-3A92-635CD1FDC81E}"/>
          </ac:spMkLst>
        </pc:spChg>
        <pc:spChg chg="del mod">
          <ac:chgData name="Hu, Frank" userId="d3ad470f-91d8-4bd6-b171-9c10023cc60b" providerId="ADAL" clId="{F46F829C-35B7-4081-93FD-C381AD92AAD7}" dt="2023-04-21T07:10:40.967" v="5638" actId="478"/>
          <ac:spMkLst>
            <pc:docMk/>
            <pc:sldMk cId="3500422461" sldId="2147479726"/>
            <ac:spMk id="51" creationId="{1962F3F7-5AF6-3019-9970-042A332ADB3A}"/>
          </ac:spMkLst>
        </pc:spChg>
        <pc:spChg chg="add mod topLvl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51" creationId="{8DBB75D3-2D90-63E9-E13D-4397879785C6}"/>
          </ac:spMkLst>
        </pc:spChg>
        <pc:spChg chg="del mod">
          <ac:chgData name="Hu, Frank" userId="d3ad470f-91d8-4bd6-b171-9c10023cc60b" providerId="ADAL" clId="{F46F829C-35B7-4081-93FD-C381AD92AAD7}" dt="2023-04-21T07:10:40.967" v="5638" actId="478"/>
          <ac:spMkLst>
            <pc:docMk/>
            <pc:sldMk cId="3500422461" sldId="2147479726"/>
            <ac:spMk id="52" creationId="{392036EF-99BC-82EC-3E93-154886E3E07B}"/>
          </ac:spMkLst>
        </pc:spChg>
        <pc:spChg chg="del mod topLvl">
          <ac:chgData name="Hu, Frank" userId="d3ad470f-91d8-4bd6-b171-9c10023cc60b" providerId="ADAL" clId="{F46F829C-35B7-4081-93FD-C381AD92AAD7}" dt="2023-04-24T11:26:23.588" v="8072" actId="478"/>
          <ac:spMkLst>
            <pc:docMk/>
            <pc:sldMk cId="3500422461" sldId="2147479726"/>
            <ac:spMk id="53" creationId="{0CDFEAF3-0A22-9090-0904-7AC0F5F01D44}"/>
          </ac:spMkLst>
        </pc:spChg>
        <pc:spChg chg="del mod">
          <ac:chgData name="Hu, Frank" userId="d3ad470f-91d8-4bd6-b171-9c10023cc60b" providerId="ADAL" clId="{F46F829C-35B7-4081-93FD-C381AD92AAD7}" dt="2023-04-21T07:07:51.501" v="5423" actId="478"/>
          <ac:spMkLst>
            <pc:docMk/>
            <pc:sldMk cId="3500422461" sldId="2147479726"/>
            <ac:spMk id="55" creationId="{7C892D7E-BA3D-304F-77ED-83A78DD7335B}"/>
          </ac:spMkLst>
        </pc:spChg>
        <pc:spChg chg="del mod">
          <ac:chgData name="Hu, Frank" userId="d3ad470f-91d8-4bd6-b171-9c10023cc60b" providerId="ADAL" clId="{F46F829C-35B7-4081-93FD-C381AD92AAD7}" dt="2023-04-21T07:07:53.973" v="5424" actId="478"/>
          <ac:spMkLst>
            <pc:docMk/>
            <pc:sldMk cId="3500422461" sldId="2147479726"/>
            <ac:spMk id="56" creationId="{414B30ED-17FF-0F1A-D757-452AC43417E4}"/>
          </ac:spMkLst>
        </pc:spChg>
        <pc:spChg chg="add mod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56" creationId="{B63071F2-7A4D-7B19-A522-A7EF7BADB078}"/>
          </ac:spMkLst>
        </pc:spChg>
        <pc:spChg chg="add del mod">
          <ac:chgData name="Hu, Frank" userId="d3ad470f-91d8-4bd6-b171-9c10023cc60b" providerId="ADAL" clId="{F46F829C-35B7-4081-93FD-C381AD92AAD7}" dt="2023-04-26T02:54:01.801" v="9530" actId="21"/>
          <ac:spMkLst>
            <pc:docMk/>
            <pc:sldMk cId="3500422461" sldId="2147479726"/>
            <ac:spMk id="57" creationId="{89EF44AC-7B48-90A8-9A5A-1025FC58B24F}"/>
          </ac:spMkLst>
        </pc:spChg>
        <pc:spChg chg="del mod">
          <ac:chgData name="Hu, Frank" userId="d3ad470f-91d8-4bd6-b171-9c10023cc60b" providerId="ADAL" clId="{F46F829C-35B7-4081-93FD-C381AD92AAD7}" dt="2023-04-21T07:24:22.146" v="5844" actId="478"/>
          <ac:spMkLst>
            <pc:docMk/>
            <pc:sldMk cId="3500422461" sldId="2147479726"/>
            <ac:spMk id="58" creationId="{363220F8-2B11-0C5B-AF61-32D483329635}"/>
          </ac:spMkLst>
        </pc:spChg>
        <pc:spChg chg="add del mod">
          <ac:chgData name="Hu, Frank" userId="d3ad470f-91d8-4bd6-b171-9c10023cc60b" providerId="ADAL" clId="{F46F829C-35B7-4081-93FD-C381AD92AAD7}" dt="2023-04-26T02:54:01.801" v="9530" actId="21"/>
          <ac:spMkLst>
            <pc:docMk/>
            <pc:sldMk cId="3500422461" sldId="2147479726"/>
            <ac:spMk id="58" creationId="{DBEE11FC-52B3-5876-54AA-6D03FE44DBCC}"/>
          </ac:spMkLst>
        </pc:spChg>
        <pc:spChg chg="del mod">
          <ac:chgData name="Hu, Frank" userId="d3ad470f-91d8-4bd6-b171-9c10023cc60b" providerId="ADAL" clId="{F46F829C-35B7-4081-93FD-C381AD92AAD7}" dt="2023-04-21T07:24:35.695" v="5845" actId="478"/>
          <ac:spMkLst>
            <pc:docMk/>
            <pc:sldMk cId="3500422461" sldId="2147479726"/>
            <ac:spMk id="59" creationId="{236128C5-019B-E801-53C3-F8B33EA96F52}"/>
          </ac:spMkLst>
        </pc:spChg>
        <pc:spChg chg="add del mod ord">
          <ac:chgData name="Hu, Frank" userId="d3ad470f-91d8-4bd6-b171-9c10023cc60b" providerId="ADAL" clId="{F46F829C-35B7-4081-93FD-C381AD92AAD7}" dt="2023-04-26T02:54:01.801" v="9530" actId="21"/>
          <ac:spMkLst>
            <pc:docMk/>
            <pc:sldMk cId="3500422461" sldId="2147479726"/>
            <ac:spMk id="59" creationId="{BBEA09AB-9FFD-8471-EBB9-D8A7F04B4F88}"/>
          </ac:spMkLst>
        </pc:spChg>
        <pc:spChg chg="del mod">
          <ac:chgData name="Hu, Frank" userId="d3ad470f-91d8-4bd6-b171-9c10023cc60b" providerId="ADAL" clId="{F46F829C-35B7-4081-93FD-C381AD92AAD7}" dt="2023-04-21T07:24:35.695" v="5845" actId="478"/>
          <ac:spMkLst>
            <pc:docMk/>
            <pc:sldMk cId="3500422461" sldId="2147479726"/>
            <ac:spMk id="60" creationId="{3D4E8F74-80D5-BFAB-45FA-3B6094119F52}"/>
          </ac:spMkLst>
        </pc:spChg>
        <pc:spChg chg="add mod">
          <ac:chgData name="Hu, Frank" userId="d3ad470f-91d8-4bd6-b171-9c10023cc60b" providerId="ADAL" clId="{F46F829C-35B7-4081-93FD-C381AD92AAD7}" dt="2023-04-26T02:50:17.787" v="9476" actId="1037"/>
          <ac:spMkLst>
            <pc:docMk/>
            <pc:sldMk cId="3500422461" sldId="2147479726"/>
            <ac:spMk id="60" creationId="{53094475-3710-5415-88B4-4EA9F561094F}"/>
          </ac:spMkLst>
        </pc:spChg>
        <pc:spChg chg="del mod">
          <ac:chgData name="Hu, Frank" userId="d3ad470f-91d8-4bd6-b171-9c10023cc60b" providerId="ADAL" clId="{F46F829C-35B7-4081-93FD-C381AD92AAD7}" dt="2023-04-21T07:24:43.520" v="5848" actId="478"/>
          <ac:spMkLst>
            <pc:docMk/>
            <pc:sldMk cId="3500422461" sldId="2147479726"/>
            <ac:spMk id="61" creationId="{F24BA309-02C9-3A65-4E28-4B42F364D5B5}"/>
          </ac:spMkLst>
        </pc:spChg>
        <pc:spChg chg="add mod">
          <ac:chgData name="Hu, Frank" userId="d3ad470f-91d8-4bd6-b171-9c10023cc60b" providerId="ADAL" clId="{F46F829C-35B7-4081-93FD-C381AD92AAD7}" dt="2023-04-26T02:50:17.787" v="9476" actId="1037"/>
          <ac:spMkLst>
            <pc:docMk/>
            <pc:sldMk cId="3500422461" sldId="2147479726"/>
            <ac:spMk id="61" creationId="{FDA9E700-EA22-BC6D-FA0E-43504A451A8F}"/>
          </ac:spMkLst>
        </pc:spChg>
        <pc:spChg chg="del mod">
          <ac:chgData name="Hu, Frank" userId="d3ad470f-91d8-4bd6-b171-9c10023cc60b" providerId="ADAL" clId="{F46F829C-35B7-4081-93FD-C381AD92AAD7}" dt="2023-04-21T07:24:45.571" v="5849" actId="478"/>
          <ac:spMkLst>
            <pc:docMk/>
            <pc:sldMk cId="3500422461" sldId="2147479726"/>
            <ac:spMk id="62" creationId="{8359926C-6A46-17F5-70AA-049A84FC0548}"/>
          </ac:spMkLst>
        </pc:spChg>
        <pc:spChg chg="add mod">
          <ac:chgData name="Hu, Frank" userId="d3ad470f-91d8-4bd6-b171-9c10023cc60b" providerId="ADAL" clId="{F46F829C-35B7-4081-93FD-C381AD92AAD7}" dt="2023-04-26T02:50:17.787" v="9476" actId="1037"/>
          <ac:spMkLst>
            <pc:docMk/>
            <pc:sldMk cId="3500422461" sldId="2147479726"/>
            <ac:spMk id="62" creationId="{8591DBC2-8410-C830-1D3E-593BA70AA6D3}"/>
          </ac:spMkLst>
        </pc:spChg>
        <pc:spChg chg="del mod">
          <ac:chgData name="Hu, Frank" userId="d3ad470f-91d8-4bd6-b171-9c10023cc60b" providerId="ADAL" clId="{F46F829C-35B7-4081-93FD-C381AD92AAD7}" dt="2023-04-21T07:24:35.695" v="5845" actId="478"/>
          <ac:spMkLst>
            <pc:docMk/>
            <pc:sldMk cId="3500422461" sldId="2147479726"/>
            <ac:spMk id="63" creationId="{F72A2366-CDB0-4ED5-A574-1BFB3FBA146C}"/>
          </ac:spMkLst>
        </pc:spChg>
        <pc:spChg chg="del mod">
          <ac:chgData name="Hu, Frank" userId="d3ad470f-91d8-4bd6-b171-9c10023cc60b" providerId="ADAL" clId="{F46F829C-35B7-4081-93FD-C381AD92AAD7}" dt="2023-04-21T07:24:35.695" v="5845" actId="478"/>
          <ac:spMkLst>
            <pc:docMk/>
            <pc:sldMk cId="3500422461" sldId="2147479726"/>
            <ac:spMk id="65" creationId="{6844D5B3-6526-999E-FF1A-9C31362804F8}"/>
          </ac:spMkLst>
        </pc:spChg>
        <pc:spChg chg="add mod">
          <ac:chgData name="Hu, Frank" userId="d3ad470f-91d8-4bd6-b171-9c10023cc60b" providerId="ADAL" clId="{F46F829C-35B7-4081-93FD-C381AD92AAD7}" dt="2023-04-26T02:50:17.787" v="9476" actId="1037"/>
          <ac:spMkLst>
            <pc:docMk/>
            <pc:sldMk cId="3500422461" sldId="2147479726"/>
            <ac:spMk id="65" creationId="{83112C6D-68DB-C11C-8025-CF77FE302B35}"/>
          </ac:spMkLst>
        </pc:spChg>
        <pc:spChg chg="del mod">
          <ac:chgData name="Hu, Frank" userId="d3ad470f-91d8-4bd6-b171-9c10023cc60b" providerId="ADAL" clId="{F46F829C-35B7-4081-93FD-C381AD92AAD7}" dt="2023-04-21T07:24:38.393" v="5846" actId="478"/>
          <ac:spMkLst>
            <pc:docMk/>
            <pc:sldMk cId="3500422461" sldId="2147479726"/>
            <ac:spMk id="66" creationId="{1022D517-9B48-3225-6179-BAA887F3169F}"/>
          </ac:spMkLst>
        </pc:spChg>
        <pc:spChg chg="add del mod">
          <ac:chgData name="Hu, Frank" userId="d3ad470f-91d8-4bd6-b171-9c10023cc60b" providerId="ADAL" clId="{F46F829C-35B7-4081-93FD-C381AD92AAD7}" dt="2023-04-24T12:25:54.801" v="8989" actId="478"/>
          <ac:spMkLst>
            <pc:docMk/>
            <pc:sldMk cId="3500422461" sldId="2147479726"/>
            <ac:spMk id="66" creationId="{383887A0-C152-2756-773B-92655B20FC5C}"/>
          </ac:spMkLst>
        </pc:spChg>
        <pc:spChg chg="del mod">
          <ac:chgData name="Hu, Frank" userId="d3ad470f-91d8-4bd6-b171-9c10023cc60b" providerId="ADAL" clId="{F46F829C-35B7-4081-93FD-C381AD92AAD7}" dt="2023-04-21T07:24:40.837" v="5847" actId="478"/>
          <ac:spMkLst>
            <pc:docMk/>
            <pc:sldMk cId="3500422461" sldId="2147479726"/>
            <ac:spMk id="67" creationId="{56D5F5F5-C7B4-637C-7D0A-4FD516656CAA}"/>
          </ac:spMkLst>
        </pc:spChg>
        <pc:spChg chg="del mod">
          <ac:chgData name="Hu, Frank" userId="d3ad470f-91d8-4bd6-b171-9c10023cc60b" providerId="ADAL" clId="{F46F829C-35B7-4081-93FD-C381AD92AAD7}" dt="2023-04-21T07:10:40.967" v="5638" actId="478"/>
          <ac:spMkLst>
            <pc:docMk/>
            <pc:sldMk cId="3500422461" sldId="2147479726"/>
            <ac:spMk id="69" creationId="{40DE14CC-6F1D-4838-7412-97B490E994E3}"/>
          </ac:spMkLst>
        </pc:spChg>
        <pc:spChg chg="del mod">
          <ac:chgData name="Hu, Frank" userId="d3ad470f-91d8-4bd6-b171-9c10023cc60b" providerId="ADAL" clId="{F46F829C-35B7-4081-93FD-C381AD92AAD7}" dt="2023-04-21T07:07:55.382" v="5425" actId="478"/>
          <ac:spMkLst>
            <pc:docMk/>
            <pc:sldMk cId="3500422461" sldId="2147479726"/>
            <ac:spMk id="70" creationId="{0A87663B-64BF-8626-B2A8-FB9E0B849E4F}"/>
          </ac:spMkLst>
        </pc:spChg>
        <pc:spChg chg="add del mod">
          <ac:chgData name="Hu, Frank" userId="d3ad470f-91d8-4bd6-b171-9c10023cc60b" providerId="ADAL" clId="{F46F829C-35B7-4081-93FD-C381AD92AAD7}" dt="2023-04-24T11:25:54.400" v="8070" actId="478"/>
          <ac:spMkLst>
            <pc:docMk/>
            <pc:sldMk cId="3500422461" sldId="2147479726"/>
            <ac:spMk id="72" creationId="{E333D232-61E8-961B-CE22-473305465187}"/>
          </ac:spMkLst>
        </pc:spChg>
        <pc:spChg chg="add mod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73" creationId="{77DC2D8A-DCF3-9EC1-2541-1C69A7C2BC7B}"/>
          </ac:spMkLst>
        </pc:spChg>
        <pc:spChg chg="add mod">
          <ac:chgData name="Hu, Frank" userId="d3ad470f-91d8-4bd6-b171-9c10023cc60b" providerId="ADAL" clId="{F46F829C-35B7-4081-93FD-C381AD92AAD7}" dt="2023-04-26T02:54:46.316" v="9579" actId="1076"/>
          <ac:spMkLst>
            <pc:docMk/>
            <pc:sldMk cId="3500422461" sldId="2147479726"/>
            <ac:spMk id="74" creationId="{14AF1F0E-35B0-31F5-6EF2-F6733E0CB37B}"/>
          </ac:spMkLst>
        </pc:spChg>
        <pc:spChg chg="add del mod">
          <ac:chgData name="Hu, Frank" userId="d3ad470f-91d8-4bd6-b171-9c10023cc60b" providerId="ADAL" clId="{F46F829C-35B7-4081-93FD-C381AD92AAD7}" dt="2023-04-24T11:26:26.879" v="8074" actId="478"/>
          <ac:spMkLst>
            <pc:docMk/>
            <pc:sldMk cId="3500422461" sldId="2147479726"/>
            <ac:spMk id="75" creationId="{6743EAF0-D701-1706-DD7D-54813571657B}"/>
          </ac:spMkLst>
        </pc:spChg>
        <pc:spChg chg="add mod">
          <ac:chgData name="Hu, Frank" userId="d3ad470f-91d8-4bd6-b171-9c10023cc60b" providerId="ADAL" clId="{F46F829C-35B7-4081-93FD-C381AD92AAD7}" dt="2023-04-26T02:43:30.795" v="9453" actId="207"/>
          <ac:spMkLst>
            <pc:docMk/>
            <pc:sldMk cId="3500422461" sldId="2147479726"/>
            <ac:spMk id="76" creationId="{1DD53844-0551-E115-4AA4-9A0754DDD712}"/>
          </ac:spMkLst>
        </pc:spChg>
        <pc:spChg chg="add del mod">
          <ac:chgData name="Hu, Frank" userId="d3ad470f-91d8-4bd6-b171-9c10023cc60b" providerId="ADAL" clId="{F46F829C-35B7-4081-93FD-C381AD92AAD7}" dt="2023-04-24T11:25:57.177" v="8071" actId="478"/>
          <ac:spMkLst>
            <pc:docMk/>
            <pc:sldMk cId="3500422461" sldId="2147479726"/>
            <ac:spMk id="77" creationId="{A8527785-C4D3-CBE2-7E30-1BFCAE929EC4}"/>
          </ac:spMkLst>
        </pc:spChg>
        <pc:spChg chg="add del mod">
          <ac:chgData name="Hu, Frank" userId="d3ad470f-91d8-4bd6-b171-9c10023cc60b" providerId="ADAL" clId="{F46F829C-35B7-4081-93FD-C381AD92AAD7}" dt="2023-04-24T11:26:41.114" v="8110" actId="478"/>
          <ac:spMkLst>
            <pc:docMk/>
            <pc:sldMk cId="3500422461" sldId="2147479726"/>
            <ac:spMk id="78" creationId="{710C3AB6-A032-F3A5-7FD8-0766EBB26032}"/>
          </ac:spMkLst>
        </pc:spChg>
        <pc:spChg chg="add del mod ord">
          <ac:chgData name="Hu, Frank" userId="d3ad470f-91d8-4bd6-b171-9c10023cc60b" providerId="ADAL" clId="{F46F829C-35B7-4081-93FD-C381AD92AAD7}" dt="2023-04-24T11:26:41.114" v="8110" actId="478"/>
          <ac:spMkLst>
            <pc:docMk/>
            <pc:sldMk cId="3500422461" sldId="2147479726"/>
            <ac:spMk id="79" creationId="{F8E628E3-0267-F61D-B54A-BF5B38D6E990}"/>
          </ac:spMkLst>
        </pc:spChg>
        <pc:spChg chg="mod topLvl">
          <ac:chgData name="Hu, Frank" userId="d3ad470f-91d8-4bd6-b171-9c10023cc60b" providerId="ADAL" clId="{F46F829C-35B7-4081-93FD-C381AD92AAD7}" dt="2023-04-24T13:03:31.612" v="9290" actId="20577"/>
          <ac:spMkLst>
            <pc:docMk/>
            <pc:sldMk cId="3500422461" sldId="2147479726"/>
            <ac:spMk id="82" creationId="{161D99B6-FF3E-1D66-D890-AD0BA723250A}"/>
          </ac:spMkLst>
        </pc:spChg>
        <pc:spChg chg="add del mod">
          <ac:chgData name="Hu, Frank" userId="d3ad470f-91d8-4bd6-b171-9c10023cc60b" providerId="ADAL" clId="{F46F829C-35B7-4081-93FD-C381AD92AAD7}" dt="2023-04-24T11:26:43.716" v="8111" actId="478"/>
          <ac:spMkLst>
            <pc:docMk/>
            <pc:sldMk cId="3500422461" sldId="2147479726"/>
            <ac:spMk id="84" creationId="{EBE40B54-9D8F-A89C-0A47-0211C93C4F95}"/>
          </ac:spMkLst>
        </pc:spChg>
        <pc:spChg chg="mod">
          <ac:chgData name="Hu, Frank" userId="d3ad470f-91d8-4bd6-b171-9c10023cc60b" providerId="ADAL" clId="{F46F829C-35B7-4081-93FD-C381AD92AAD7}" dt="2023-04-24T11:21:17.934" v="7985" actId="165"/>
          <ac:spMkLst>
            <pc:docMk/>
            <pc:sldMk cId="3500422461" sldId="2147479726"/>
            <ac:spMk id="85" creationId="{41959D13-B337-0497-F283-252FB5609711}"/>
          </ac:spMkLst>
        </pc:spChg>
        <pc:spChg chg="add del mod">
          <ac:chgData name="Hu, Frank" userId="d3ad470f-91d8-4bd6-b171-9c10023cc60b" providerId="ADAL" clId="{F46F829C-35B7-4081-93FD-C381AD92AAD7}" dt="2023-04-24T11:48:44.755" v="8195" actId="478"/>
          <ac:spMkLst>
            <pc:docMk/>
            <pc:sldMk cId="3500422461" sldId="2147479726"/>
            <ac:spMk id="88" creationId="{95E6C92B-6288-13F6-26EC-058FC24F73B8}"/>
          </ac:spMkLst>
        </pc:spChg>
        <pc:spChg chg="add del mod">
          <ac:chgData name="Hu, Frank" userId="d3ad470f-91d8-4bd6-b171-9c10023cc60b" providerId="ADAL" clId="{F46F829C-35B7-4081-93FD-C381AD92AAD7}" dt="2023-04-24T11:48:47.410" v="8198" actId="478"/>
          <ac:spMkLst>
            <pc:docMk/>
            <pc:sldMk cId="3500422461" sldId="2147479726"/>
            <ac:spMk id="89" creationId="{DA258E5A-F3D2-0927-397D-74551F25100E}"/>
          </ac:spMkLst>
        </pc:spChg>
        <pc:spChg chg="add del mod">
          <ac:chgData name="Hu, Frank" userId="d3ad470f-91d8-4bd6-b171-9c10023cc60b" providerId="ADAL" clId="{F46F829C-35B7-4081-93FD-C381AD92AAD7}" dt="2023-04-21T07:26:56.292" v="5888" actId="478"/>
          <ac:spMkLst>
            <pc:docMk/>
            <pc:sldMk cId="3500422461" sldId="2147479726"/>
            <ac:spMk id="90" creationId="{2CA79DEA-FD1D-3EEF-3AC5-74189C17553A}"/>
          </ac:spMkLst>
        </pc:spChg>
        <pc:spChg chg="add del mod">
          <ac:chgData name="Hu, Frank" userId="d3ad470f-91d8-4bd6-b171-9c10023cc60b" providerId="ADAL" clId="{F46F829C-35B7-4081-93FD-C381AD92AAD7}" dt="2023-04-21T07:26:56.292" v="5888" actId="478"/>
          <ac:spMkLst>
            <pc:docMk/>
            <pc:sldMk cId="3500422461" sldId="2147479726"/>
            <ac:spMk id="91" creationId="{1EFE3FF2-A2CF-85F3-548C-14888EADA764}"/>
          </ac:spMkLst>
        </pc:spChg>
        <pc:spChg chg="add del mod">
          <ac:chgData name="Hu, Frank" userId="d3ad470f-91d8-4bd6-b171-9c10023cc60b" providerId="ADAL" clId="{F46F829C-35B7-4081-93FD-C381AD92AAD7}" dt="2023-04-21T07:26:56.292" v="5888" actId="478"/>
          <ac:spMkLst>
            <pc:docMk/>
            <pc:sldMk cId="3500422461" sldId="2147479726"/>
            <ac:spMk id="92" creationId="{E9193B41-217A-B6DD-8952-4061D9EF5339}"/>
          </ac:spMkLst>
        </pc:spChg>
        <pc:spChg chg="add del mod">
          <ac:chgData name="Hu, Frank" userId="d3ad470f-91d8-4bd6-b171-9c10023cc60b" providerId="ADAL" clId="{F46F829C-35B7-4081-93FD-C381AD92AAD7}" dt="2023-04-21T07:26:56.292" v="5888" actId="478"/>
          <ac:spMkLst>
            <pc:docMk/>
            <pc:sldMk cId="3500422461" sldId="2147479726"/>
            <ac:spMk id="93" creationId="{71C38567-DD7B-EA00-CF5C-DCCA413B31E2}"/>
          </ac:spMkLst>
        </pc:spChg>
        <pc:spChg chg="add del mod">
          <ac:chgData name="Hu, Frank" userId="d3ad470f-91d8-4bd6-b171-9c10023cc60b" providerId="ADAL" clId="{F46F829C-35B7-4081-93FD-C381AD92AAD7}" dt="2023-04-21T07:26:56.292" v="5888" actId="478"/>
          <ac:spMkLst>
            <pc:docMk/>
            <pc:sldMk cId="3500422461" sldId="2147479726"/>
            <ac:spMk id="94" creationId="{D33C3FE2-F640-75DA-6F72-D9EBC1256999}"/>
          </ac:spMkLst>
        </pc:spChg>
        <pc:spChg chg="add del mod">
          <ac:chgData name="Hu, Frank" userId="d3ad470f-91d8-4bd6-b171-9c10023cc60b" providerId="ADAL" clId="{F46F829C-35B7-4081-93FD-C381AD92AAD7}" dt="2023-04-21T07:26:56.292" v="5888" actId="478"/>
          <ac:spMkLst>
            <pc:docMk/>
            <pc:sldMk cId="3500422461" sldId="2147479726"/>
            <ac:spMk id="95" creationId="{5A2AB321-2182-F16E-B4AC-BD2226E4C489}"/>
          </ac:spMkLst>
        </pc:spChg>
        <pc:spChg chg="add del mod">
          <ac:chgData name="Hu, Frank" userId="d3ad470f-91d8-4bd6-b171-9c10023cc60b" providerId="ADAL" clId="{F46F829C-35B7-4081-93FD-C381AD92AAD7}" dt="2023-04-24T11:48:45.900" v="8196" actId="478"/>
          <ac:spMkLst>
            <pc:docMk/>
            <pc:sldMk cId="3500422461" sldId="2147479726"/>
            <ac:spMk id="96" creationId="{AE0692ED-E46A-2E87-38F2-EFA0BEECA72C}"/>
          </ac:spMkLst>
        </pc:spChg>
        <pc:spChg chg="add mod">
          <ac:chgData name="Hu, Frank" userId="d3ad470f-91d8-4bd6-b171-9c10023cc60b" providerId="ADAL" clId="{F46F829C-35B7-4081-93FD-C381AD92AAD7}" dt="2023-04-26T02:50:17.787" v="9476" actId="1037"/>
          <ac:spMkLst>
            <pc:docMk/>
            <pc:sldMk cId="3500422461" sldId="2147479726"/>
            <ac:spMk id="97" creationId="{8AF0F561-3D19-A028-5928-0CBB3BE41668}"/>
          </ac:spMkLst>
        </pc:spChg>
        <pc:spChg chg="add mod">
          <ac:chgData name="Hu, Frank" userId="d3ad470f-91d8-4bd6-b171-9c10023cc60b" providerId="ADAL" clId="{F46F829C-35B7-4081-93FD-C381AD92AAD7}" dt="2023-04-26T02:55:41.133" v="9580" actId="1076"/>
          <ac:spMkLst>
            <pc:docMk/>
            <pc:sldMk cId="3500422461" sldId="2147479726"/>
            <ac:spMk id="98" creationId="{D2281468-2594-DC19-EDA8-90EF82643D63}"/>
          </ac:spMkLst>
        </pc:spChg>
        <pc:spChg chg="add mod">
          <ac:chgData name="Hu, Frank" userId="d3ad470f-91d8-4bd6-b171-9c10023cc60b" providerId="ADAL" clId="{F46F829C-35B7-4081-93FD-C381AD92AAD7}" dt="2023-04-26T02:50:44.197" v="9482" actId="14100"/>
          <ac:spMkLst>
            <pc:docMk/>
            <pc:sldMk cId="3500422461" sldId="2147479726"/>
            <ac:spMk id="99" creationId="{3C4C9DC9-6B34-E6F8-F029-52B37D3B6A37}"/>
          </ac:spMkLst>
        </pc:spChg>
        <pc:spChg chg="del">
          <ac:chgData name="Hu, Frank" userId="d3ad470f-91d8-4bd6-b171-9c10023cc60b" providerId="ADAL" clId="{F46F829C-35B7-4081-93FD-C381AD92AAD7}" dt="2023-04-21T06:57:25.796" v="5129" actId="478"/>
          <ac:spMkLst>
            <pc:docMk/>
            <pc:sldMk cId="3500422461" sldId="2147479726"/>
            <ac:spMk id="100" creationId="{1DA86A75-B960-2B54-8DEB-60CB24714A25}"/>
          </ac:spMkLst>
        </pc:spChg>
        <pc:spChg chg="del mod topLvl">
          <ac:chgData name="Hu, Frank" userId="d3ad470f-91d8-4bd6-b171-9c10023cc60b" providerId="ADAL" clId="{F46F829C-35B7-4081-93FD-C381AD92AAD7}" dt="2023-04-24T12:09:07.407" v="8750" actId="478"/>
          <ac:spMkLst>
            <pc:docMk/>
            <pc:sldMk cId="3500422461" sldId="2147479726"/>
            <ac:spMk id="105" creationId="{908FC7BE-8732-857F-7051-6B052B10634F}"/>
          </ac:spMkLst>
        </pc:spChg>
        <pc:spChg chg="del mod">
          <ac:chgData name="Hu, Frank" userId="d3ad470f-91d8-4bd6-b171-9c10023cc60b" providerId="ADAL" clId="{F46F829C-35B7-4081-93FD-C381AD92AAD7}" dt="2023-04-21T07:30:24.756" v="6024" actId="478"/>
          <ac:spMkLst>
            <pc:docMk/>
            <pc:sldMk cId="3500422461" sldId="2147479726"/>
            <ac:spMk id="106" creationId="{9284FA84-CA25-463C-B8CB-CEEF52FBA841}"/>
          </ac:spMkLst>
        </pc:spChg>
        <pc:spChg chg="del mod">
          <ac:chgData name="Hu, Frank" userId="d3ad470f-91d8-4bd6-b171-9c10023cc60b" providerId="ADAL" clId="{F46F829C-35B7-4081-93FD-C381AD92AAD7}" dt="2023-04-21T07:30:29.325" v="6026" actId="478"/>
          <ac:spMkLst>
            <pc:docMk/>
            <pc:sldMk cId="3500422461" sldId="2147479726"/>
            <ac:spMk id="107" creationId="{D2C596E9-A0A4-1699-6527-7D420703EB2D}"/>
          </ac:spMkLst>
        </pc:spChg>
        <pc:spChg chg="del mod topLvl">
          <ac:chgData name="Hu, Frank" userId="d3ad470f-91d8-4bd6-b171-9c10023cc60b" providerId="ADAL" clId="{F46F829C-35B7-4081-93FD-C381AD92AAD7}" dt="2023-04-21T07:31:13.457" v="6036" actId="478"/>
          <ac:spMkLst>
            <pc:docMk/>
            <pc:sldMk cId="3500422461" sldId="2147479726"/>
            <ac:spMk id="108" creationId="{51C6E2AD-867D-2DE8-FE60-7A5683BFF86C}"/>
          </ac:spMkLst>
        </pc:spChg>
        <pc:spChg chg="del mod">
          <ac:chgData name="Hu, Frank" userId="d3ad470f-91d8-4bd6-b171-9c10023cc60b" providerId="ADAL" clId="{F46F829C-35B7-4081-93FD-C381AD92AAD7}" dt="2023-04-21T07:30:22.813" v="6023" actId="478"/>
          <ac:spMkLst>
            <pc:docMk/>
            <pc:sldMk cId="3500422461" sldId="2147479726"/>
            <ac:spMk id="109" creationId="{847B6750-7C24-FF3A-6562-6D046C249D56}"/>
          </ac:spMkLst>
        </pc:spChg>
        <pc:spChg chg="add mod">
          <ac:chgData name="Hu, Frank" userId="d3ad470f-91d8-4bd6-b171-9c10023cc60b" providerId="ADAL" clId="{F46F829C-35B7-4081-93FD-C381AD92AAD7}" dt="2023-04-26T02:54:41.009" v="9578" actId="1038"/>
          <ac:spMkLst>
            <pc:docMk/>
            <pc:sldMk cId="3500422461" sldId="2147479726"/>
            <ac:spMk id="110" creationId="{1C4E0BD6-5158-A1F5-74E3-6F3F2C4317A1}"/>
          </ac:spMkLst>
        </pc:spChg>
        <pc:spChg chg="del mod">
          <ac:chgData name="Hu, Frank" userId="d3ad470f-91d8-4bd6-b171-9c10023cc60b" providerId="ADAL" clId="{F46F829C-35B7-4081-93FD-C381AD92AAD7}" dt="2023-04-21T07:30:27.032" v="6025" actId="478"/>
          <ac:spMkLst>
            <pc:docMk/>
            <pc:sldMk cId="3500422461" sldId="2147479726"/>
            <ac:spMk id="110" creationId="{FE0A88CE-4A81-47EB-9951-06449DEC6FC1}"/>
          </ac:spMkLst>
        </pc:spChg>
        <pc:spChg chg="add del mod">
          <ac:chgData name="Hu, Frank" userId="d3ad470f-91d8-4bd6-b171-9c10023cc60b" providerId="ADAL" clId="{F46F829C-35B7-4081-93FD-C381AD92AAD7}" dt="2023-04-24T11:48:48.970" v="8199" actId="478"/>
          <ac:spMkLst>
            <pc:docMk/>
            <pc:sldMk cId="3500422461" sldId="2147479726"/>
            <ac:spMk id="111" creationId="{D643CDF3-DE1E-1111-FC2C-35FBAF8D7505}"/>
          </ac:spMkLst>
        </pc:spChg>
        <pc:spChg chg="add del mod">
          <ac:chgData name="Hu, Frank" userId="d3ad470f-91d8-4bd6-b171-9c10023cc60b" providerId="ADAL" clId="{F46F829C-35B7-4081-93FD-C381AD92AAD7}" dt="2023-04-24T11:48:51.080" v="8200" actId="478"/>
          <ac:spMkLst>
            <pc:docMk/>
            <pc:sldMk cId="3500422461" sldId="2147479726"/>
            <ac:spMk id="112" creationId="{9EBFA988-4EEC-546C-926A-39BFA4F362E0}"/>
          </ac:spMkLst>
        </pc:spChg>
        <pc:spChg chg="add mod">
          <ac:chgData name="Hu, Frank" userId="d3ad470f-91d8-4bd6-b171-9c10023cc60b" providerId="ADAL" clId="{F46F829C-35B7-4081-93FD-C381AD92AAD7}" dt="2023-04-26T02:54:41.009" v="9578" actId="1038"/>
          <ac:spMkLst>
            <pc:docMk/>
            <pc:sldMk cId="3500422461" sldId="2147479726"/>
            <ac:spMk id="113" creationId="{B4A8EB70-C0A6-9D54-D58E-4A991524FFCE}"/>
          </ac:spMkLst>
        </pc:spChg>
        <pc:spChg chg="add mod">
          <ac:chgData name="Hu, Frank" userId="d3ad470f-91d8-4bd6-b171-9c10023cc60b" providerId="ADAL" clId="{F46F829C-35B7-4081-93FD-C381AD92AAD7}" dt="2023-04-26T02:54:41.009" v="9578" actId="1038"/>
          <ac:spMkLst>
            <pc:docMk/>
            <pc:sldMk cId="3500422461" sldId="2147479726"/>
            <ac:spMk id="114" creationId="{15A2699C-EB73-6A8B-6B6A-4D395AD29223}"/>
          </ac:spMkLst>
        </pc:spChg>
        <pc:spChg chg="add del mod">
          <ac:chgData name="Hu, Frank" userId="d3ad470f-91d8-4bd6-b171-9c10023cc60b" providerId="ADAL" clId="{F46F829C-35B7-4081-93FD-C381AD92AAD7}" dt="2023-04-24T12:09:07.407" v="8750" actId="478"/>
          <ac:spMkLst>
            <pc:docMk/>
            <pc:sldMk cId="3500422461" sldId="2147479726"/>
            <ac:spMk id="115" creationId="{445FC087-AE34-8045-0D63-9D70658D6717}"/>
          </ac:spMkLst>
        </pc:spChg>
        <pc:spChg chg="add del mod">
          <ac:chgData name="Hu, Frank" userId="d3ad470f-91d8-4bd6-b171-9c10023cc60b" providerId="ADAL" clId="{F46F829C-35B7-4081-93FD-C381AD92AAD7}" dt="2023-04-24T12:09:07.407" v="8750" actId="478"/>
          <ac:spMkLst>
            <pc:docMk/>
            <pc:sldMk cId="3500422461" sldId="2147479726"/>
            <ac:spMk id="116" creationId="{C467854D-FFF8-9A6F-3F46-55DCD751CF5A}"/>
          </ac:spMkLst>
        </pc:spChg>
        <pc:spChg chg="add del mod">
          <ac:chgData name="Hu, Frank" userId="d3ad470f-91d8-4bd6-b171-9c10023cc60b" providerId="ADAL" clId="{F46F829C-35B7-4081-93FD-C381AD92AAD7}" dt="2023-04-24T11:50:53.371" v="8326" actId="478"/>
          <ac:spMkLst>
            <pc:docMk/>
            <pc:sldMk cId="3500422461" sldId="2147479726"/>
            <ac:spMk id="117" creationId="{70AB3BA4-FBD2-17DF-3564-483372F93A5E}"/>
          </ac:spMkLst>
        </pc:spChg>
        <pc:spChg chg="add mod">
          <ac:chgData name="Hu, Frank" userId="d3ad470f-91d8-4bd6-b171-9c10023cc60b" providerId="ADAL" clId="{F46F829C-35B7-4081-93FD-C381AD92AAD7}" dt="2023-04-26T02:52:06.413" v="9514" actId="1038"/>
          <ac:spMkLst>
            <pc:docMk/>
            <pc:sldMk cId="3500422461" sldId="2147479726"/>
            <ac:spMk id="119" creationId="{E44BF99C-8272-95F5-71EC-F25A1AF36322}"/>
          </ac:spMkLst>
        </pc:spChg>
        <pc:spChg chg="add mod">
          <ac:chgData name="Hu, Frank" userId="d3ad470f-91d8-4bd6-b171-9c10023cc60b" providerId="ADAL" clId="{F46F829C-35B7-4081-93FD-C381AD92AAD7}" dt="2023-04-26T02:52:06.413" v="9514" actId="1038"/>
          <ac:spMkLst>
            <pc:docMk/>
            <pc:sldMk cId="3500422461" sldId="2147479726"/>
            <ac:spMk id="120" creationId="{F7C56F94-77BA-17C6-8884-F7B48E52E42C}"/>
          </ac:spMkLst>
        </pc:spChg>
        <pc:spChg chg="add del mod">
          <ac:chgData name="Hu, Frank" userId="d3ad470f-91d8-4bd6-b171-9c10023cc60b" providerId="ADAL" clId="{F46F829C-35B7-4081-93FD-C381AD92AAD7}" dt="2023-04-24T11:49:24.322" v="8238" actId="478"/>
          <ac:spMkLst>
            <pc:docMk/>
            <pc:sldMk cId="3500422461" sldId="2147479726"/>
            <ac:spMk id="121" creationId="{E6B64F78-47F5-4D38-A57E-5F99374CAA9D}"/>
          </ac:spMkLst>
        </pc:spChg>
        <pc:spChg chg="del">
          <ac:chgData name="Hu, Frank" userId="d3ad470f-91d8-4bd6-b171-9c10023cc60b" providerId="ADAL" clId="{F46F829C-35B7-4081-93FD-C381AD92AAD7}" dt="2023-04-21T06:57:25.796" v="5129" actId="478"/>
          <ac:spMkLst>
            <pc:docMk/>
            <pc:sldMk cId="3500422461" sldId="2147479726"/>
            <ac:spMk id="129" creationId="{A16773A8-4118-9DDE-8E1F-E10F3365F257}"/>
          </ac:spMkLst>
        </pc:spChg>
        <pc:spChg chg="add del mod">
          <ac:chgData name="Hu, Frank" userId="d3ad470f-91d8-4bd6-b171-9c10023cc60b" providerId="ADAL" clId="{F46F829C-35B7-4081-93FD-C381AD92AAD7}" dt="2023-04-24T12:06:49.128" v="8697" actId="478"/>
          <ac:spMkLst>
            <pc:docMk/>
            <pc:sldMk cId="3500422461" sldId="2147479726"/>
            <ac:spMk id="132" creationId="{663DDFFF-A392-8A8D-88B8-79CA1CEDCDB3}"/>
          </ac:spMkLst>
        </pc:spChg>
        <pc:spChg chg="add del mod">
          <ac:chgData name="Hu, Frank" userId="d3ad470f-91d8-4bd6-b171-9c10023cc60b" providerId="ADAL" clId="{F46F829C-35B7-4081-93FD-C381AD92AAD7}" dt="2023-04-24T12:06:51.429" v="8698" actId="478"/>
          <ac:spMkLst>
            <pc:docMk/>
            <pc:sldMk cId="3500422461" sldId="2147479726"/>
            <ac:spMk id="133" creationId="{4D446364-84D0-DC77-413F-7A48FDDCBE2A}"/>
          </ac:spMkLst>
        </pc:spChg>
        <pc:spChg chg="add mod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134" creationId="{972175B2-F2CF-C5A2-66EA-8950BC33A58E}"/>
          </ac:spMkLst>
        </pc:spChg>
        <pc:spChg chg="del mod topLvl">
          <ac:chgData name="Hu, Frank" userId="d3ad470f-91d8-4bd6-b171-9c10023cc60b" providerId="ADAL" clId="{F46F829C-35B7-4081-93FD-C381AD92AAD7}" dt="2023-04-24T12:09:07.407" v="8750" actId="478"/>
          <ac:spMkLst>
            <pc:docMk/>
            <pc:sldMk cId="3500422461" sldId="2147479726"/>
            <ac:spMk id="136" creationId="{7D8573D9-C3BA-5FF8-5DD5-FA4B71D44383}"/>
          </ac:spMkLst>
        </pc:spChg>
        <pc:spChg chg="del mod">
          <ac:chgData name="Hu, Frank" userId="d3ad470f-91d8-4bd6-b171-9c10023cc60b" providerId="ADAL" clId="{F46F829C-35B7-4081-93FD-C381AD92AAD7}" dt="2023-04-21T07:48:48.395" v="6542" actId="478"/>
          <ac:spMkLst>
            <pc:docMk/>
            <pc:sldMk cId="3500422461" sldId="2147479726"/>
            <ac:spMk id="138" creationId="{9AE353DE-C1D6-0523-AF43-C8C480BDB71B}"/>
          </ac:spMkLst>
        </pc:spChg>
        <pc:spChg chg="del mod topLvl">
          <ac:chgData name="Hu, Frank" userId="d3ad470f-91d8-4bd6-b171-9c10023cc60b" providerId="ADAL" clId="{F46F829C-35B7-4081-93FD-C381AD92AAD7}" dt="2023-04-21T07:48:50.231" v="6543" actId="478"/>
          <ac:spMkLst>
            <pc:docMk/>
            <pc:sldMk cId="3500422461" sldId="2147479726"/>
            <ac:spMk id="139" creationId="{A7FBE097-6448-0D11-D905-2E1F2A57E258}"/>
          </ac:spMkLst>
        </pc:spChg>
        <pc:spChg chg="add del mod">
          <ac:chgData name="Hu, Frank" userId="d3ad470f-91d8-4bd6-b171-9c10023cc60b" providerId="ADAL" clId="{F46F829C-35B7-4081-93FD-C381AD92AAD7}" dt="2023-04-24T12:09:07.407" v="8750" actId="478"/>
          <ac:spMkLst>
            <pc:docMk/>
            <pc:sldMk cId="3500422461" sldId="2147479726"/>
            <ac:spMk id="140" creationId="{A6B09DE6-900B-7398-446B-54F6D3B54AE4}"/>
          </ac:spMkLst>
        </pc:spChg>
        <pc:spChg chg="add del mod">
          <ac:chgData name="Hu, Frank" userId="d3ad470f-91d8-4bd6-b171-9c10023cc60b" providerId="ADAL" clId="{F46F829C-35B7-4081-93FD-C381AD92AAD7}" dt="2023-04-24T12:09:07.407" v="8750" actId="478"/>
          <ac:spMkLst>
            <pc:docMk/>
            <pc:sldMk cId="3500422461" sldId="2147479726"/>
            <ac:spMk id="141" creationId="{2649E010-9392-4C4A-2987-9117287257DA}"/>
          </ac:spMkLst>
        </pc:spChg>
        <pc:spChg chg="add del mod">
          <ac:chgData name="Hu, Frank" userId="d3ad470f-91d8-4bd6-b171-9c10023cc60b" providerId="ADAL" clId="{F46F829C-35B7-4081-93FD-C381AD92AAD7}" dt="2023-04-24T12:09:07.407" v="8750" actId="478"/>
          <ac:spMkLst>
            <pc:docMk/>
            <pc:sldMk cId="3500422461" sldId="2147479726"/>
            <ac:spMk id="143" creationId="{27B45E81-6F04-0A4B-AEC8-6657F22C2AFB}"/>
          </ac:spMkLst>
        </pc:spChg>
        <pc:spChg chg="add mod">
          <ac:chgData name="Hu, Frank" userId="d3ad470f-91d8-4bd6-b171-9c10023cc60b" providerId="ADAL" clId="{F46F829C-35B7-4081-93FD-C381AD92AAD7}" dt="2023-04-26T02:50:55.981" v="9500" actId="1037"/>
          <ac:spMkLst>
            <pc:docMk/>
            <pc:sldMk cId="3500422461" sldId="2147479726"/>
            <ac:spMk id="144" creationId="{066A3F58-FA44-9FFA-15A8-1CC6B2B9AD80}"/>
          </ac:spMkLst>
        </pc:spChg>
        <pc:spChg chg="add del mod">
          <ac:chgData name="Hu, Frank" userId="d3ad470f-91d8-4bd6-b171-9c10023cc60b" providerId="ADAL" clId="{F46F829C-35B7-4081-93FD-C381AD92AAD7}" dt="2023-04-24T12:09:07.407" v="8750" actId="478"/>
          <ac:spMkLst>
            <pc:docMk/>
            <pc:sldMk cId="3500422461" sldId="2147479726"/>
            <ac:spMk id="145" creationId="{85711208-44A9-205B-2E7E-ABBC0A63D964}"/>
          </ac:spMkLst>
        </pc:spChg>
        <pc:spChg chg="del">
          <ac:chgData name="Hu, Frank" userId="d3ad470f-91d8-4bd6-b171-9c10023cc60b" providerId="ADAL" clId="{F46F829C-35B7-4081-93FD-C381AD92AAD7}" dt="2023-04-21T06:57:25.796" v="5129" actId="478"/>
          <ac:spMkLst>
            <pc:docMk/>
            <pc:sldMk cId="3500422461" sldId="2147479726"/>
            <ac:spMk id="153" creationId="{D2715621-791A-CE11-0B94-C2B4331D2CFC}"/>
          </ac:spMkLst>
        </pc:spChg>
        <pc:spChg chg="del">
          <ac:chgData name="Hu, Frank" userId="d3ad470f-91d8-4bd6-b171-9c10023cc60b" providerId="ADAL" clId="{F46F829C-35B7-4081-93FD-C381AD92AAD7}" dt="2023-04-21T06:57:25.796" v="5129" actId="478"/>
          <ac:spMkLst>
            <pc:docMk/>
            <pc:sldMk cId="3500422461" sldId="2147479726"/>
            <ac:spMk id="157" creationId="{997D2275-08BC-07D8-7773-25467ABF364C}"/>
          </ac:spMkLst>
        </pc:spChg>
        <pc:spChg chg="del">
          <ac:chgData name="Hu, Frank" userId="d3ad470f-91d8-4bd6-b171-9c10023cc60b" providerId="ADAL" clId="{F46F829C-35B7-4081-93FD-C381AD92AAD7}" dt="2023-04-21T06:57:25.796" v="5129" actId="478"/>
          <ac:spMkLst>
            <pc:docMk/>
            <pc:sldMk cId="3500422461" sldId="2147479726"/>
            <ac:spMk id="158" creationId="{29743631-F442-6B0D-50EA-B84A80029C66}"/>
          </ac:spMkLst>
        </pc:spChg>
        <pc:spChg chg="del">
          <ac:chgData name="Hu, Frank" userId="d3ad470f-91d8-4bd6-b171-9c10023cc60b" providerId="ADAL" clId="{F46F829C-35B7-4081-93FD-C381AD92AAD7}" dt="2023-04-21T06:57:25.796" v="5129" actId="478"/>
          <ac:spMkLst>
            <pc:docMk/>
            <pc:sldMk cId="3500422461" sldId="2147479726"/>
            <ac:spMk id="179" creationId="{D45BFAC2-C9FA-5E50-5640-FD4A1D821855}"/>
          </ac:spMkLst>
        </pc:spChg>
        <pc:spChg chg="del">
          <ac:chgData name="Hu, Frank" userId="d3ad470f-91d8-4bd6-b171-9c10023cc60b" providerId="ADAL" clId="{F46F829C-35B7-4081-93FD-C381AD92AAD7}" dt="2023-04-21T06:57:25.796" v="5129" actId="478"/>
          <ac:spMkLst>
            <pc:docMk/>
            <pc:sldMk cId="3500422461" sldId="2147479726"/>
            <ac:spMk id="180" creationId="{B2EF30D3-F942-CE22-7657-19BBBB8AAA57}"/>
          </ac:spMkLst>
        </pc:spChg>
        <pc:spChg chg="del">
          <ac:chgData name="Hu, Frank" userId="d3ad470f-91d8-4bd6-b171-9c10023cc60b" providerId="ADAL" clId="{F46F829C-35B7-4081-93FD-C381AD92AAD7}" dt="2023-04-21T06:57:25.796" v="5129" actId="478"/>
          <ac:spMkLst>
            <pc:docMk/>
            <pc:sldMk cId="3500422461" sldId="2147479726"/>
            <ac:spMk id="187" creationId="{8D777A7C-8A65-186A-89F5-C8B5B3BD68DB}"/>
          </ac:spMkLst>
        </pc:spChg>
        <pc:spChg chg="del">
          <ac:chgData name="Hu, Frank" userId="d3ad470f-91d8-4bd6-b171-9c10023cc60b" providerId="ADAL" clId="{F46F829C-35B7-4081-93FD-C381AD92AAD7}" dt="2023-04-21T06:33:04.434" v="5032" actId="478"/>
          <ac:spMkLst>
            <pc:docMk/>
            <pc:sldMk cId="3500422461" sldId="2147479726"/>
            <ac:spMk id="262" creationId="{FE30E43F-C3E4-44E3-7419-38A9564CFF58}"/>
          </ac:spMkLst>
        </pc:spChg>
        <pc:spChg chg="del">
          <ac:chgData name="Hu, Frank" userId="d3ad470f-91d8-4bd6-b171-9c10023cc60b" providerId="ADAL" clId="{F46F829C-35B7-4081-93FD-C381AD92AAD7}" dt="2023-04-21T06:33:07.524" v="5033" actId="478"/>
          <ac:spMkLst>
            <pc:docMk/>
            <pc:sldMk cId="3500422461" sldId="2147479726"/>
            <ac:spMk id="263" creationId="{45BCDF1F-8112-ECB3-B4AE-D95CBBBB6F10}"/>
          </ac:spMkLst>
        </pc:spChg>
        <pc:spChg chg="del">
          <ac:chgData name="Hu, Frank" userId="d3ad470f-91d8-4bd6-b171-9c10023cc60b" providerId="ADAL" clId="{F46F829C-35B7-4081-93FD-C381AD92AAD7}" dt="2023-04-21T06:33:07.524" v="5033" actId="478"/>
          <ac:spMkLst>
            <pc:docMk/>
            <pc:sldMk cId="3500422461" sldId="2147479726"/>
            <ac:spMk id="264" creationId="{EAB378E8-0D7B-2ACF-FCDA-19B2B77AA77F}"/>
          </ac:spMkLst>
        </pc:spChg>
        <pc:spChg chg="del">
          <ac:chgData name="Hu, Frank" userId="d3ad470f-91d8-4bd6-b171-9c10023cc60b" providerId="ADAL" clId="{F46F829C-35B7-4081-93FD-C381AD92AAD7}" dt="2023-04-21T06:33:07.524" v="5033" actId="478"/>
          <ac:spMkLst>
            <pc:docMk/>
            <pc:sldMk cId="3500422461" sldId="2147479726"/>
            <ac:spMk id="265" creationId="{85A8F45F-209D-701D-C1F1-4341865750BE}"/>
          </ac:spMkLst>
        </pc:spChg>
        <pc:spChg chg="mod">
          <ac:chgData name="Hu, Frank" userId="d3ad470f-91d8-4bd6-b171-9c10023cc60b" providerId="ADAL" clId="{F46F829C-35B7-4081-93FD-C381AD92AAD7}" dt="2023-04-21T06:56:01.247" v="5126" actId="1076"/>
          <ac:spMkLst>
            <pc:docMk/>
            <pc:sldMk cId="3500422461" sldId="2147479726"/>
            <ac:spMk id="267" creationId="{17FDCD51-F247-E46E-A2F8-28680A4145E0}"/>
          </ac:spMkLst>
        </pc:spChg>
        <pc:spChg chg="del">
          <ac:chgData name="Hu, Frank" userId="d3ad470f-91d8-4bd6-b171-9c10023cc60b" providerId="ADAL" clId="{F46F829C-35B7-4081-93FD-C381AD92AAD7}" dt="2023-04-21T06:57:25.796" v="5129" actId="478"/>
          <ac:spMkLst>
            <pc:docMk/>
            <pc:sldMk cId="3500422461" sldId="2147479726"/>
            <ac:spMk id="278" creationId="{AD7A131F-53A4-E4A1-E22F-9BFC52970369}"/>
          </ac:spMkLst>
        </pc:spChg>
        <pc:spChg chg="del">
          <ac:chgData name="Hu, Frank" userId="d3ad470f-91d8-4bd6-b171-9c10023cc60b" providerId="ADAL" clId="{F46F829C-35B7-4081-93FD-C381AD92AAD7}" dt="2023-04-21T06:57:25.796" v="5129" actId="478"/>
          <ac:spMkLst>
            <pc:docMk/>
            <pc:sldMk cId="3500422461" sldId="2147479726"/>
            <ac:spMk id="285" creationId="{4F3BC610-A64C-FD03-C88F-D2F2AEEEF692}"/>
          </ac:spMkLst>
        </pc:spChg>
        <pc:grpChg chg="add del mod">
          <ac:chgData name="Hu, Frank" userId="d3ad470f-91d8-4bd6-b171-9c10023cc60b" providerId="ADAL" clId="{F46F829C-35B7-4081-93FD-C381AD92AAD7}" dt="2023-04-21T06:36:57.222" v="5035"/>
          <ac:grpSpMkLst>
            <pc:docMk/>
            <pc:sldMk cId="3500422461" sldId="2147479726"/>
            <ac:grpSpMk id="2" creationId="{501F8328-983D-9006-D9A5-FDC2EFED7578}"/>
          </ac:grpSpMkLst>
        </pc:grpChg>
        <pc:grpChg chg="add del mod">
          <ac:chgData name="Hu, Frank" userId="d3ad470f-91d8-4bd6-b171-9c10023cc60b" providerId="ADAL" clId="{F46F829C-35B7-4081-93FD-C381AD92AAD7}" dt="2023-04-24T11:21:17.934" v="7985" actId="165"/>
          <ac:grpSpMkLst>
            <pc:docMk/>
            <pc:sldMk cId="3500422461" sldId="2147479726"/>
            <ac:grpSpMk id="11" creationId="{455DDDB7-6149-81B6-EEC1-9D915D5EC731}"/>
          </ac:grpSpMkLst>
        </pc:grpChg>
        <pc:grpChg chg="add del mod">
          <ac:chgData name="Hu, Frank" userId="d3ad470f-91d8-4bd6-b171-9c10023cc60b" providerId="ADAL" clId="{F46F829C-35B7-4081-93FD-C381AD92AAD7}" dt="2023-04-24T11:21:17.934" v="7985" actId="165"/>
          <ac:grpSpMkLst>
            <pc:docMk/>
            <pc:sldMk cId="3500422461" sldId="2147479726"/>
            <ac:grpSpMk id="48" creationId="{30A758CD-B7A3-0F45-46ED-62BBB3B3A41A}"/>
          </ac:grpSpMkLst>
        </pc:grpChg>
        <pc:grpChg chg="del">
          <ac:chgData name="Hu, Frank" userId="d3ad470f-91d8-4bd6-b171-9c10023cc60b" providerId="ADAL" clId="{F46F829C-35B7-4081-93FD-C381AD92AAD7}" dt="2023-04-24T11:21:17.934" v="7985" actId="165"/>
          <ac:grpSpMkLst>
            <pc:docMk/>
            <pc:sldMk cId="3500422461" sldId="2147479726"/>
            <ac:grpSpMk id="80" creationId="{E55475C0-EEA7-6FC8-07A8-9B1D970C7AE3}"/>
          </ac:grpSpMkLst>
        </pc:grpChg>
        <pc:grpChg chg="mod topLvl">
          <ac:chgData name="Hu, Frank" userId="d3ad470f-91d8-4bd6-b171-9c10023cc60b" providerId="ADAL" clId="{F46F829C-35B7-4081-93FD-C381AD92AAD7}" dt="2023-04-24T12:15:21.588" v="8968" actId="1076"/>
          <ac:grpSpMkLst>
            <pc:docMk/>
            <pc:sldMk cId="3500422461" sldId="2147479726"/>
            <ac:grpSpMk id="83" creationId="{748F363F-598A-5DBE-07A4-E7706396C922}"/>
          </ac:grpSpMkLst>
        </pc:grpChg>
        <pc:grpChg chg="add del mod">
          <ac:chgData name="Hu, Frank" userId="d3ad470f-91d8-4bd6-b171-9c10023cc60b" providerId="ADAL" clId="{F46F829C-35B7-4081-93FD-C381AD92AAD7}" dt="2023-04-24T13:01:40.050" v="9193" actId="165"/>
          <ac:grpSpMkLst>
            <pc:docMk/>
            <pc:sldMk cId="3500422461" sldId="2147479726"/>
            <ac:grpSpMk id="90" creationId="{3A257A63-6684-DDD9-2B84-4D39A3FE6014}"/>
          </ac:grpSpMkLst>
        </pc:grpChg>
        <pc:grpChg chg="add del mod">
          <ac:chgData name="Hu, Frank" userId="d3ad470f-91d8-4bd6-b171-9c10023cc60b" providerId="ADAL" clId="{F46F829C-35B7-4081-93FD-C381AD92AAD7}" dt="2023-04-21T07:31:13.457" v="6036" actId="478"/>
          <ac:grpSpMkLst>
            <pc:docMk/>
            <pc:sldMk cId="3500422461" sldId="2147479726"/>
            <ac:grpSpMk id="102" creationId="{B989AA5F-9CD0-935F-FB76-8F4CC61457E1}"/>
          </ac:grpSpMkLst>
        </pc:grpChg>
        <pc:grpChg chg="add del mod">
          <ac:chgData name="Hu, Frank" userId="d3ad470f-91d8-4bd6-b171-9c10023cc60b" providerId="ADAL" clId="{F46F829C-35B7-4081-93FD-C381AD92AAD7}" dt="2023-04-21T07:48:50.231" v="6543" actId="478"/>
          <ac:grpSpMkLst>
            <pc:docMk/>
            <pc:sldMk cId="3500422461" sldId="2147479726"/>
            <ac:grpSpMk id="135" creationId="{049B9DB2-4423-CF7B-FAEB-48A2000EB07F}"/>
          </ac:grpSpMkLst>
        </pc:grpChg>
        <pc:grpChg chg="del">
          <ac:chgData name="Hu, Frank" userId="d3ad470f-91d8-4bd6-b171-9c10023cc60b" providerId="ADAL" clId="{F46F829C-35B7-4081-93FD-C381AD92AAD7}" dt="2023-04-21T06:57:25.796" v="5129" actId="478"/>
          <ac:grpSpMkLst>
            <pc:docMk/>
            <pc:sldMk cId="3500422461" sldId="2147479726"/>
            <ac:grpSpMk id="259" creationId="{6E970BEC-F55B-2C6F-AE3F-E4C37209785F}"/>
          </ac:grpSpMkLst>
        </pc:grpChg>
        <pc:grpChg chg="del mod">
          <ac:chgData name="Hu, Frank" userId="d3ad470f-91d8-4bd6-b171-9c10023cc60b" providerId="ADAL" clId="{F46F829C-35B7-4081-93FD-C381AD92AAD7}" dt="2023-04-21T06:57:25.796" v="5129" actId="478"/>
          <ac:grpSpMkLst>
            <pc:docMk/>
            <pc:sldMk cId="3500422461" sldId="2147479726"/>
            <ac:grpSpMk id="266" creationId="{1E62FECD-03D4-E380-C0F8-87247C49EA40}"/>
          </ac:grpSpMkLst>
        </pc:grpChg>
        <pc:grpChg chg="del">
          <ac:chgData name="Hu, Frank" userId="d3ad470f-91d8-4bd6-b171-9c10023cc60b" providerId="ADAL" clId="{F46F829C-35B7-4081-93FD-C381AD92AAD7}" dt="2023-04-21T06:57:25.796" v="5129" actId="478"/>
          <ac:grpSpMkLst>
            <pc:docMk/>
            <pc:sldMk cId="3500422461" sldId="2147479726"/>
            <ac:grpSpMk id="282" creationId="{70B7589D-90B6-2F1A-9937-2E8EFC59AD76}"/>
          </ac:grpSpMkLst>
        </pc:grpChg>
        <pc:grpChg chg="del">
          <ac:chgData name="Hu, Frank" userId="d3ad470f-91d8-4bd6-b171-9c10023cc60b" providerId="ADAL" clId="{F46F829C-35B7-4081-93FD-C381AD92AAD7}" dt="2023-04-21T06:57:25.796" v="5129" actId="478"/>
          <ac:grpSpMkLst>
            <pc:docMk/>
            <pc:sldMk cId="3500422461" sldId="2147479726"/>
            <ac:grpSpMk id="283" creationId="{DBB95068-9D51-F785-136B-C63984EF5FA1}"/>
          </ac:grpSpMkLst>
        </pc:grpChg>
        <pc:grpChg chg="del">
          <ac:chgData name="Hu, Frank" userId="d3ad470f-91d8-4bd6-b171-9c10023cc60b" providerId="ADAL" clId="{F46F829C-35B7-4081-93FD-C381AD92AAD7}" dt="2023-04-21T06:57:25.796" v="5129" actId="478"/>
          <ac:grpSpMkLst>
            <pc:docMk/>
            <pc:sldMk cId="3500422461" sldId="2147479726"/>
            <ac:grpSpMk id="286" creationId="{5E0311C1-BEF6-F828-36AC-46CF8CB717C6}"/>
          </ac:grpSpMkLst>
        </pc:grpChg>
        <pc:grpChg chg="del">
          <ac:chgData name="Hu, Frank" userId="d3ad470f-91d8-4bd6-b171-9c10023cc60b" providerId="ADAL" clId="{F46F829C-35B7-4081-93FD-C381AD92AAD7}" dt="2023-04-21T06:57:25.796" v="5129" actId="478"/>
          <ac:grpSpMkLst>
            <pc:docMk/>
            <pc:sldMk cId="3500422461" sldId="2147479726"/>
            <ac:grpSpMk id="288" creationId="{FE66AC30-5EAD-7273-C2BD-60690FBEC3A5}"/>
          </ac:grpSpMkLst>
        </pc:grpChg>
        <pc:grpChg chg="del">
          <ac:chgData name="Hu, Frank" userId="d3ad470f-91d8-4bd6-b171-9c10023cc60b" providerId="ADAL" clId="{F46F829C-35B7-4081-93FD-C381AD92AAD7}" dt="2023-04-21T06:57:25.796" v="5129" actId="478"/>
          <ac:grpSpMkLst>
            <pc:docMk/>
            <pc:sldMk cId="3500422461" sldId="2147479726"/>
            <ac:grpSpMk id="291" creationId="{643A395C-13B7-8A0D-C38D-27570AA9A9B2}"/>
          </ac:grpSpMkLst>
        </pc:grpChg>
        <pc:picChg chg="mod">
          <ac:chgData name="Hu, Frank" userId="d3ad470f-91d8-4bd6-b171-9c10023cc60b" providerId="ADAL" clId="{F46F829C-35B7-4081-93FD-C381AD92AAD7}" dt="2023-04-24T11:21:17.934" v="7985" actId="165"/>
          <ac:picMkLst>
            <pc:docMk/>
            <pc:sldMk cId="3500422461" sldId="2147479726"/>
            <ac:picMk id="86" creationId="{7DBEA2AB-F8B5-08BD-1641-5CCA8D47DCA2}"/>
          </ac:picMkLst>
        </pc:picChg>
        <pc:cxnChg chg="mod">
          <ac:chgData name="Hu, Frank" userId="d3ad470f-91d8-4bd6-b171-9c10023cc60b" providerId="ADAL" clId="{F46F829C-35B7-4081-93FD-C381AD92AAD7}" dt="2023-04-21T06:36:48.770" v="5034"/>
          <ac:cxnSpMkLst>
            <pc:docMk/>
            <pc:sldMk cId="3500422461" sldId="2147479726"/>
            <ac:cxnSpMk id="4" creationId="{AA52D60B-1196-0D8F-FC82-59740A5DB493}"/>
          </ac:cxnSpMkLst>
        </pc:cxnChg>
        <pc:cxnChg chg="add del mod">
          <ac:chgData name="Hu, Frank" userId="d3ad470f-91d8-4bd6-b171-9c10023cc60b" providerId="ADAL" clId="{F46F829C-35B7-4081-93FD-C381AD92AAD7}" dt="2023-04-24T11:50:37.090" v="8286" actId="478"/>
          <ac:cxnSpMkLst>
            <pc:docMk/>
            <pc:sldMk cId="3500422461" sldId="2147479726"/>
            <ac:cxnSpMk id="4" creationId="{F8267175-48B8-410B-691C-47641BDCAE8E}"/>
          </ac:cxnSpMkLst>
        </pc:cxnChg>
        <pc:cxnChg chg="add mod">
          <ac:chgData name="Hu, Frank" userId="d3ad470f-91d8-4bd6-b171-9c10023cc60b" providerId="ADAL" clId="{F46F829C-35B7-4081-93FD-C381AD92AAD7}" dt="2023-04-26T02:52:06.413" v="9514" actId="1038"/>
          <ac:cxnSpMkLst>
            <pc:docMk/>
            <pc:sldMk cId="3500422461" sldId="2147479726"/>
            <ac:cxnSpMk id="23" creationId="{B4780071-51A3-433B-CB93-31137ADF30AB}"/>
          </ac:cxnSpMkLst>
        </pc:cxnChg>
        <pc:cxnChg chg="add del mod">
          <ac:chgData name="Hu, Frank" userId="d3ad470f-91d8-4bd6-b171-9c10023cc60b" providerId="ADAL" clId="{F46F829C-35B7-4081-93FD-C381AD92AAD7}" dt="2023-04-21T07:41:15.411" v="6326" actId="478"/>
          <ac:cxnSpMkLst>
            <pc:docMk/>
            <pc:sldMk cId="3500422461" sldId="2147479726"/>
            <ac:cxnSpMk id="24" creationId="{95A07342-F637-E472-55EF-6FF864DB139D}"/>
          </ac:cxnSpMkLst>
        </pc:cxnChg>
        <pc:cxnChg chg="add mod">
          <ac:chgData name="Hu, Frank" userId="d3ad470f-91d8-4bd6-b171-9c10023cc60b" providerId="ADAL" clId="{F46F829C-35B7-4081-93FD-C381AD92AAD7}" dt="2023-04-26T02:54:41.009" v="9578" actId="1038"/>
          <ac:cxnSpMkLst>
            <pc:docMk/>
            <pc:sldMk cId="3500422461" sldId="2147479726"/>
            <ac:cxnSpMk id="27" creationId="{2A4341CC-4F85-555D-D262-3E5FFFFEB82F}"/>
          </ac:cxnSpMkLst>
        </pc:cxnChg>
        <pc:cxnChg chg="add mod">
          <ac:chgData name="Hu, Frank" userId="d3ad470f-91d8-4bd6-b171-9c10023cc60b" providerId="ADAL" clId="{F46F829C-35B7-4081-93FD-C381AD92AAD7}" dt="2023-04-26T02:50:55.981" v="9500" actId="1037"/>
          <ac:cxnSpMkLst>
            <pc:docMk/>
            <pc:sldMk cId="3500422461" sldId="2147479726"/>
            <ac:cxnSpMk id="32" creationId="{7C722E6A-3C11-13B7-C7BA-9094FC05B457}"/>
          </ac:cxnSpMkLst>
        </pc:cxnChg>
        <pc:cxnChg chg="add mod">
          <ac:chgData name="Hu, Frank" userId="d3ad470f-91d8-4bd6-b171-9c10023cc60b" providerId="ADAL" clId="{F46F829C-35B7-4081-93FD-C381AD92AAD7}" dt="2023-04-26T02:50:55.981" v="9500" actId="1037"/>
          <ac:cxnSpMkLst>
            <pc:docMk/>
            <pc:sldMk cId="3500422461" sldId="2147479726"/>
            <ac:cxnSpMk id="34" creationId="{5E211BBD-99F5-14AB-D968-7E359A7FD86A}"/>
          </ac:cxnSpMkLst>
        </pc:cxnChg>
        <pc:cxnChg chg="add mod">
          <ac:chgData name="Hu, Frank" userId="d3ad470f-91d8-4bd6-b171-9c10023cc60b" providerId="ADAL" clId="{F46F829C-35B7-4081-93FD-C381AD92AAD7}" dt="2023-04-26T02:50:55.981" v="9500" actId="1037"/>
          <ac:cxnSpMkLst>
            <pc:docMk/>
            <pc:sldMk cId="3500422461" sldId="2147479726"/>
            <ac:cxnSpMk id="35" creationId="{14ADE8EF-9EFF-61AA-5BF4-A365012EE668}"/>
          </ac:cxnSpMkLst>
        </pc:cxnChg>
        <pc:cxnChg chg="add mod">
          <ac:chgData name="Hu, Frank" userId="d3ad470f-91d8-4bd6-b171-9c10023cc60b" providerId="ADAL" clId="{F46F829C-35B7-4081-93FD-C381AD92AAD7}" dt="2023-04-26T02:50:55.981" v="9500" actId="1037"/>
          <ac:cxnSpMkLst>
            <pc:docMk/>
            <pc:sldMk cId="3500422461" sldId="2147479726"/>
            <ac:cxnSpMk id="37" creationId="{8B0B25D8-B510-53B4-71AB-AD4AB0D2DC72}"/>
          </ac:cxnSpMkLst>
        </pc:cxnChg>
        <pc:cxnChg chg="add mod">
          <ac:chgData name="Hu, Frank" userId="d3ad470f-91d8-4bd6-b171-9c10023cc60b" providerId="ADAL" clId="{F46F829C-35B7-4081-93FD-C381AD92AAD7}" dt="2023-04-26T02:50:55.981" v="9500" actId="1037"/>
          <ac:cxnSpMkLst>
            <pc:docMk/>
            <pc:sldMk cId="3500422461" sldId="2147479726"/>
            <ac:cxnSpMk id="40" creationId="{FA412252-373A-40A3-6C50-E50A8E807A67}"/>
          </ac:cxnSpMkLst>
        </pc:cxnChg>
        <pc:cxnChg chg="add mod">
          <ac:chgData name="Hu, Frank" userId="d3ad470f-91d8-4bd6-b171-9c10023cc60b" providerId="ADAL" clId="{F46F829C-35B7-4081-93FD-C381AD92AAD7}" dt="2023-04-26T02:50:55.981" v="9500" actId="1037"/>
          <ac:cxnSpMkLst>
            <pc:docMk/>
            <pc:sldMk cId="3500422461" sldId="2147479726"/>
            <ac:cxnSpMk id="52" creationId="{2BD1B1E1-F7F8-CEB4-AE86-FED34E85CAD6}"/>
          </ac:cxnSpMkLst>
        </pc:cxnChg>
        <pc:cxnChg chg="add mod">
          <ac:chgData name="Hu, Frank" userId="d3ad470f-91d8-4bd6-b171-9c10023cc60b" providerId="ADAL" clId="{F46F829C-35B7-4081-93FD-C381AD92AAD7}" dt="2023-04-26T02:50:17.787" v="9476" actId="1037"/>
          <ac:cxnSpMkLst>
            <pc:docMk/>
            <pc:sldMk cId="3500422461" sldId="2147479726"/>
            <ac:cxnSpMk id="63" creationId="{F2256C99-49C3-2178-9368-9AF4A12D320C}"/>
          </ac:cxnSpMkLst>
        </pc:cxnChg>
        <pc:cxnChg chg="add del mod">
          <ac:chgData name="Hu, Frank" userId="d3ad470f-91d8-4bd6-b171-9c10023cc60b" providerId="ADAL" clId="{F46F829C-35B7-4081-93FD-C381AD92AAD7}" dt="2023-04-26T02:54:12.186" v="9533" actId="478"/>
          <ac:cxnSpMkLst>
            <pc:docMk/>
            <pc:sldMk cId="3500422461" sldId="2147479726"/>
            <ac:cxnSpMk id="67" creationId="{AE068A34-C4F2-0346-C087-7A846E6EB87C}"/>
          </ac:cxnSpMkLst>
        </pc:cxnChg>
        <pc:cxnChg chg="add mod">
          <ac:chgData name="Hu, Frank" userId="d3ad470f-91d8-4bd6-b171-9c10023cc60b" providerId="ADAL" clId="{F46F829C-35B7-4081-93FD-C381AD92AAD7}" dt="2023-04-26T02:50:27.092" v="9477" actId="1076"/>
          <ac:cxnSpMkLst>
            <pc:docMk/>
            <pc:sldMk cId="3500422461" sldId="2147479726"/>
            <ac:cxnSpMk id="71" creationId="{59C59A7E-2485-900A-2E49-1E7FDCFF845B}"/>
          </ac:cxnSpMkLst>
        </pc:cxnChg>
        <pc:cxnChg chg="mod topLvl">
          <ac:chgData name="Hu, Frank" userId="d3ad470f-91d8-4bd6-b171-9c10023cc60b" providerId="ADAL" clId="{F46F829C-35B7-4081-93FD-C381AD92AAD7}" dt="2023-04-24T11:21:17.934" v="7985" actId="165"/>
          <ac:cxnSpMkLst>
            <pc:docMk/>
            <pc:sldMk cId="3500422461" sldId="2147479726"/>
            <ac:cxnSpMk id="81" creationId="{A2F57F02-A4EE-079F-E620-EC487EA988C6}"/>
          </ac:cxnSpMkLst>
        </pc:cxnChg>
        <pc:cxnChg chg="del mod">
          <ac:chgData name="Hu, Frank" userId="d3ad470f-91d8-4bd6-b171-9c10023cc60b" providerId="ADAL" clId="{F46F829C-35B7-4081-93FD-C381AD92AAD7}" dt="2023-04-21T06:57:25.796" v="5129" actId="478"/>
          <ac:cxnSpMkLst>
            <pc:docMk/>
            <pc:sldMk cId="3500422461" sldId="2147479726"/>
            <ac:cxnSpMk id="87" creationId="{590F4157-4703-490A-9F3B-21C0D183A10E}"/>
          </ac:cxnSpMkLst>
        </pc:cxnChg>
        <pc:cxnChg chg="add mod">
          <ac:chgData name="Hu, Frank" userId="d3ad470f-91d8-4bd6-b171-9c10023cc60b" providerId="ADAL" clId="{F46F829C-35B7-4081-93FD-C381AD92AAD7}" dt="2023-04-26T02:50:17.787" v="9476" actId="1037"/>
          <ac:cxnSpMkLst>
            <pc:docMk/>
            <pc:sldMk cId="3500422461" sldId="2147479726"/>
            <ac:cxnSpMk id="93" creationId="{0031F788-28C3-E00D-80C9-4BC1EF24B43D}"/>
          </ac:cxnSpMkLst>
        </pc:cxnChg>
        <pc:cxnChg chg="add mod">
          <ac:chgData name="Hu, Frank" userId="d3ad470f-91d8-4bd6-b171-9c10023cc60b" providerId="ADAL" clId="{F46F829C-35B7-4081-93FD-C381AD92AAD7}" dt="2023-04-26T02:50:55.981" v="9500" actId="1037"/>
          <ac:cxnSpMkLst>
            <pc:docMk/>
            <pc:sldMk cId="3500422461" sldId="2147479726"/>
            <ac:cxnSpMk id="101" creationId="{9A9DE27D-23B8-9D83-D1DC-3B761DD19EE7}"/>
          </ac:cxnSpMkLst>
        </pc:cxnChg>
        <pc:cxnChg chg="add mod">
          <ac:chgData name="Hu, Frank" userId="d3ad470f-91d8-4bd6-b171-9c10023cc60b" providerId="ADAL" clId="{F46F829C-35B7-4081-93FD-C381AD92AAD7}" dt="2023-04-26T02:52:50.870" v="9522" actId="1076"/>
          <ac:cxnSpMkLst>
            <pc:docMk/>
            <pc:sldMk cId="3500422461" sldId="2147479726"/>
            <ac:cxnSpMk id="108" creationId="{95E1B9F7-3978-32F9-9B72-368C2483BC07}"/>
          </ac:cxnSpMkLst>
        </pc:cxnChg>
        <pc:cxnChg chg="add del mod">
          <ac:chgData name="Hu, Frank" userId="d3ad470f-91d8-4bd6-b171-9c10023cc60b" providerId="ADAL" clId="{F46F829C-35B7-4081-93FD-C381AD92AAD7}" dt="2023-04-21T07:57:28.696" v="6746" actId="478"/>
          <ac:cxnSpMkLst>
            <pc:docMk/>
            <pc:sldMk cId="3500422461" sldId="2147479726"/>
            <ac:cxnSpMk id="113" creationId="{D74DD6C8-C8EE-1E68-9842-DA5E7AF3AF10}"/>
          </ac:cxnSpMkLst>
        </pc:cxnChg>
        <pc:cxnChg chg="add del mod">
          <ac:chgData name="Hu, Frank" userId="d3ad470f-91d8-4bd6-b171-9c10023cc60b" providerId="ADAL" clId="{F46F829C-35B7-4081-93FD-C381AD92AAD7}" dt="2023-04-24T11:25:45.251" v="8069" actId="478"/>
          <ac:cxnSpMkLst>
            <pc:docMk/>
            <pc:sldMk cId="3500422461" sldId="2147479726"/>
            <ac:cxnSpMk id="123" creationId="{BD3326DB-D030-03B6-D988-D259A9CAC59E}"/>
          </ac:cxnSpMkLst>
        </pc:cxnChg>
        <pc:cxnChg chg="add del mod">
          <ac:chgData name="Hu, Frank" userId="d3ad470f-91d8-4bd6-b171-9c10023cc60b" providerId="ADAL" clId="{F46F829C-35B7-4081-93FD-C381AD92AAD7}" dt="2023-04-24T11:21:37.055" v="8001" actId="478"/>
          <ac:cxnSpMkLst>
            <pc:docMk/>
            <pc:sldMk cId="3500422461" sldId="2147479726"/>
            <ac:cxnSpMk id="124" creationId="{F4C32F27-D103-44F8-5126-A13C1469BE5A}"/>
          </ac:cxnSpMkLst>
        </pc:cxnChg>
        <pc:cxnChg chg="del mod">
          <ac:chgData name="Hu, Frank" userId="d3ad470f-91d8-4bd6-b171-9c10023cc60b" providerId="ADAL" clId="{F46F829C-35B7-4081-93FD-C381AD92AAD7}" dt="2023-04-21T06:57:25.796" v="5129" actId="478"/>
          <ac:cxnSpMkLst>
            <pc:docMk/>
            <pc:sldMk cId="3500422461" sldId="2147479726"/>
            <ac:cxnSpMk id="137" creationId="{8AF18BDE-6AFF-6521-1DC6-45412AFE6BA2}"/>
          </ac:cxnSpMkLst>
        </pc:cxnChg>
        <pc:cxnChg chg="add del mod">
          <ac:chgData name="Hu, Frank" userId="d3ad470f-91d8-4bd6-b171-9c10023cc60b" providerId="ADAL" clId="{F46F829C-35B7-4081-93FD-C381AD92AAD7}" dt="2023-04-24T12:09:07.407" v="8750" actId="478"/>
          <ac:cxnSpMkLst>
            <pc:docMk/>
            <pc:sldMk cId="3500422461" sldId="2147479726"/>
            <ac:cxnSpMk id="142" creationId="{9F38259F-1DFA-0947-1676-B3F9ED723083}"/>
          </ac:cxnSpMkLst>
        </pc:cxnChg>
        <pc:cxnChg chg="del mod">
          <ac:chgData name="Hu, Frank" userId="d3ad470f-91d8-4bd6-b171-9c10023cc60b" providerId="ADAL" clId="{F46F829C-35B7-4081-93FD-C381AD92AAD7}" dt="2023-04-21T06:57:25.796" v="5129" actId="478"/>
          <ac:cxnSpMkLst>
            <pc:docMk/>
            <pc:sldMk cId="3500422461" sldId="2147479726"/>
            <ac:cxnSpMk id="148" creationId="{865B4446-E53E-BBDF-892C-76014D697C39}"/>
          </ac:cxnSpMkLst>
        </pc:cxnChg>
        <pc:cxnChg chg="del">
          <ac:chgData name="Hu, Frank" userId="d3ad470f-91d8-4bd6-b171-9c10023cc60b" providerId="ADAL" clId="{F46F829C-35B7-4081-93FD-C381AD92AAD7}" dt="2023-04-21T06:57:25.796" v="5129" actId="478"/>
          <ac:cxnSpMkLst>
            <pc:docMk/>
            <pc:sldMk cId="3500422461" sldId="2147479726"/>
            <ac:cxnSpMk id="154" creationId="{A59197D0-6167-B75D-CBB9-29A3B72272B2}"/>
          </ac:cxnSpMkLst>
        </pc:cxnChg>
        <pc:cxnChg chg="del">
          <ac:chgData name="Hu, Frank" userId="d3ad470f-91d8-4bd6-b171-9c10023cc60b" providerId="ADAL" clId="{F46F829C-35B7-4081-93FD-C381AD92AAD7}" dt="2023-04-21T06:57:25.796" v="5129" actId="478"/>
          <ac:cxnSpMkLst>
            <pc:docMk/>
            <pc:sldMk cId="3500422461" sldId="2147479726"/>
            <ac:cxnSpMk id="159" creationId="{934E2E0A-0A10-8183-3561-11369CF19062}"/>
          </ac:cxnSpMkLst>
        </pc:cxnChg>
        <pc:cxnChg chg="del">
          <ac:chgData name="Hu, Frank" userId="d3ad470f-91d8-4bd6-b171-9c10023cc60b" providerId="ADAL" clId="{F46F829C-35B7-4081-93FD-C381AD92AAD7}" dt="2023-04-21T06:57:25.796" v="5129" actId="478"/>
          <ac:cxnSpMkLst>
            <pc:docMk/>
            <pc:sldMk cId="3500422461" sldId="2147479726"/>
            <ac:cxnSpMk id="175" creationId="{8475DEDB-4F74-1BCE-C2E9-3AFDAE6D09AA}"/>
          </ac:cxnSpMkLst>
        </pc:cxnChg>
        <pc:cxnChg chg="del mod">
          <ac:chgData name="Hu, Frank" userId="d3ad470f-91d8-4bd6-b171-9c10023cc60b" providerId="ADAL" clId="{F46F829C-35B7-4081-93FD-C381AD92AAD7}" dt="2023-04-21T06:57:25.796" v="5129" actId="478"/>
          <ac:cxnSpMkLst>
            <pc:docMk/>
            <pc:sldMk cId="3500422461" sldId="2147479726"/>
            <ac:cxnSpMk id="181" creationId="{0BCA0FD6-EE58-62AC-5C31-95D1385553BC}"/>
          </ac:cxnSpMkLst>
        </pc:cxnChg>
        <pc:cxnChg chg="del mod">
          <ac:chgData name="Hu, Frank" userId="d3ad470f-91d8-4bd6-b171-9c10023cc60b" providerId="ADAL" clId="{F46F829C-35B7-4081-93FD-C381AD92AAD7}" dt="2023-04-21T06:56:06.105" v="5127" actId="478"/>
          <ac:cxnSpMkLst>
            <pc:docMk/>
            <pc:sldMk cId="3500422461" sldId="2147479726"/>
            <ac:cxnSpMk id="270" creationId="{B048208F-DF31-3EC0-0000-F571E99D810B}"/>
          </ac:cxnSpMkLst>
        </pc:cxnChg>
        <pc:cxnChg chg="del mod">
          <ac:chgData name="Hu, Frank" userId="d3ad470f-91d8-4bd6-b171-9c10023cc60b" providerId="ADAL" clId="{F46F829C-35B7-4081-93FD-C381AD92AAD7}" dt="2023-04-21T06:57:25.796" v="5129" actId="478"/>
          <ac:cxnSpMkLst>
            <pc:docMk/>
            <pc:sldMk cId="3500422461" sldId="2147479726"/>
            <ac:cxnSpMk id="274" creationId="{A5FD7AFB-FCE3-6830-2790-D97586EB52AF}"/>
          </ac:cxnSpMkLst>
        </pc:cxnChg>
      </pc:sldChg>
      <pc:sldChg chg="addSp delSp modSp new mod ord modShow">
        <pc:chgData name="Hu, Frank" userId="d3ad470f-91d8-4bd6-b171-9c10023cc60b" providerId="ADAL" clId="{F46F829C-35B7-4081-93FD-C381AD92AAD7}" dt="2023-04-27T09:44:43.710" v="12018"/>
        <pc:sldMkLst>
          <pc:docMk/>
          <pc:sldMk cId="228356037" sldId="2147479727"/>
        </pc:sldMkLst>
        <pc:spChg chg="mod">
          <ac:chgData name="Hu, Frank" userId="d3ad470f-91d8-4bd6-b171-9c10023cc60b" providerId="ADAL" clId="{F46F829C-35B7-4081-93FD-C381AD92AAD7}" dt="2023-04-23T11:42:57.167" v="6752"/>
          <ac:spMkLst>
            <pc:docMk/>
            <pc:sldMk cId="228356037" sldId="2147479727"/>
            <ac:spMk id="2" creationId="{3A73E0AD-2D05-1046-34F4-1E6D365C3756}"/>
          </ac:spMkLst>
        </pc:spChg>
        <pc:spChg chg="add del mod">
          <ac:chgData name="Hu, Frank" userId="d3ad470f-91d8-4bd6-b171-9c10023cc60b" providerId="ADAL" clId="{F46F829C-35B7-4081-93FD-C381AD92AAD7}" dt="2023-04-23T11:42:38.640" v="6749"/>
          <ac:spMkLst>
            <pc:docMk/>
            <pc:sldMk cId="228356037" sldId="2147479727"/>
            <ac:spMk id="4" creationId="{48C5CB8C-E52A-6991-F1CD-D1CB2E82E370}"/>
          </ac:spMkLst>
        </pc:spChg>
        <pc:spChg chg="add mod topLvl">
          <ac:chgData name="Hu, Frank" userId="d3ad470f-91d8-4bd6-b171-9c10023cc60b" providerId="ADAL" clId="{F46F829C-35B7-4081-93FD-C381AD92AAD7}" dt="2023-04-24T01:47:31.814" v="7380" actId="164"/>
          <ac:spMkLst>
            <pc:docMk/>
            <pc:sldMk cId="228356037" sldId="2147479727"/>
            <ac:spMk id="5" creationId="{74299109-8086-CB06-B139-3EC43A077BF9}"/>
          </ac:spMkLst>
        </pc:spChg>
        <pc:spChg chg="add mod topLvl">
          <ac:chgData name="Hu, Frank" userId="d3ad470f-91d8-4bd6-b171-9c10023cc60b" providerId="ADAL" clId="{F46F829C-35B7-4081-93FD-C381AD92AAD7}" dt="2023-04-24T01:47:31.814" v="7380" actId="164"/>
          <ac:spMkLst>
            <pc:docMk/>
            <pc:sldMk cId="228356037" sldId="2147479727"/>
            <ac:spMk id="6" creationId="{B7D11026-FB33-1F3B-C5C8-8E85CEA3CF2E}"/>
          </ac:spMkLst>
        </pc:spChg>
        <pc:spChg chg="add mod topLvl">
          <ac:chgData name="Hu, Frank" userId="d3ad470f-91d8-4bd6-b171-9c10023cc60b" providerId="ADAL" clId="{F46F829C-35B7-4081-93FD-C381AD92AAD7}" dt="2023-04-24T01:47:31.814" v="7380" actId="164"/>
          <ac:spMkLst>
            <pc:docMk/>
            <pc:sldMk cId="228356037" sldId="2147479727"/>
            <ac:spMk id="7" creationId="{896C714A-2EAF-7F96-CFCF-6A16C7EFC885}"/>
          </ac:spMkLst>
        </pc:spChg>
        <pc:spChg chg="add mod">
          <ac:chgData name="Hu, Frank" userId="d3ad470f-91d8-4bd6-b171-9c10023cc60b" providerId="ADAL" clId="{F46F829C-35B7-4081-93FD-C381AD92AAD7}" dt="2023-04-24T01:14:47.718" v="7122" actId="339"/>
          <ac:spMkLst>
            <pc:docMk/>
            <pc:sldMk cId="228356037" sldId="2147479727"/>
            <ac:spMk id="10" creationId="{DEA26D50-338F-983D-63E3-A070CDB2F6F6}"/>
          </ac:spMkLst>
        </pc:spChg>
        <pc:spChg chg="add mod">
          <ac:chgData name="Hu, Frank" userId="d3ad470f-91d8-4bd6-b171-9c10023cc60b" providerId="ADAL" clId="{F46F829C-35B7-4081-93FD-C381AD92AAD7}" dt="2023-04-23T12:00:33.746" v="6986" actId="20577"/>
          <ac:spMkLst>
            <pc:docMk/>
            <pc:sldMk cId="228356037" sldId="2147479727"/>
            <ac:spMk id="15" creationId="{C903F40E-99AD-9743-77E1-F374B77552A3}"/>
          </ac:spMkLst>
        </pc:spChg>
        <pc:spChg chg="add mod">
          <ac:chgData name="Hu, Frank" userId="d3ad470f-91d8-4bd6-b171-9c10023cc60b" providerId="ADAL" clId="{F46F829C-35B7-4081-93FD-C381AD92AAD7}" dt="2023-04-24T01:47:52.195" v="7386" actId="164"/>
          <ac:spMkLst>
            <pc:docMk/>
            <pc:sldMk cId="228356037" sldId="2147479727"/>
            <ac:spMk id="17" creationId="{2D6BC97A-9AD6-3C94-9AE2-772E4310070B}"/>
          </ac:spMkLst>
        </pc:spChg>
        <pc:spChg chg="add mod">
          <ac:chgData name="Hu, Frank" userId="d3ad470f-91d8-4bd6-b171-9c10023cc60b" providerId="ADAL" clId="{F46F829C-35B7-4081-93FD-C381AD92AAD7}" dt="2023-04-24T01:47:52.195" v="7386" actId="164"/>
          <ac:spMkLst>
            <pc:docMk/>
            <pc:sldMk cId="228356037" sldId="2147479727"/>
            <ac:spMk id="18" creationId="{9F6FC5B7-CAE5-FD95-CB9F-CAFE10063F89}"/>
          </ac:spMkLst>
        </pc:spChg>
        <pc:spChg chg="add mod">
          <ac:chgData name="Hu, Frank" userId="d3ad470f-91d8-4bd6-b171-9c10023cc60b" providerId="ADAL" clId="{F46F829C-35B7-4081-93FD-C381AD92AAD7}" dt="2023-04-24T01:47:52.195" v="7386" actId="164"/>
          <ac:spMkLst>
            <pc:docMk/>
            <pc:sldMk cId="228356037" sldId="2147479727"/>
            <ac:spMk id="19" creationId="{764686C1-EA13-6FF7-EF0F-746FF94B058D}"/>
          </ac:spMkLst>
        </pc:spChg>
        <pc:spChg chg="add mod">
          <ac:chgData name="Hu, Frank" userId="d3ad470f-91d8-4bd6-b171-9c10023cc60b" providerId="ADAL" clId="{F46F829C-35B7-4081-93FD-C381AD92AAD7}" dt="2023-04-24T01:47:52.195" v="7386" actId="164"/>
          <ac:spMkLst>
            <pc:docMk/>
            <pc:sldMk cId="228356037" sldId="2147479727"/>
            <ac:spMk id="20" creationId="{56EE0A0B-E73F-33A1-328A-8145C94CACDB}"/>
          </ac:spMkLst>
        </pc:spChg>
        <pc:spChg chg="add mod">
          <ac:chgData name="Hu, Frank" userId="d3ad470f-91d8-4bd6-b171-9c10023cc60b" providerId="ADAL" clId="{F46F829C-35B7-4081-93FD-C381AD92AAD7}" dt="2023-04-24T01:47:52.195" v="7386" actId="164"/>
          <ac:spMkLst>
            <pc:docMk/>
            <pc:sldMk cId="228356037" sldId="2147479727"/>
            <ac:spMk id="21" creationId="{3DDDDC3A-F28A-8374-ECAF-99F8A755462B}"/>
          </ac:spMkLst>
        </pc:spChg>
        <pc:spChg chg="add mod">
          <ac:chgData name="Hu, Frank" userId="d3ad470f-91d8-4bd6-b171-9c10023cc60b" providerId="ADAL" clId="{F46F829C-35B7-4081-93FD-C381AD92AAD7}" dt="2023-04-24T01:49:41.395" v="7409" actId="1076"/>
          <ac:spMkLst>
            <pc:docMk/>
            <pc:sldMk cId="228356037" sldId="2147479727"/>
            <ac:spMk id="22" creationId="{A5D483F1-8283-7EBA-854A-2D22439068B3}"/>
          </ac:spMkLst>
        </pc:spChg>
        <pc:spChg chg="add del mod">
          <ac:chgData name="Hu, Frank" userId="d3ad470f-91d8-4bd6-b171-9c10023cc60b" providerId="ADAL" clId="{F46F829C-35B7-4081-93FD-C381AD92AAD7}" dt="2023-04-23T11:51:28.503" v="6837"/>
          <ac:spMkLst>
            <pc:docMk/>
            <pc:sldMk cId="228356037" sldId="2147479727"/>
            <ac:spMk id="23" creationId="{83CA32D2-1583-3B87-E0FD-7483E9EA4263}"/>
          </ac:spMkLst>
        </pc:spChg>
        <pc:spChg chg="add del mod">
          <ac:chgData name="Hu, Frank" userId="d3ad470f-91d8-4bd6-b171-9c10023cc60b" providerId="ADAL" clId="{F46F829C-35B7-4081-93FD-C381AD92AAD7}" dt="2023-04-23T11:51:28.503" v="6837"/>
          <ac:spMkLst>
            <pc:docMk/>
            <pc:sldMk cId="228356037" sldId="2147479727"/>
            <ac:spMk id="24" creationId="{E41DBA2B-9FCD-4C54-B00D-9C3F546ABC98}"/>
          </ac:spMkLst>
        </pc:spChg>
        <pc:spChg chg="add del mod">
          <ac:chgData name="Hu, Frank" userId="d3ad470f-91d8-4bd6-b171-9c10023cc60b" providerId="ADAL" clId="{F46F829C-35B7-4081-93FD-C381AD92AAD7}" dt="2023-04-23T11:51:28.503" v="6837"/>
          <ac:spMkLst>
            <pc:docMk/>
            <pc:sldMk cId="228356037" sldId="2147479727"/>
            <ac:spMk id="25" creationId="{F9F6E191-880E-A07C-FA5F-47A8B98C31CC}"/>
          </ac:spMkLst>
        </pc:spChg>
        <pc:spChg chg="add del mod">
          <ac:chgData name="Hu, Frank" userId="d3ad470f-91d8-4bd6-b171-9c10023cc60b" providerId="ADAL" clId="{F46F829C-35B7-4081-93FD-C381AD92AAD7}" dt="2023-04-23T11:51:28.503" v="6837"/>
          <ac:spMkLst>
            <pc:docMk/>
            <pc:sldMk cId="228356037" sldId="2147479727"/>
            <ac:spMk id="26" creationId="{C5D65C9B-B50B-1708-0C22-989C0D6A4262}"/>
          </ac:spMkLst>
        </pc:spChg>
        <pc:spChg chg="add del mod">
          <ac:chgData name="Hu, Frank" userId="d3ad470f-91d8-4bd6-b171-9c10023cc60b" providerId="ADAL" clId="{F46F829C-35B7-4081-93FD-C381AD92AAD7}" dt="2023-04-23T11:51:28.503" v="6837"/>
          <ac:spMkLst>
            <pc:docMk/>
            <pc:sldMk cId="228356037" sldId="2147479727"/>
            <ac:spMk id="27" creationId="{14773F92-6B57-AF99-52F8-A7CBFEBDBC30}"/>
          </ac:spMkLst>
        </pc:spChg>
        <pc:spChg chg="add del mod">
          <ac:chgData name="Hu, Frank" userId="d3ad470f-91d8-4bd6-b171-9c10023cc60b" providerId="ADAL" clId="{F46F829C-35B7-4081-93FD-C381AD92AAD7}" dt="2023-04-23T11:51:28.503" v="6837"/>
          <ac:spMkLst>
            <pc:docMk/>
            <pc:sldMk cId="228356037" sldId="2147479727"/>
            <ac:spMk id="28" creationId="{46B12C27-5052-E578-EB4C-D2536363F82D}"/>
          </ac:spMkLst>
        </pc:spChg>
        <pc:spChg chg="add del mod">
          <ac:chgData name="Hu, Frank" userId="d3ad470f-91d8-4bd6-b171-9c10023cc60b" providerId="ADAL" clId="{F46F829C-35B7-4081-93FD-C381AD92AAD7}" dt="2023-04-23T11:51:28.503" v="6837"/>
          <ac:spMkLst>
            <pc:docMk/>
            <pc:sldMk cId="228356037" sldId="2147479727"/>
            <ac:spMk id="29" creationId="{1D88F20A-2AE7-5B79-1FBC-BFA06296EDD8}"/>
          </ac:spMkLst>
        </pc:spChg>
        <pc:spChg chg="add del mod">
          <ac:chgData name="Hu, Frank" userId="d3ad470f-91d8-4bd6-b171-9c10023cc60b" providerId="ADAL" clId="{F46F829C-35B7-4081-93FD-C381AD92AAD7}" dt="2023-04-23T11:51:28.503" v="6837"/>
          <ac:spMkLst>
            <pc:docMk/>
            <pc:sldMk cId="228356037" sldId="2147479727"/>
            <ac:spMk id="30" creationId="{C9E1F02A-AC20-5249-0923-4BE3FBDA6E23}"/>
          </ac:spMkLst>
        </pc:spChg>
        <pc:spChg chg="add mod">
          <ac:chgData name="Hu, Frank" userId="d3ad470f-91d8-4bd6-b171-9c10023cc60b" providerId="ADAL" clId="{F46F829C-35B7-4081-93FD-C381AD92AAD7}" dt="2023-04-24T01:45:19.503" v="7335" actId="164"/>
          <ac:spMkLst>
            <pc:docMk/>
            <pc:sldMk cId="228356037" sldId="2147479727"/>
            <ac:spMk id="31" creationId="{3C054AF7-331C-30BA-FE56-22A2B102F34A}"/>
          </ac:spMkLst>
        </pc:spChg>
        <pc:spChg chg="add mod">
          <ac:chgData name="Hu, Frank" userId="d3ad470f-91d8-4bd6-b171-9c10023cc60b" providerId="ADAL" clId="{F46F829C-35B7-4081-93FD-C381AD92AAD7}" dt="2023-04-24T01:45:19.503" v="7335" actId="164"/>
          <ac:spMkLst>
            <pc:docMk/>
            <pc:sldMk cId="228356037" sldId="2147479727"/>
            <ac:spMk id="32" creationId="{F2B804C3-F756-4C54-1657-E8F003C23018}"/>
          </ac:spMkLst>
        </pc:spChg>
        <pc:spChg chg="add mod">
          <ac:chgData name="Hu, Frank" userId="d3ad470f-91d8-4bd6-b171-9c10023cc60b" providerId="ADAL" clId="{F46F829C-35B7-4081-93FD-C381AD92AAD7}" dt="2023-04-24T01:45:19.503" v="7335" actId="164"/>
          <ac:spMkLst>
            <pc:docMk/>
            <pc:sldMk cId="228356037" sldId="2147479727"/>
            <ac:spMk id="33" creationId="{14313F00-A39A-7132-D030-EA5B9E8B715B}"/>
          </ac:spMkLst>
        </pc:spChg>
        <pc:spChg chg="add mod">
          <ac:chgData name="Hu, Frank" userId="d3ad470f-91d8-4bd6-b171-9c10023cc60b" providerId="ADAL" clId="{F46F829C-35B7-4081-93FD-C381AD92AAD7}" dt="2023-04-24T01:45:07.423" v="7333" actId="164"/>
          <ac:spMkLst>
            <pc:docMk/>
            <pc:sldMk cId="228356037" sldId="2147479727"/>
            <ac:spMk id="34" creationId="{B004F9C6-84AA-3285-3C3B-1632DF05FCAD}"/>
          </ac:spMkLst>
        </pc:spChg>
        <pc:spChg chg="add mod">
          <ac:chgData name="Hu, Frank" userId="d3ad470f-91d8-4bd6-b171-9c10023cc60b" providerId="ADAL" clId="{F46F829C-35B7-4081-93FD-C381AD92AAD7}" dt="2023-04-24T01:45:07.423" v="7333" actId="164"/>
          <ac:spMkLst>
            <pc:docMk/>
            <pc:sldMk cId="228356037" sldId="2147479727"/>
            <ac:spMk id="35" creationId="{B9AA8244-5BBD-FBC1-EA11-DF201735C790}"/>
          </ac:spMkLst>
        </pc:spChg>
        <pc:spChg chg="add mod">
          <ac:chgData name="Hu, Frank" userId="d3ad470f-91d8-4bd6-b171-9c10023cc60b" providerId="ADAL" clId="{F46F829C-35B7-4081-93FD-C381AD92AAD7}" dt="2023-04-24T01:45:07.423" v="7333" actId="164"/>
          <ac:spMkLst>
            <pc:docMk/>
            <pc:sldMk cId="228356037" sldId="2147479727"/>
            <ac:spMk id="36" creationId="{ED88D577-3FD7-9D9D-434F-B55885DD9387}"/>
          </ac:spMkLst>
        </pc:spChg>
        <pc:spChg chg="add mod">
          <ac:chgData name="Hu, Frank" userId="d3ad470f-91d8-4bd6-b171-9c10023cc60b" providerId="ADAL" clId="{F46F829C-35B7-4081-93FD-C381AD92AAD7}" dt="2023-04-24T01:45:19.503" v="7335" actId="164"/>
          <ac:spMkLst>
            <pc:docMk/>
            <pc:sldMk cId="228356037" sldId="2147479727"/>
            <ac:spMk id="37" creationId="{E4932F23-7523-53B5-299F-D3FEA1287EF1}"/>
          </ac:spMkLst>
        </pc:spChg>
        <pc:spChg chg="add mod">
          <ac:chgData name="Hu, Frank" userId="d3ad470f-91d8-4bd6-b171-9c10023cc60b" providerId="ADAL" clId="{F46F829C-35B7-4081-93FD-C381AD92AAD7}" dt="2023-04-24T01:45:07.423" v="7333" actId="164"/>
          <ac:spMkLst>
            <pc:docMk/>
            <pc:sldMk cId="228356037" sldId="2147479727"/>
            <ac:spMk id="38" creationId="{50CFAB0F-9B88-F4E5-03FB-65AF9025499C}"/>
          </ac:spMkLst>
        </pc:spChg>
        <pc:spChg chg="add mod">
          <ac:chgData name="Hu, Frank" userId="d3ad470f-91d8-4bd6-b171-9c10023cc60b" providerId="ADAL" clId="{F46F829C-35B7-4081-93FD-C381AD92AAD7}" dt="2023-04-24T01:45:35.656" v="7338" actId="164"/>
          <ac:spMkLst>
            <pc:docMk/>
            <pc:sldMk cId="228356037" sldId="2147479727"/>
            <ac:spMk id="39" creationId="{C78F4FC7-4801-DEE1-8213-26E4769580FB}"/>
          </ac:spMkLst>
        </pc:spChg>
        <pc:spChg chg="add mod">
          <ac:chgData name="Hu, Frank" userId="d3ad470f-91d8-4bd6-b171-9c10023cc60b" providerId="ADAL" clId="{F46F829C-35B7-4081-93FD-C381AD92AAD7}" dt="2023-04-24T01:45:35.656" v="7338" actId="164"/>
          <ac:spMkLst>
            <pc:docMk/>
            <pc:sldMk cId="228356037" sldId="2147479727"/>
            <ac:spMk id="40" creationId="{F61F0C1B-88CE-6A48-04DE-F2B93F562911}"/>
          </ac:spMkLst>
        </pc:spChg>
        <pc:spChg chg="add mod">
          <ac:chgData name="Hu, Frank" userId="d3ad470f-91d8-4bd6-b171-9c10023cc60b" providerId="ADAL" clId="{F46F829C-35B7-4081-93FD-C381AD92AAD7}" dt="2023-04-24T01:45:35.656" v="7338" actId="164"/>
          <ac:spMkLst>
            <pc:docMk/>
            <pc:sldMk cId="228356037" sldId="2147479727"/>
            <ac:spMk id="41" creationId="{5482D927-5327-5817-795D-E70C9D91C0B5}"/>
          </ac:spMkLst>
        </pc:spChg>
        <pc:spChg chg="add mod">
          <ac:chgData name="Hu, Frank" userId="d3ad470f-91d8-4bd6-b171-9c10023cc60b" providerId="ADAL" clId="{F46F829C-35B7-4081-93FD-C381AD92AAD7}" dt="2023-04-24T01:49:26.205" v="7403" actId="1076"/>
          <ac:spMkLst>
            <pc:docMk/>
            <pc:sldMk cId="228356037" sldId="2147479727"/>
            <ac:spMk id="42" creationId="{8BA36783-96F4-7599-D669-5C5D817F3CBA}"/>
          </ac:spMkLst>
        </pc:spChg>
        <pc:spChg chg="add mod">
          <ac:chgData name="Hu, Frank" userId="d3ad470f-91d8-4bd6-b171-9c10023cc60b" providerId="ADAL" clId="{F46F829C-35B7-4081-93FD-C381AD92AAD7}" dt="2023-04-24T01:46:04.232" v="7346" actId="164"/>
          <ac:spMkLst>
            <pc:docMk/>
            <pc:sldMk cId="228356037" sldId="2147479727"/>
            <ac:spMk id="43" creationId="{E16B5BD5-7CEA-A9E7-52F1-16F7F7000C67}"/>
          </ac:spMkLst>
        </pc:spChg>
        <pc:spChg chg="add mod topLvl">
          <ac:chgData name="Hu, Frank" userId="d3ad470f-91d8-4bd6-b171-9c10023cc60b" providerId="ADAL" clId="{F46F829C-35B7-4081-93FD-C381AD92AAD7}" dt="2023-04-24T01:50:04.485" v="7415" actId="1076"/>
          <ac:spMkLst>
            <pc:docMk/>
            <pc:sldMk cId="228356037" sldId="2147479727"/>
            <ac:spMk id="44" creationId="{3D379139-526D-07A8-42E8-F9798D5E2D20}"/>
          </ac:spMkLst>
        </pc:spChg>
        <pc:spChg chg="add mod topLvl">
          <ac:chgData name="Hu, Frank" userId="d3ad470f-91d8-4bd6-b171-9c10023cc60b" providerId="ADAL" clId="{F46F829C-35B7-4081-93FD-C381AD92AAD7}" dt="2023-04-24T01:50:10.736" v="7433" actId="1036"/>
          <ac:spMkLst>
            <pc:docMk/>
            <pc:sldMk cId="228356037" sldId="2147479727"/>
            <ac:spMk id="45" creationId="{74276787-A78C-EDED-B80D-B4ADF02002E1}"/>
          </ac:spMkLst>
        </pc:spChg>
        <pc:spChg chg="add mod topLvl">
          <ac:chgData name="Hu, Frank" userId="d3ad470f-91d8-4bd6-b171-9c10023cc60b" providerId="ADAL" clId="{F46F829C-35B7-4081-93FD-C381AD92AAD7}" dt="2023-04-24T01:50:10.736" v="7433" actId="1036"/>
          <ac:spMkLst>
            <pc:docMk/>
            <pc:sldMk cId="228356037" sldId="2147479727"/>
            <ac:spMk id="46" creationId="{CD4C1104-DF81-CBED-E00C-AA861A02DA33}"/>
          </ac:spMkLst>
        </pc:spChg>
        <pc:spChg chg="add mod">
          <ac:chgData name="Hu, Frank" userId="d3ad470f-91d8-4bd6-b171-9c10023cc60b" providerId="ADAL" clId="{F46F829C-35B7-4081-93FD-C381AD92AAD7}" dt="2023-04-24T01:46:04.232" v="7346" actId="164"/>
          <ac:spMkLst>
            <pc:docMk/>
            <pc:sldMk cId="228356037" sldId="2147479727"/>
            <ac:spMk id="47" creationId="{2FF456E8-A82F-5421-DA53-983D84A8F021}"/>
          </ac:spMkLst>
        </pc:spChg>
        <pc:spChg chg="add mod">
          <ac:chgData name="Hu, Frank" userId="d3ad470f-91d8-4bd6-b171-9c10023cc60b" providerId="ADAL" clId="{F46F829C-35B7-4081-93FD-C381AD92AAD7}" dt="2023-04-24T01:46:04.232" v="7346" actId="164"/>
          <ac:spMkLst>
            <pc:docMk/>
            <pc:sldMk cId="228356037" sldId="2147479727"/>
            <ac:spMk id="48" creationId="{6228E9B3-F4BB-6C51-4A23-4A494C964027}"/>
          </ac:spMkLst>
        </pc:spChg>
        <pc:spChg chg="add mod">
          <ac:chgData name="Hu, Frank" userId="d3ad470f-91d8-4bd6-b171-9c10023cc60b" providerId="ADAL" clId="{F46F829C-35B7-4081-93FD-C381AD92AAD7}" dt="2023-04-24T01:47:40.885" v="7383" actId="1076"/>
          <ac:spMkLst>
            <pc:docMk/>
            <pc:sldMk cId="228356037" sldId="2147479727"/>
            <ac:spMk id="49" creationId="{A37AF763-C9EF-945E-F7B1-26ABC5905947}"/>
          </ac:spMkLst>
        </pc:spChg>
        <pc:spChg chg="add mod">
          <ac:chgData name="Hu, Frank" userId="d3ad470f-91d8-4bd6-b171-9c10023cc60b" providerId="ADAL" clId="{F46F829C-35B7-4081-93FD-C381AD92AAD7}" dt="2023-04-24T01:49:35.974" v="7405" actId="1076"/>
          <ac:spMkLst>
            <pc:docMk/>
            <pc:sldMk cId="228356037" sldId="2147479727"/>
            <ac:spMk id="50" creationId="{010FDE6E-8DFB-62C4-8C2C-456773715A56}"/>
          </ac:spMkLst>
        </pc:spChg>
        <pc:spChg chg="add mod">
          <ac:chgData name="Hu, Frank" userId="d3ad470f-91d8-4bd6-b171-9c10023cc60b" providerId="ADAL" clId="{F46F829C-35B7-4081-93FD-C381AD92AAD7}" dt="2023-04-24T01:50:19.910" v="7434" actId="1076"/>
          <ac:spMkLst>
            <pc:docMk/>
            <pc:sldMk cId="228356037" sldId="2147479727"/>
            <ac:spMk id="51" creationId="{44217B78-A93C-3DF6-BE00-A462FC346D61}"/>
          </ac:spMkLst>
        </pc:spChg>
        <pc:spChg chg="add mod">
          <ac:chgData name="Hu, Frank" userId="d3ad470f-91d8-4bd6-b171-9c10023cc60b" providerId="ADAL" clId="{F46F829C-35B7-4081-93FD-C381AD92AAD7}" dt="2023-04-24T02:03:17.503" v="7559" actId="164"/>
          <ac:spMkLst>
            <pc:docMk/>
            <pc:sldMk cId="228356037" sldId="2147479727"/>
            <ac:spMk id="52" creationId="{22A07A88-E44B-2C33-6CCD-050CA1089D36}"/>
          </ac:spMkLst>
        </pc:spChg>
        <pc:spChg chg="add mod">
          <ac:chgData name="Hu, Frank" userId="d3ad470f-91d8-4bd6-b171-9c10023cc60b" providerId="ADAL" clId="{F46F829C-35B7-4081-93FD-C381AD92AAD7}" dt="2023-04-24T02:03:17.503" v="7559" actId="164"/>
          <ac:spMkLst>
            <pc:docMk/>
            <pc:sldMk cId="228356037" sldId="2147479727"/>
            <ac:spMk id="53" creationId="{68592AD0-2500-FEEB-CD26-214AC6861468}"/>
          </ac:spMkLst>
        </pc:spChg>
        <pc:spChg chg="add mod">
          <ac:chgData name="Hu, Frank" userId="d3ad470f-91d8-4bd6-b171-9c10023cc60b" providerId="ADAL" clId="{F46F829C-35B7-4081-93FD-C381AD92AAD7}" dt="2023-04-24T02:03:17.503" v="7559" actId="164"/>
          <ac:spMkLst>
            <pc:docMk/>
            <pc:sldMk cId="228356037" sldId="2147479727"/>
            <ac:spMk id="54" creationId="{1B05EBCF-FA63-68CC-750A-1A028B2B67A4}"/>
          </ac:spMkLst>
        </pc:spChg>
        <pc:spChg chg="add mod">
          <ac:chgData name="Hu, Frank" userId="d3ad470f-91d8-4bd6-b171-9c10023cc60b" providerId="ADAL" clId="{F46F829C-35B7-4081-93FD-C381AD92AAD7}" dt="2023-04-24T02:03:17.503" v="7559" actId="164"/>
          <ac:spMkLst>
            <pc:docMk/>
            <pc:sldMk cId="228356037" sldId="2147479727"/>
            <ac:spMk id="55" creationId="{9DB89681-AA89-BDD1-8F93-CCD9A3B59353}"/>
          </ac:spMkLst>
        </pc:spChg>
        <pc:spChg chg="add mod">
          <ac:chgData name="Hu, Frank" userId="d3ad470f-91d8-4bd6-b171-9c10023cc60b" providerId="ADAL" clId="{F46F829C-35B7-4081-93FD-C381AD92AAD7}" dt="2023-04-24T02:03:17.503" v="7559" actId="164"/>
          <ac:spMkLst>
            <pc:docMk/>
            <pc:sldMk cId="228356037" sldId="2147479727"/>
            <ac:spMk id="56" creationId="{9C3DA5A6-8FDC-8821-50EC-3969E3DDA9E3}"/>
          </ac:spMkLst>
        </pc:spChg>
        <pc:spChg chg="add mod">
          <ac:chgData name="Hu, Frank" userId="d3ad470f-91d8-4bd6-b171-9c10023cc60b" providerId="ADAL" clId="{F46F829C-35B7-4081-93FD-C381AD92AAD7}" dt="2023-04-24T02:03:17.503" v="7559" actId="164"/>
          <ac:spMkLst>
            <pc:docMk/>
            <pc:sldMk cId="228356037" sldId="2147479727"/>
            <ac:spMk id="57" creationId="{9E72D5A7-3818-5D42-5F01-DE3C272C3D8D}"/>
          </ac:spMkLst>
        </pc:spChg>
        <pc:spChg chg="add del mod">
          <ac:chgData name="Hu, Frank" userId="d3ad470f-91d8-4bd6-b171-9c10023cc60b" providerId="ADAL" clId="{F46F829C-35B7-4081-93FD-C381AD92AAD7}" dt="2023-04-23T11:58:58.066" v="6931" actId="478"/>
          <ac:spMkLst>
            <pc:docMk/>
            <pc:sldMk cId="228356037" sldId="2147479727"/>
            <ac:spMk id="58" creationId="{B98B5D08-529D-1079-E3A1-2172A86F7955}"/>
          </ac:spMkLst>
        </pc:spChg>
        <pc:spChg chg="add mod">
          <ac:chgData name="Hu, Frank" userId="d3ad470f-91d8-4bd6-b171-9c10023cc60b" providerId="ADAL" clId="{F46F829C-35B7-4081-93FD-C381AD92AAD7}" dt="2023-04-24T02:03:37.364" v="7564" actId="164"/>
          <ac:spMkLst>
            <pc:docMk/>
            <pc:sldMk cId="228356037" sldId="2147479727"/>
            <ac:spMk id="61" creationId="{EF90758B-135C-B112-057A-1039ACF5E1F5}"/>
          </ac:spMkLst>
        </pc:spChg>
        <pc:spChg chg="add mod">
          <ac:chgData name="Hu, Frank" userId="d3ad470f-91d8-4bd6-b171-9c10023cc60b" providerId="ADAL" clId="{F46F829C-35B7-4081-93FD-C381AD92AAD7}" dt="2023-04-24T02:03:37.364" v="7564" actId="164"/>
          <ac:spMkLst>
            <pc:docMk/>
            <pc:sldMk cId="228356037" sldId="2147479727"/>
            <ac:spMk id="62" creationId="{71804DF3-C78F-AA6E-A66A-2EA511E7F560}"/>
          </ac:spMkLst>
        </pc:spChg>
        <pc:spChg chg="add mod">
          <ac:chgData name="Hu, Frank" userId="d3ad470f-91d8-4bd6-b171-9c10023cc60b" providerId="ADAL" clId="{F46F829C-35B7-4081-93FD-C381AD92AAD7}" dt="2023-04-24T02:03:37.364" v="7564" actId="164"/>
          <ac:spMkLst>
            <pc:docMk/>
            <pc:sldMk cId="228356037" sldId="2147479727"/>
            <ac:spMk id="63" creationId="{D65332B9-2FD3-D3A8-B15F-E501E52654D9}"/>
          </ac:spMkLst>
        </pc:spChg>
        <pc:spChg chg="add mod">
          <ac:chgData name="Hu, Frank" userId="d3ad470f-91d8-4bd6-b171-9c10023cc60b" providerId="ADAL" clId="{F46F829C-35B7-4081-93FD-C381AD92AAD7}" dt="2023-04-24T02:03:27.998" v="7561" actId="1076"/>
          <ac:spMkLst>
            <pc:docMk/>
            <pc:sldMk cId="228356037" sldId="2147479727"/>
            <ac:spMk id="65" creationId="{692B17C3-E824-3D78-11E5-561AA9B7D818}"/>
          </ac:spMkLst>
        </pc:spChg>
        <pc:spChg chg="add mod">
          <ac:chgData name="Hu, Frank" userId="d3ad470f-91d8-4bd6-b171-9c10023cc60b" providerId="ADAL" clId="{F46F829C-35B7-4081-93FD-C381AD92AAD7}" dt="2023-04-24T01:48:25.821" v="7391" actId="164"/>
          <ac:spMkLst>
            <pc:docMk/>
            <pc:sldMk cId="228356037" sldId="2147479727"/>
            <ac:spMk id="66" creationId="{13445C6C-DD34-903C-C808-23566AB11C81}"/>
          </ac:spMkLst>
        </pc:spChg>
        <pc:spChg chg="add mod">
          <ac:chgData name="Hu, Frank" userId="d3ad470f-91d8-4bd6-b171-9c10023cc60b" providerId="ADAL" clId="{F46F829C-35B7-4081-93FD-C381AD92AAD7}" dt="2023-04-24T01:48:25.821" v="7391" actId="164"/>
          <ac:spMkLst>
            <pc:docMk/>
            <pc:sldMk cId="228356037" sldId="2147479727"/>
            <ac:spMk id="67" creationId="{94BDAC32-8D83-F53B-D34E-734EC4819164}"/>
          </ac:spMkLst>
        </pc:spChg>
        <pc:spChg chg="add mod">
          <ac:chgData name="Hu, Frank" userId="d3ad470f-91d8-4bd6-b171-9c10023cc60b" providerId="ADAL" clId="{F46F829C-35B7-4081-93FD-C381AD92AAD7}" dt="2023-04-24T01:48:25.821" v="7391" actId="164"/>
          <ac:spMkLst>
            <pc:docMk/>
            <pc:sldMk cId="228356037" sldId="2147479727"/>
            <ac:spMk id="68" creationId="{A752A22C-F00E-4112-8C34-AC26D1802732}"/>
          </ac:spMkLst>
        </pc:spChg>
        <pc:spChg chg="add mod">
          <ac:chgData name="Hu, Frank" userId="d3ad470f-91d8-4bd6-b171-9c10023cc60b" providerId="ADAL" clId="{F46F829C-35B7-4081-93FD-C381AD92AAD7}" dt="2023-04-24T01:48:58.339" v="7399" actId="164"/>
          <ac:spMkLst>
            <pc:docMk/>
            <pc:sldMk cId="228356037" sldId="2147479727"/>
            <ac:spMk id="69" creationId="{03526436-208D-372C-FA8F-726F35C4C148}"/>
          </ac:spMkLst>
        </pc:spChg>
        <pc:spChg chg="add mod">
          <ac:chgData name="Hu, Frank" userId="d3ad470f-91d8-4bd6-b171-9c10023cc60b" providerId="ADAL" clId="{F46F829C-35B7-4081-93FD-C381AD92AAD7}" dt="2023-04-24T01:48:58.339" v="7399" actId="164"/>
          <ac:spMkLst>
            <pc:docMk/>
            <pc:sldMk cId="228356037" sldId="2147479727"/>
            <ac:spMk id="70" creationId="{A720CD17-1790-0CB4-8E96-CDD26D88C7BD}"/>
          </ac:spMkLst>
        </pc:spChg>
        <pc:spChg chg="add mod">
          <ac:chgData name="Hu, Frank" userId="d3ad470f-91d8-4bd6-b171-9c10023cc60b" providerId="ADAL" clId="{F46F829C-35B7-4081-93FD-C381AD92AAD7}" dt="2023-04-24T01:48:58.339" v="7399" actId="164"/>
          <ac:spMkLst>
            <pc:docMk/>
            <pc:sldMk cId="228356037" sldId="2147479727"/>
            <ac:spMk id="71" creationId="{F82F12CF-9E13-4313-FF0F-47FF5C5B5A0D}"/>
          </ac:spMkLst>
        </pc:spChg>
        <pc:spChg chg="add mod">
          <ac:chgData name="Hu, Frank" userId="d3ad470f-91d8-4bd6-b171-9c10023cc60b" providerId="ADAL" clId="{F46F829C-35B7-4081-93FD-C381AD92AAD7}" dt="2023-04-24T01:48:58.339" v="7399" actId="164"/>
          <ac:spMkLst>
            <pc:docMk/>
            <pc:sldMk cId="228356037" sldId="2147479727"/>
            <ac:spMk id="72" creationId="{E625DFFA-62F1-D24E-E6FB-ECBBE77D0CF7}"/>
          </ac:spMkLst>
        </pc:spChg>
        <pc:spChg chg="add mod">
          <ac:chgData name="Hu, Frank" userId="d3ad470f-91d8-4bd6-b171-9c10023cc60b" providerId="ADAL" clId="{F46F829C-35B7-4081-93FD-C381AD92AAD7}" dt="2023-04-24T01:48:58.339" v="7399" actId="164"/>
          <ac:spMkLst>
            <pc:docMk/>
            <pc:sldMk cId="228356037" sldId="2147479727"/>
            <ac:spMk id="73" creationId="{C37D08AC-AB1A-65C8-4B55-5D70023032B3}"/>
          </ac:spMkLst>
        </pc:spChg>
        <pc:spChg chg="add mod">
          <ac:chgData name="Hu, Frank" userId="d3ad470f-91d8-4bd6-b171-9c10023cc60b" providerId="ADAL" clId="{F46F829C-35B7-4081-93FD-C381AD92AAD7}" dt="2023-04-24T01:48:58.339" v="7399" actId="164"/>
          <ac:spMkLst>
            <pc:docMk/>
            <pc:sldMk cId="228356037" sldId="2147479727"/>
            <ac:spMk id="74" creationId="{A48FA75C-807C-3E6E-3C2A-A11B75AA53E3}"/>
          </ac:spMkLst>
        </pc:spChg>
        <pc:spChg chg="add mod">
          <ac:chgData name="Hu, Frank" userId="d3ad470f-91d8-4bd6-b171-9c10023cc60b" providerId="ADAL" clId="{F46F829C-35B7-4081-93FD-C381AD92AAD7}" dt="2023-04-24T01:48:58.339" v="7399" actId="164"/>
          <ac:spMkLst>
            <pc:docMk/>
            <pc:sldMk cId="228356037" sldId="2147479727"/>
            <ac:spMk id="75" creationId="{6F2CBF8C-65C6-0770-5D11-9B60CF759F87}"/>
          </ac:spMkLst>
        </pc:spChg>
        <pc:spChg chg="add mod">
          <ac:chgData name="Hu, Frank" userId="d3ad470f-91d8-4bd6-b171-9c10023cc60b" providerId="ADAL" clId="{F46F829C-35B7-4081-93FD-C381AD92AAD7}" dt="2023-04-24T01:48:58.339" v="7399" actId="164"/>
          <ac:spMkLst>
            <pc:docMk/>
            <pc:sldMk cId="228356037" sldId="2147479727"/>
            <ac:spMk id="76" creationId="{38674143-A3F9-D068-0031-E9B4530CABA2}"/>
          </ac:spMkLst>
        </pc:spChg>
        <pc:spChg chg="add mod">
          <ac:chgData name="Hu, Frank" userId="d3ad470f-91d8-4bd6-b171-9c10023cc60b" providerId="ADAL" clId="{F46F829C-35B7-4081-93FD-C381AD92AAD7}" dt="2023-04-24T01:48:58.339" v="7399" actId="164"/>
          <ac:spMkLst>
            <pc:docMk/>
            <pc:sldMk cId="228356037" sldId="2147479727"/>
            <ac:spMk id="77" creationId="{91B50B5A-0376-CDAF-9AF9-6095BD3C17F3}"/>
          </ac:spMkLst>
        </pc:spChg>
        <pc:spChg chg="add mod">
          <ac:chgData name="Hu, Frank" userId="d3ad470f-91d8-4bd6-b171-9c10023cc60b" providerId="ADAL" clId="{F46F829C-35B7-4081-93FD-C381AD92AAD7}" dt="2023-04-24T02:19:07.414" v="7765" actId="1076"/>
          <ac:spMkLst>
            <pc:docMk/>
            <pc:sldMk cId="228356037" sldId="2147479727"/>
            <ac:spMk id="78" creationId="{37AE64C9-AFCD-C59D-510E-013D1F7708C6}"/>
          </ac:spMkLst>
        </pc:spChg>
        <pc:spChg chg="add mod">
          <ac:chgData name="Hu, Frank" userId="d3ad470f-91d8-4bd6-b171-9c10023cc60b" providerId="ADAL" clId="{F46F829C-35B7-4081-93FD-C381AD92AAD7}" dt="2023-04-24T01:30:13.982" v="7314" actId="403"/>
          <ac:spMkLst>
            <pc:docMk/>
            <pc:sldMk cId="228356037" sldId="2147479727"/>
            <ac:spMk id="79" creationId="{BC3E550A-49AE-033F-D9AE-EF4E366BD269}"/>
          </ac:spMkLst>
        </pc:spChg>
        <pc:spChg chg="add mod">
          <ac:chgData name="Hu, Frank" userId="d3ad470f-91d8-4bd6-b171-9c10023cc60b" providerId="ADAL" clId="{F46F829C-35B7-4081-93FD-C381AD92AAD7}" dt="2023-04-24T01:37:00.487" v="7330" actId="14100"/>
          <ac:spMkLst>
            <pc:docMk/>
            <pc:sldMk cId="228356037" sldId="2147479727"/>
            <ac:spMk id="80" creationId="{F32CF74B-7243-0131-8EB5-E72B7C0BBE43}"/>
          </ac:spMkLst>
        </pc:spChg>
        <pc:spChg chg="add mod">
          <ac:chgData name="Hu, Frank" userId="d3ad470f-91d8-4bd6-b171-9c10023cc60b" providerId="ADAL" clId="{F46F829C-35B7-4081-93FD-C381AD92AAD7}" dt="2023-04-24T01:48:36.093" v="7393" actId="1076"/>
          <ac:spMkLst>
            <pc:docMk/>
            <pc:sldMk cId="228356037" sldId="2147479727"/>
            <ac:spMk id="81" creationId="{4C6EBD25-910E-8053-C44C-10BFC70B1AC5}"/>
          </ac:spMkLst>
        </pc:spChg>
        <pc:spChg chg="add mod">
          <ac:chgData name="Hu, Frank" userId="d3ad470f-91d8-4bd6-b171-9c10023cc60b" providerId="ADAL" clId="{F46F829C-35B7-4081-93FD-C381AD92AAD7}" dt="2023-04-24T01:48:39.221" v="7394" actId="1076"/>
          <ac:spMkLst>
            <pc:docMk/>
            <pc:sldMk cId="228356037" sldId="2147479727"/>
            <ac:spMk id="82" creationId="{5AB3BDE1-CB28-6C52-DD84-F778FCCC76ED}"/>
          </ac:spMkLst>
        </pc:spChg>
        <pc:spChg chg="add mod">
          <ac:chgData name="Hu, Frank" userId="d3ad470f-91d8-4bd6-b171-9c10023cc60b" providerId="ADAL" clId="{F46F829C-35B7-4081-93FD-C381AD92AAD7}" dt="2023-04-24T02:03:00.766" v="7556" actId="14100"/>
          <ac:spMkLst>
            <pc:docMk/>
            <pc:sldMk cId="228356037" sldId="2147479727"/>
            <ac:spMk id="83" creationId="{B57CF56E-2ED8-ED81-CC23-E220F985E582}"/>
          </ac:spMkLst>
        </pc:spChg>
        <pc:spChg chg="add mod">
          <ac:chgData name="Hu, Frank" userId="d3ad470f-91d8-4bd6-b171-9c10023cc60b" providerId="ADAL" clId="{F46F829C-35B7-4081-93FD-C381AD92AAD7}" dt="2023-04-24T01:59:23.701" v="7469" actId="164"/>
          <ac:spMkLst>
            <pc:docMk/>
            <pc:sldMk cId="228356037" sldId="2147479727"/>
            <ac:spMk id="84" creationId="{F7226F6F-C55B-EA44-6A6A-634CAD8CF166}"/>
          </ac:spMkLst>
        </pc:spChg>
        <pc:spChg chg="add mod">
          <ac:chgData name="Hu, Frank" userId="d3ad470f-91d8-4bd6-b171-9c10023cc60b" providerId="ADAL" clId="{F46F829C-35B7-4081-93FD-C381AD92AAD7}" dt="2023-04-24T01:59:23.701" v="7469" actId="164"/>
          <ac:spMkLst>
            <pc:docMk/>
            <pc:sldMk cId="228356037" sldId="2147479727"/>
            <ac:spMk id="95" creationId="{7684631D-1C8F-B172-4A41-131FB4A80355}"/>
          </ac:spMkLst>
        </pc:spChg>
        <pc:spChg chg="add mod">
          <ac:chgData name="Hu, Frank" userId="d3ad470f-91d8-4bd6-b171-9c10023cc60b" providerId="ADAL" clId="{F46F829C-35B7-4081-93FD-C381AD92AAD7}" dt="2023-04-24T01:59:23.701" v="7469" actId="164"/>
          <ac:spMkLst>
            <pc:docMk/>
            <pc:sldMk cId="228356037" sldId="2147479727"/>
            <ac:spMk id="96" creationId="{8DDBB4DC-37DC-FC35-094C-910FFCA1C5C1}"/>
          </ac:spMkLst>
        </pc:spChg>
        <pc:spChg chg="add mod">
          <ac:chgData name="Hu, Frank" userId="d3ad470f-91d8-4bd6-b171-9c10023cc60b" providerId="ADAL" clId="{F46F829C-35B7-4081-93FD-C381AD92AAD7}" dt="2023-04-24T01:59:23.701" v="7469" actId="164"/>
          <ac:spMkLst>
            <pc:docMk/>
            <pc:sldMk cId="228356037" sldId="2147479727"/>
            <ac:spMk id="97" creationId="{601FDA81-CA4A-8AE7-2FEA-5FC741040383}"/>
          </ac:spMkLst>
        </pc:spChg>
        <pc:spChg chg="add mod">
          <ac:chgData name="Hu, Frank" userId="d3ad470f-91d8-4bd6-b171-9c10023cc60b" providerId="ADAL" clId="{F46F829C-35B7-4081-93FD-C381AD92AAD7}" dt="2023-04-24T01:59:23.701" v="7469" actId="164"/>
          <ac:spMkLst>
            <pc:docMk/>
            <pc:sldMk cId="228356037" sldId="2147479727"/>
            <ac:spMk id="98" creationId="{0DCE0EF9-1413-2FD8-2B96-055B4DD8F5F2}"/>
          </ac:spMkLst>
        </pc:spChg>
        <pc:spChg chg="add mod">
          <ac:chgData name="Hu, Frank" userId="d3ad470f-91d8-4bd6-b171-9c10023cc60b" providerId="ADAL" clId="{F46F829C-35B7-4081-93FD-C381AD92AAD7}" dt="2023-04-24T01:59:23.701" v="7469" actId="164"/>
          <ac:spMkLst>
            <pc:docMk/>
            <pc:sldMk cId="228356037" sldId="2147479727"/>
            <ac:spMk id="99" creationId="{BCFF48B8-F91A-86F4-FE6C-CB776E14A373}"/>
          </ac:spMkLst>
        </pc:spChg>
        <pc:spChg chg="add mod">
          <ac:chgData name="Hu, Frank" userId="d3ad470f-91d8-4bd6-b171-9c10023cc60b" providerId="ADAL" clId="{F46F829C-35B7-4081-93FD-C381AD92AAD7}" dt="2023-04-24T02:05:20.550" v="7599" actId="1076"/>
          <ac:spMkLst>
            <pc:docMk/>
            <pc:sldMk cId="228356037" sldId="2147479727"/>
            <ac:spMk id="104" creationId="{3D1F5902-8739-E398-B605-8B0C07174582}"/>
          </ac:spMkLst>
        </pc:spChg>
        <pc:spChg chg="add mod">
          <ac:chgData name="Hu, Frank" userId="d3ad470f-91d8-4bd6-b171-9c10023cc60b" providerId="ADAL" clId="{F46F829C-35B7-4081-93FD-C381AD92AAD7}" dt="2023-04-24T02:02:34.679" v="7551" actId="1076"/>
          <ac:spMkLst>
            <pc:docMk/>
            <pc:sldMk cId="228356037" sldId="2147479727"/>
            <ac:spMk id="105" creationId="{2ABC1472-E586-9CCA-8062-2978812BA473}"/>
          </ac:spMkLst>
        </pc:spChg>
        <pc:spChg chg="add mod">
          <ac:chgData name="Hu, Frank" userId="d3ad470f-91d8-4bd6-b171-9c10023cc60b" providerId="ADAL" clId="{F46F829C-35B7-4081-93FD-C381AD92AAD7}" dt="2023-04-24T02:02:20.138" v="7548" actId="20577"/>
          <ac:spMkLst>
            <pc:docMk/>
            <pc:sldMk cId="228356037" sldId="2147479727"/>
            <ac:spMk id="106" creationId="{18D318E5-B440-B097-036F-911D6B617143}"/>
          </ac:spMkLst>
        </pc:spChg>
        <pc:spChg chg="add mod">
          <ac:chgData name="Hu, Frank" userId="d3ad470f-91d8-4bd6-b171-9c10023cc60b" providerId="ADAL" clId="{F46F829C-35B7-4081-93FD-C381AD92AAD7}" dt="2023-04-24T02:13:05.276" v="7711" actId="1035"/>
          <ac:spMkLst>
            <pc:docMk/>
            <pc:sldMk cId="228356037" sldId="2147479727"/>
            <ac:spMk id="109" creationId="{C3473B65-BDB0-B082-753A-AF9D532E64DC}"/>
          </ac:spMkLst>
        </pc:spChg>
        <pc:spChg chg="add mod">
          <ac:chgData name="Hu, Frank" userId="d3ad470f-91d8-4bd6-b171-9c10023cc60b" providerId="ADAL" clId="{F46F829C-35B7-4081-93FD-C381AD92AAD7}" dt="2023-04-24T02:12:43.564" v="7700" actId="1037"/>
          <ac:spMkLst>
            <pc:docMk/>
            <pc:sldMk cId="228356037" sldId="2147479727"/>
            <ac:spMk id="110" creationId="{F5D2C481-0595-E43D-3214-2F47D5894174}"/>
          </ac:spMkLst>
        </pc:spChg>
        <pc:spChg chg="add mod">
          <ac:chgData name="Hu, Frank" userId="d3ad470f-91d8-4bd6-b171-9c10023cc60b" providerId="ADAL" clId="{F46F829C-35B7-4081-93FD-C381AD92AAD7}" dt="2023-04-24T02:06:30.635" v="7600" actId="1076"/>
          <ac:spMkLst>
            <pc:docMk/>
            <pc:sldMk cId="228356037" sldId="2147479727"/>
            <ac:spMk id="111" creationId="{00D0345D-3866-4330-1747-BC5A275A30A4}"/>
          </ac:spMkLst>
        </pc:spChg>
        <pc:spChg chg="add mod">
          <ac:chgData name="Hu, Frank" userId="d3ad470f-91d8-4bd6-b171-9c10023cc60b" providerId="ADAL" clId="{F46F829C-35B7-4081-93FD-C381AD92AAD7}" dt="2023-04-24T02:10:42.679" v="7675" actId="1076"/>
          <ac:spMkLst>
            <pc:docMk/>
            <pc:sldMk cId="228356037" sldId="2147479727"/>
            <ac:spMk id="112" creationId="{A09413E9-D67A-32F2-521F-D0DCCDA228F9}"/>
          </ac:spMkLst>
        </pc:spChg>
        <pc:spChg chg="add mod">
          <ac:chgData name="Hu, Frank" userId="d3ad470f-91d8-4bd6-b171-9c10023cc60b" providerId="ADAL" clId="{F46F829C-35B7-4081-93FD-C381AD92AAD7}" dt="2023-04-24T02:10:55.950" v="7679" actId="1076"/>
          <ac:spMkLst>
            <pc:docMk/>
            <pc:sldMk cId="228356037" sldId="2147479727"/>
            <ac:spMk id="113" creationId="{5ECE1905-960F-88EA-C6BD-696F636E00BF}"/>
          </ac:spMkLst>
        </pc:spChg>
        <pc:spChg chg="add mod">
          <ac:chgData name="Hu, Frank" userId="d3ad470f-91d8-4bd6-b171-9c10023cc60b" providerId="ADAL" clId="{F46F829C-35B7-4081-93FD-C381AD92AAD7}" dt="2023-04-24T02:12:49.710" v="7701" actId="1076"/>
          <ac:spMkLst>
            <pc:docMk/>
            <pc:sldMk cId="228356037" sldId="2147479727"/>
            <ac:spMk id="114" creationId="{289A85D5-BE88-3BE5-CA08-DA6ADCCBD37A}"/>
          </ac:spMkLst>
        </pc:spChg>
        <pc:spChg chg="add mod">
          <ac:chgData name="Hu, Frank" userId="d3ad470f-91d8-4bd6-b171-9c10023cc60b" providerId="ADAL" clId="{F46F829C-35B7-4081-93FD-C381AD92AAD7}" dt="2023-04-24T02:12:58.617" v="7703" actId="1076"/>
          <ac:spMkLst>
            <pc:docMk/>
            <pc:sldMk cId="228356037" sldId="2147479727"/>
            <ac:spMk id="115" creationId="{FAC9E9D9-9707-5EE5-11B1-3F4243953985}"/>
          </ac:spMkLst>
        </pc:spChg>
        <pc:grpChg chg="add del mod">
          <ac:chgData name="Hu, Frank" userId="d3ad470f-91d8-4bd6-b171-9c10023cc60b" providerId="ADAL" clId="{F46F829C-35B7-4081-93FD-C381AD92AAD7}" dt="2023-04-24T01:47:30.333" v="7379" actId="165"/>
          <ac:grpSpMkLst>
            <pc:docMk/>
            <pc:sldMk cId="228356037" sldId="2147479727"/>
            <ac:grpSpMk id="9" creationId="{056308CB-FAC2-61F8-F336-2EAADB89DD59}"/>
          </ac:grpSpMkLst>
        </pc:grpChg>
        <pc:grpChg chg="add mod">
          <ac:chgData name="Hu, Frank" userId="d3ad470f-91d8-4bd6-b171-9c10023cc60b" providerId="ADAL" clId="{F46F829C-35B7-4081-93FD-C381AD92AAD7}" dt="2023-04-24T01:49:58.253" v="7414" actId="1038"/>
          <ac:grpSpMkLst>
            <pc:docMk/>
            <pc:sldMk cId="228356037" sldId="2147479727"/>
            <ac:grpSpMk id="85" creationId="{3BC8C4B7-0047-1732-A0D2-5833C3C0E4AB}"/>
          </ac:grpSpMkLst>
        </pc:grpChg>
        <pc:grpChg chg="add mod">
          <ac:chgData name="Hu, Frank" userId="d3ad470f-91d8-4bd6-b171-9c10023cc60b" providerId="ADAL" clId="{F46F829C-35B7-4081-93FD-C381AD92AAD7}" dt="2023-04-24T01:49:58.253" v="7414" actId="1038"/>
          <ac:grpSpMkLst>
            <pc:docMk/>
            <pc:sldMk cId="228356037" sldId="2147479727"/>
            <ac:grpSpMk id="86" creationId="{B1E9D018-E598-F54B-FF0B-81FAC00FC4BB}"/>
          </ac:grpSpMkLst>
        </pc:grpChg>
        <pc:grpChg chg="add mod">
          <ac:chgData name="Hu, Frank" userId="d3ad470f-91d8-4bd6-b171-9c10023cc60b" providerId="ADAL" clId="{F46F829C-35B7-4081-93FD-C381AD92AAD7}" dt="2023-04-24T01:49:33.509" v="7404" actId="1076"/>
          <ac:grpSpMkLst>
            <pc:docMk/>
            <pc:sldMk cId="228356037" sldId="2147479727"/>
            <ac:grpSpMk id="87" creationId="{43AE6B49-CBFC-81B5-7626-6254FD1C8D04}"/>
          </ac:grpSpMkLst>
        </pc:grpChg>
        <pc:grpChg chg="add mod">
          <ac:chgData name="Hu, Frank" userId="d3ad470f-91d8-4bd6-b171-9c10023cc60b" providerId="ADAL" clId="{F46F829C-35B7-4081-93FD-C381AD92AAD7}" dt="2023-04-24T01:49:53.197" v="7410" actId="1076"/>
          <ac:grpSpMkLst>
            <pc:docMk/>
            <pc:sldMk cId="228356037" sldId="2147479727"/>
            <ac:grpSpMk id="88" creationId="{76ED4AC4-4868-98C9-22E2-8F709D55D38B}"/>
          </ac:grpSpMkLst>
        </pc:grpChg>
        <pc:grpChg chg="add del mod">
          <ac:chgData name="Hu, Frank" userId="d3ad470f-91d8-4bd6-b171-9c10023cc60b" providerId="ADAL" clId="{F46F829C-35B7-4081-93FD-C381AD92AAD7}" dt="2023-04-24T01:46:42.502" v="7360" actId="165"/>
          <ac:grpSpMkLst>
            <pc:docMk/>
            <pc:sldMk cId="228356037" sldId="2147479727"/>
            <ac:grpSpMk id="89" creationId="{8425B3E5-8BD4-B764-6B5A-F4DA0A3EBDE1}"/>
          </ac:grpSpMkLst>
        </pc:grpChg>
        <pc:grpChg chg="add mod">
          <ac:chgData name="Hu, Frank" userId="d3ad470f-91d8-4bd6-b171-9c10023cc60b" providerId="ADAL" clId="{F46F829C-35B7-4081-93FD-C381AD92AAD7}" dt="2023-04-24T01:47:11.961" v="7377" actId="1035"/>
          <ac:grpSpMkLst>
            <pc:docMk/>
            <pc:sldMk cId="228356037" sldId="2147479727"/>
            <ac:grpSpMk id="90" creationId="{0F6B7230-41C9-AB7A-5C65-AA8ED3EB3356}"/>
          </ac:grpSpMkLst>
        </pc:grpChg>
        <pc:grpChg chg="add mod">
          <ac:chgData name="Hu, Frank" userId="d3ad470f-91d8-4bd6-b171-9c10023cc60b" providerId="ADAL" clId="{F46F829C-35B7-4081-93FD-C381AD92AAD7}" dt="2023-04-24T01:47:37.732" v="7382" actId="1076"/>
          <ac:grpSpMkLst>
            <pc:docMk/>
            <pc:sldMk cId="228356037" sldId="2147479727"/>
            <ac:grpSpMk id="91" creationId="{ADB6354F-E34F-5360-206E-195A83C38E98}"/>
          </ac:grpSpMkLst>
        </pc:grpChg>
        <pc:grpChg chg="add mod">
          <ac:chgData name="Hu, Frank" userId="d3ad470f-91d8-4bd6-b171-9c10023cc60b" providerId="ADAL" clId="{F46F829C-35B7-4081-93FD-C381AD92AAD7}" dt="2023-04-24T01:48:08.741" v="7389" actId="14100"/>
          <ac:grpSpMkLst>
            <pc:docMk/>
            <pc:sldMk cId="228356037" sldId="2147479727"/>
            <ac:grpSpMk id="92" creationId="{D8EC5F95-0F50-8AE3-0213-AAC9B51724DD}"/>
          </ac:grpSpMkLst>
        </pc:grpChg>
        <pc:grpChg chg="add mod">
          <ac:chgData name="Hu, Frank" userId="d3ad470f-91d8-4bd6-b171-9c10023cc60b" providerId="ADAL" clId="{F46F829C-35B7-4081-93FD-C381AD92AAD7}" dt="2023-04-24T01:48:32.789" v="7392" actId="14100"/>
          <ac:grpSpMkLst>
            <pc:docMk/>
            <pc:sldMk cId="228356037" sldId="2147479727"/>
            <ac:grpSpMk id="93" creationId="{B0552593-9F3B-8B98-2811-BF97FA6EBA0B}"/>
          </ac:grpSpMkLst>
        </pc:grpChg>
        <pc:grpChg chg="add mod">
          <ac:chgData name="Hu, Frank" userId="d3ad470f-91d8-4bd6-b171-9c10023cc60b" providerId="ADAL" clId="{F46F829C-35B7-4081-93FD-C381AD92AAD7}" dt="2023-04-24T01:49:10.405" v="7401" actId="14100"/>
          <ac:grpSpMkLst>
            <pc:docMk/>
            <pc:sldMk cId="228356037" sldId="2147479727"/>
            <ac:grpSpMk id="94" creationId="{CB5A028F-CE7E-8548-CF00-ACD108A88563}"/>
          </ac:grpSpMkLst>
        </pc:grpChg>
        <pc:grpChg chg="add mod">
          <ac:chgData name="Hu, Frank" userId="d3ad470f-91d8-4bd6-b171-9c10023cc60b" providerId="ADAL" clId="{F46F829C-35B7-4081-93FD-C381AD92AAD7}" dt="2023-04-24T02:12:25.054" v="7685" actId="1076"/>
          <ac:grpSpMkLst>
            <pc:docMk/>
            <pc:sldMk cId="228356037" sldId="2147479727"/>
            <ac:grpSpMk id="103" creationId="{7FC3A9FD-7143-8002-8EA6-0C6BC8644EAA}"/>
          </ac:grpSpMkLst>
        </pc:grpChg>
        <pc:grpChg chg="add mod">
          <ac:chgData name="Hu, Frank" userId="d3ad470f-91d8-4bd6-b171-9c10023cc60b" providerId="ADAL" clId="{F46F829C-35B7-4081-93FD-C381AD92AAD7}" dt="2023-04-24T02:03:21.664" v="7560" actId="1076"/>
          <ac:grpSpMkLst>
            <pc:docMk/>
            <pc:sldMk cId="228356037" sldId="2147479727"/>
            <ac:grpSpMk id="107" creationId="{42F913C0-F089-D3ED-EED2-FC56B8EEC1C0}"/>
          </ac:grpSpMkLst>
        </pc:grpChg>
        <pc:grpChg chg="add mod">
          <ac:chgData name="Hu, Frank" userId="d3ad470f-91d8-4bd6-b171-9c10023cc60b" providerId="ADAL" clId="{F46F829C-35B7-4081-93FD-C381AD92AAD7}" dt="2023-04-24T02:03:41.559" v="7565" actId="1076"/>
          <ac:grpSpMkLst>
            <pc:docMk/>
            <pc:sldMk cId="228356037" sldId="2147479727"/>
            <ac:grpSpMk id="108" creationId="{1E4474F1-5691-E102-D9DF-21990A4B3FF2}"/>
          </ac:grpSpMkLst>
        </pc:grpChg>
        <pc:cxnChg chg="add mod">
          <ac:chgData name="Hu, Frank" userId="d3ad470f-91d8-4bd6-b171-9c10023cc60b" providerId="ADAL" clId="{F46F829C-35B7-4081-93FD-C381AD92AAD7}" dt="2023-04-23T11:44:13.461" v="6783" actId="14100"/>
          <ac:cxnSpMkLst>
            <pc:docMk/>
            <pc:sldMk cId="228356037" sldId="2147479727"/>
            <ac:cxnSpMk id="8" creationId="{8B381DBD-6E1C-3382-6DE2-582732151818}"/>
          </ac:cxnSpMkLst>
        </pc:cxnChg>
        <pc:cxnChg chg="add mod">
          <ac:chgData name="Hu, Frank" userId="d3ad470f-91d8-4bd6-b171-9c10023cc60b" providerId="ADAL" clId="{F46F829C-35B7-4081-93FD-C381AD92AAD7}" dt="2023-04-24T01:57:50.431" v="7462" actId="14100"/>
          <ac:cxnSpMkLst>
            <pc:docMk/>
            <pc:sldMk cId="228356037" sldId="2147479727"/>
            <ac:cxnSpMk id="12" creationId="{28D651AD-FDBD-037A-5235-5E5FAAB3034E}"/>
          </ac:cxnSpMkLst>
        </pc:cxnChg>
        <pc:cxnChg chg="add mod">
          <ac:chgData name="Hu, Frank" userId="d3ad470f-91d8-4bd6-b171-9c10023cc60b" providerId="ADAL" clId="{F46F829C-35B7-4081-93FD-C381AD92AAD7}" dt="2023-04-23T11:44:46.177" v="6791" actId="1076"/>
          <ac:cxnSpMkLst>
            <pc:docMk/>
            <pc:sldMk cId="228356037" sldId="2147479727"/>
            <ac:cxnSpMk id="14" creationId="{138E53E9-B1D7-3453-FA9F-CED1908A15B1}"/>
          </ac:cxnSpMkLst>
        </pc:cxnChg>
        <pc:cxnChg chg="add del mod">
          <ac:chgData name="Hu, Frank" userId="d3ad470f-91d8-4bd6-b171-9c10023cc60b" providerId="ADAL" clId="{F46F829C-35B7-4081-93FD-C381AD92AAD7}" dt="2023-04-24T01:19:43.347" v="7214" actId="478"/>
          <ac:cxnSpMkLst>
            <pc:docMk/>
            <pc:sldMk cId="228356037" sldId="2147479727"/>
            <ac:cxnSpMk id="60" creationId="{A875659E-D96C-FB70-4DAE-7500984C91FF}"/>
          </ac:cxnSpMkLst>
        </pc:cxnChg>
        <pc:cxnChg chg="add mod">
          <ac:chgData name="Hu, Frank" userId="d3ad470f-91d8-4bd6-b171-9c10023cc60b" providerId="ADAL" clId="{F46F829C-35B7-4081-93FD-C381AD92AAD7}" dt="2023-04-24T01:57:44.134" v="7461" actId="14100"/>
          <ac:cxnSpMkLst>
            <pc:docMk/>
            <pc:sldMk cId="228356037" sldId="2147479727"/>
            <ac:cxnSpMk id="100" creationId="{0D063A6B-6452-7D7B-3B15-998877BB3DBA}"/>
          </ac:cxnSpMkLst>
        </pc:cxnChg>
      </pc:sldChg>
      <pc:sldChg chg="add mod modShow">
        <pc:chgData name="Hu, Frank" userId="d3ad470f-91d8-4bd6-b171-9c10023cc60b" providerId="ADAL" clId="{F46F829C-35B7-4081-93FD-C381AD92AAD7}" dt="2023-04-24T11:20:36.852" v="7981" actId="729"/>
        <pc:sldMkLst>
          <pc:docMk/>
          <pc:sldMk cId="4011223812" sldId="2147479728"/>
        </pc:sldMkLst>
      </pc:sldChg>
      <pc:sldChg chg="addSp delSp modSp add mod ord modShow">
        <pc:chgData name="Hu, Frank" userId="d3ad470f-91d8-4bd6-b171-9c10023cc60b" providerId="ADAL" clId="{F46F829C-35B7-4081-93FD-C381AD92AAD7}" dt="2023-04-27T09:44:27.967" v="12016"/>
        <pc:sldMkLst>
          <pc:docMk/>
          <pc:sldMk cId="805391361" sldId="2147479729"/>
        </pc:sldMkLst>
        <pc:spChg chg="mod">
          <ac:chgData name="Hu, Frank" userId="d3ad470f-91d8-4bd6-b171-9c10023cc60b" providerId="ADAL" clId="{F46F829C-35B7-4081-93FD-C381AD92AAD7}" dt="2023-04-24T13:04:16.271" v="9294" actId="1076"/>
          <ac:spMkLst>
            <pc:docMk/>
            <pc:sldMk cId="805391361" sldId="2147479729"/>
            <ac:spMk id="6" creationId="{934D64DD-EC0F-2EE3-8EAD-D36C9DFCC3E5}"/>
          </ac:spMkLst>
        </pc:spChg>
        <pc:spChg chg="del">
          <ac:chgData name="Hu, Frank" userId="d3ad470f-91d8-4bd6-b171-9c10023cc60b" providerId="ADAL" clId="{F46F829C-35B7-4081-93FD-C381AD92AAD7}" dt="2023-04-24T13:04:33.973" v="9298" actId="478"/>
          <ac:spMkLst>
            <pc:docMk/>
            <pc:sldMk cId="805391361" sldId="2147479729"/>
            <ac:spMk id="10" creationId="{B584840A-03A2-430F-E05C-693BC8238CBC}"/>
          </ac:spMkLst>
        </pc:spChg>
        <pc:spChg chg="del">
          <ac:chgData name="Hu, Frank" userId="d3ad470f-91d8-4bd6-b171-9c10023cc60b" providerId="ADAL" clId="{F46F829C-35B7-4081-93FD-C381AD92AAD7}" dt="2023-04-24T13:04:20.410" v="9295" actId="478"/>
          <ac:spMkLst>
            <pc:docMk/>
            <pc:sldMk cId="805391361" sldId="2147479729"/>
            <ac:spMk id="13" creationId="{C84A991E-80EF-3FE4-F915-2C1D892B951D}"/>
          </ac:spMkLst>
        </pc:spChg>
        <pc:spChg chg="del">
          <ac:chgData name="Hu, Frank" userId="d3ad470f-91d8-4bd6-b171-9c10023cc60b" providerId="ADAL" clId="{F46F829C-35B7-4081-93FD-C381AD92AAD7}" dt="2023-04-24T13:04:20.410" v="9295" actId="478"/>
          <ac:spMkLst>
            <pc:docMk/>
            <pc:sldMk cId="805391361" sldId="2147479729"/>
            <ac:spMk id="14" creationId="{BEB8974A-666A-5AA6-1592-B44963BB97D8}"/>
          </ac:spMkLst>
        </pc:spChg>
        <pc:spChg chg="del">
          <ac:chgData name="Hu, Frank" userId="d3ad470f-91d8-4bd6-b171-9c10023cc60b" providerId="ADAL" clId="{F46F829C-35B7-4081-93FD-C381AD92AAD7}" dt="2023-04-24T13:04:33.973" v="9298" actId="478"/>
          <ac:spMkLst>
            <pc:docMk/>
            <pc:sldMk cId="805391361" sldId="2147479729"/>
            <ac:spMk id="18" creationId="{AFD56FD0-4F03-568E-A1B7-232E2B3C3EA0}"/>
          </ac:spMkLst>
        </pc:spChg>
        <pc:spChg chg="del">
          <ac:chgData name="Hu, Frank" userId="d3ad470f-91d8-4bd6-b171-9c10023cc60b" providerId="ADAL" clId="{F46F829C-35B7-4081-93FD-C381AD92AAD7}" dt="2023-04-24T13:05:01.549" v="9306" actId="478"/>
          <ac:spMkLst>
            <pc:docMk/>
            <pc:sldMk cId="805391361" sldId="2147479729"/>
            <ac:spMk id="19" creationId="{9977C264-DE17-0845-763C-90A5A44D3DFD}"/>
          </ac:spMkLst>
        </pc:spChg>
        <pc:spChg chg="del">
          <ac:chgData name="Hu, Frank" userId="d3ad470f-91d8-4bd6-b171-9c10023cc60b" providerId="ADAL" clId="{F46F829C-35B7-4081-93FD-C381AD92AAD7}" dt="2023-04-24T13:05:01.549" v="9306" actId="478"/>
          <ac:spMkLst>
            <pc:docMk/>
            <pc:sldMk cId="805391361" sldId="2147479729"/>
            <ac:spMk id="20" creationId="{8E7DB386-8034-C2A2-0CCE-7C39E9F4979A}"/>
          </ac:spMkLst>
        </pc:spChg>
        <pc:spChg chg="del">
          <ac:chgData name="Hu, Frank" userId="d3ad470f-91d8-4bd6-b171-9c10023cc60b" providerId="ADAL" clId="{F46F829C-35B7-4081-93FD-C381AD92AAD7}" dt="2023-04-24T13:04:33.973" v="9298" actId="478"/>
          <ac:spMkLst>
            <pc:docMk/>
            <pc:sldMk cId="805391361" sldId="2147479729"/>
            <ac:spMk id="22" creationId="{65AD4101-F001-DEE4-1754-4EC0E27444EF}"/>
          </ac:spMkLst>
        </pc:spChg>
        <pc:spChg chg="del">
          <ac:chgData name="Hu, Frank" userId="d3ad470f-91d8-4bd6-b171-9c10023cc60b" providerId="ADAL" clId="{F46F829C-35B7-4081-93FD-C381AD92AAD7}" dt="2023-04-24T13:04:21.914" v="9296" actId="478"/>
          <ac:spMkLst>
            <pc:docMk/>
            <pc:sldMk cId="805391361" sldId="2147479729"/>
            <ac:spMk id="26" creationId="{4D3802A6-8EFB-AF49-CDCE-B530240D6D24}"/>
          </ac:spMkLst>
        </pc:spChg>
        <pc:spChg chg="del">
          <ac:chgData name="Hu, Frank" userId="d3ad470f-91d8-4bd6-b171-9c10023cc60b" providerId="ADAL" clId="{F46F829C-35B7-4081-93FD-C381AD92AAD7}" dt="2023-04-24T13:04:52.386" v="9304" actId="478"/>
          <ac:spMkLst>
            <pc:docMk/>
            <pc:sldMk cId="805391361" sldId="2147479729"/>
            <ac:spMk id="28" creationId="{4E7090C4-6DBF-F1C4-E186-96D73FA4B245}"/>
          </ac:spMkLst>
        </pc:spChg>
        <pc:spChg chg="del">
          <ac:chgData name="Hu, Frank" userId="d3ad470f-91d8-4bd6-b171-9c10023cc60b" providerId="ADAL" clId="{F46F829C-35B7-4081-93FD-C381AD92AAD7}" dt="2023-04-24T13:04:52.386" v="9304" actId="478"/>
          <ac:spMkLst>
            <pc:docMk/>
            <pc:sldMk cId="805391361" sldId="2147479729"/>
            <ac:spMk id="30" creationId="{4FD2A6D2-A6E0-F592-75F7-F09C0B66313F}"/>
          </ac:spMkLst>
        </pc:spChg>
        <pc:spChg chg="del">
          <ac:chgData name="Hu, Frank" userId="d3ad470f-91d8-4bd6-b171-9c10023cc60b" providerId="ADAL" clId="{F46F829C-35B7-4081-93FD-C381AD92AAD7}" dt="2023-04-24T13:04:52.386" v="9304" actId="478"/>
          <ac:spMkLst>
            <pc:docMk/>
            <pc:sldMk cId="805391361" sldId="2147479729"/>
            <ac:spMk id="31" creationId="{00B48058-58B3-B991-1564-F286DC911D73}"/>
          </ac:spMkLst>
        </pc:spChg>
        <pc:spChg chg="del">
          <ac:chgData name="Hu, Frank" userId="d3ad470f-91d8-4bd6-b171-9c10023cc60b" providerId="ADAL" clId="{F46F829C-35B7-4081-93FD-C381AD92AAD7}" dt="2023-04-24T13:05:01.549" v="9306" actId="478"/>
          <ac:spMkLst>
            <pc:docMk/>
            <pc:sldMk cId="805391361" sldId="2147479729"/>
            <ac:spMk id="36" creationId="{1E1DF582-3413-1127-C77F-A43608D23473}"/>
          </ac:spMkLst>
        </pc:spChg>
        <pc:spChg chg="del">
          <ac:chgData name="Hu, Frank" userId="d3ad470f-91d8-4bd6-b171-9c10023cc60b" providerId="ADAL" clId="{F46F829C-35B7-4081-93FD-C381AD92AAD7}" dt="2023-04-24T13:04:58.475" v="9305" actId="478"/>
          <ac:spMkLst>
            <pc:docMk/>
            <pc:sldMk cId="805391361" sldId="2147479729"/>
            <ac:spMk id="38" creationId="{2B9F5A51-D1FE-D35E-718D-1F4E2498E9B5}"/>
          </ac:spMkLst>
        </pc:spChg>
        <pc:spChg chg="del">
          <ac:chgData name="Hu, Frank" userId="d3ad470f-91d8-4bd6-b171-9c10023cc60b" providerId="ADAL" clId="{F46F829C-35B7-4081-93FD-C381AD92AAD7}" dt="2023-04-24T13:05:01.549" v="9306" actId="478"/>
          <ac:spMkLst>
            <pc:docMk/>
            <pc:sldMk cId="805391361" sldId="2147479729"/>
            <ac:spMk id="39" creationId="{921FF923-2FFE-D627-305F-99BF4CA62E9D}"/>
          </ac:spMkLst>
        </pc:spChg>
        <pc:spChg chg="del">
          <ac:chgData name="Hu, Frank" userId="d3ad470f-91d8-4bd6-b171-9c10023cc60b" providerId="ADAL" clId="{F46F829C-35B7-4081-93FD-C381AD92AAD7}" dt="2023-04-24T13:04:58.475" v="9305" actId="478"/>
          <ac:spMkLst>
            <pc:docMk/>
            <pc:sldMk cId="805391361" sldId="2147479729"/>
            <ac:spMk id="41" creationId="{8B76DFE1-68D3-5565-440F-D379A0FCB151}"/>
          </ac:spMkLst>
        </pc:spChg>
        <pc:spChg chg="del">
          <ac:chgData name="Hu, Frank" userId="d3ad470f-91d8-4bd6-b171-9c10023cc60b" providerId="ADAL" clId="{F46F829C-35B7-4081-93FD-C381AD92AAD7}" dt="2023-04-24T13:04:33.973" v="9298" actId="478"/>
          <ac:spMkLst>
            <pc:docMk/>
            <pc:sldMk cId="805391361" sldId="2147479729"/>
            <ac:spMk id="42" creationId="{69235594-E16C-9D9C-2B75-D1AEA480DDC6}"/>
          </ac:spMkLst>
        </pc:spChg>
        <pc:spChg chg="add del mod">
          <ac:chgData name="Hu, Frank" userId="d3ad470f-91d8-4bd6-b171-9c10023cc60b" providerId="ADAL" clId="{F46F829C-35B7-4081-93FD-C381AD92AAD7}" dt="2023-04-24T13:06:51.886" v="9340" actId="1076"/>
          <ac:spMkLst>
            <pc:docMk/>
            <pc:sldMk cId="805391361" sldId="2147479729"/>
            <ac:spMk id="43" creationId="{30AD533E-FA70-40D2-81CC-EB53DD8F6792}"/>
          </ac:spMkLst>
        </pc:spChg>
        <pc:spChg chg="add del mod">
          <ac:chgData name="Hu, Frank" userId="d3ad470f-91d8-4bd6-b171-9c10023cc60b" providerId="ADAL" clId="{F46F829C-35B7-4081-93FD-C381AD92AAD7}" dt="2023-04-24T13:06:51.886" v="9340" actId="1076"/>
          <ac:spMkLst>
            <pc:docMk/>
            <pc:sldMk cId="805391361" sldId="2147479729"/>
            <ac:spMk id="44" creationId="{C855D536-4B3D-9F56-1D17-BC449D3ADF85}"/>
          </ac:spMkLst>
        </pc:spChg>
        <pc:spChg chg="add del mod">
          <ac:chgData name="Hu, Frank" userId="d3ad470f-91d8-4bd6-b171-9c10023cc60b" providerId="ADAL" clId="{F46F829C-35B7-4081-93FD-C381AD92AAD7}" dt="2023-04-24T13:06:51.886" v="9340" actId="1076"/>
          <ac:spMkLst>
            <pc:docMk/>
            <pc:sldMk cId="805391361" sldId="2147479729"/>
            <ac:spMk id="45" creationId="{B3BB6D75-6FD4-1602-1D5E-39E6BA4FB64A}"/>
          </ac:spMkLst>
        </pc:spChg>
        <pc:spChg chg="del">
          <ac:chgData name="Hu, Frank" userId="d3ad470f-91d8-4bd6-b171-9c10023cc60b" providerId="ADAL" clId="{F46F829C-35B7-4081-93FD-C381AD92AAD7}" dt="2023-04-24T13:04:52.386" v="9304" actId="478"/>
          <ac:spMkLst>
            <pc:docMk/>
            <pc:sldMk cId="805391361" sldId="2147479729"/>
            <ac:spMk id="49" creationId="{0B47AF7B-C13C-CE7E-8D66-28C8C330AC43}"/>
          </ac:spMkLst>
        </pc:spChg>
        <pc:spChg chg="add del mod">
          <ac:chgData name="Hu, Frank" userId="d3ad470f-91d8-4bd6-b171-9c10023cc60b" providerId="ADAL" clId="{F46F829C-35B7-4081-93FD-C381AD92AAD7}" dt="2023-04-24T13:06:51.886" v="9340" actId="1076"/>
          <ac:spMkLst>
            <pc:docMk/>
            <pc:sldMk cId="805391361" sldId="2147479729"/>
            <ac:spMk id="51" creationId="{8DBB75D3-2D90-63E9-E13D-4397879785C6}"/>
          </ac:spMkLst>
        </pc:spChg>
        <pc:spChg chg="add del">
          <ac:chgData name="Hu, Frank" userId="d3ad470f-91d8-4bd6-b171-9c10023cc60b" providerId="ADAL" clId="{F46F829C-35B7-4081-93FD-C381AD92AAD7}" dt="2023-04-24T13:06:44.922" v="9338" actId="478"/>
          <ac:spMkLst>
            <pc:docMk/>
            <pc:sldMk cId="805391361" sldId="2147479729"/>
            <ac:spMk id="56" creationId="{B63071F2-7A4D-7B19-A522-A7EF7BADB078}"/>
          </ac:spMkLst>
        </pc:spChg>
        <pc:spChg chg="mod">
          <ac:chgData name="Hu, Frank" userId="d3ad470f-91d8-4bd6-b171-9c10023cc60b" providerId="ADAL" clId="{F46F829C-35B7-4081-93FD-C381AD92AAD7}" dt="2023-04-24T13:04:47.966" v="9303" actId="1076"/>
          <ac:spMkLst>
            <pc:docMk/>
            <pc:sldMk cId="805391361" sldId="2147479729"/>
            <ac:spMk id="57" creationId="{89EF44AC-7B48-90A8-9A5A-1025FC58B24F}"/>
          </ac:spMkLst>
        </pc:spChg>
        <pc:spChg chg="mod">
          <ac:chgData name="Hu, Frank" userId="d3ad470f-91d8-4bd6-b171-9c10023cc60b" providerId="ADAL" clId="{F46F829C-35B7-4081-93FD-C381AD92AAD7}" dt="2023-04-24T13:04:47.966" v="9303" actId="1076"/>
          <ac:spMkLst>
            <pc:docMk/>
            <pc:sldMk cId="805391361" sldId="2147479729"/>
            <ac:spMk id="58" creationId="{DBEE11FC-52B3-5876-54AA-6D03FE44DBCC}"/>
          </ac:spMkLst>
        </pc:spChg>
        <pc:spChg chg="mod">
          <ac:chgData name="Hu, Frank" userId="d3ad470f-91d8-4bd6-b171-9c10023cc60b" providerId="ADAL" clId="{F46F829C-35B7-4081-93FD-C381AD92AAD7}" dt="2023-04-24T13:04:47.966" v="9303" actId="1076"/>
          <ac:spMkLst>
            <pc:docMk/>
            <pc:sldMk cId="805391361" sldId="2147479729"/>
            <ac:spMk id="59" creationId="{BBEA09AB-9FFD-8471-EBB9-D8A7F04B4F88}"/>
          </ac:spMkLst>
        </pc:spChg>
        <pc:spChg chg="mod">
          <ac:chgData name="Hu, Frank" userId="d3ad470f-91d8-4bd6-b171-9c10023cc60b" providerId="ADAL" clId="{F46F829C-35B7-4081-93FD-C381AD92AAD7}" dt="2023-04-24T13:06:20.745" v="9333" actId="1037"/>
          <ac:spMkLst>
            <pc:docMk/>
            <pc:sldMk cId="805391361" sldId="2147479729"/>
            <ac:spMk id="60" creationId="{53094475-3710-5415-88B4-4EA9F561094F}"/>
          </ac:spMkLst>
        </pc:spChg>
        <pc:spChg chg="mod">
          <ac:chgData name="Hu, Frank" userId="d3ad470f-91d8-4bd6-b171-9c10023cc60b" providerId="ADAL" clId="{F46F829C-35B7-4081-93FD-C381AD92AAD7}" dt="2023-04-24T13:06:20.745" v="9333" actId="1037"/>
          <ac:spMkLst>
            <pc:docMk/>
            <pc:sldMk cId="805391361" sldId="2147479729"/>
            <ac:spMk id="61" creationId="{FDA9E700-EA22-BC6D-FA0E-43504A451A8F}"/>
          </ac:spMkLst>
        </pc:spChg>
        <pc:spChg chg="mod">
          <ac:chgData name="Hu, Frank" userId="d3ad470f-91d8-4bd6-b171-9c10023cc60b" providerId="ADAL" clId="{F46F829C-35B7-4081-93FD-C381AD92AAD7}" dt="2023-04-24T13:06:20.745" v="9333" actId="1037"/>
          <ac:spMkLst>
            <pc:docMk/>
            <pc:sldMk cId="805391361" sldId="2147479729"/>
            <ac:spMk id="62" creationId="{8591DBC2-8410-C830-1D3E-593BA70AA6D3}"/>
          </ac:spMkLst>
        </pc:spChg>
        <pc:spChg chg="mod">
          <ac:chgData name="Hu, Frank" userId="d3ad470f-91d8-4bd6-b171-9c10023cc60b" providerId="ADAL" clId="{F46F829C-35B7-4081-93FD-C381AD92AAD7}" dt="2023-04-24T13:06:38.502" v="9337" actId="1076"/>
          <ac:spMkLst>
            <pc:docMk/>
            <pc:sldMk cId="805391361" sldId="2147479729"/>
            <ac:spMk id="65" creationId="{83112C6D-68DB-C11C-8025-CF77FE302B35}"/>
          </ac:spMkLst>
        </pc:spChg>
        <pc:spChg chg="del">
          <ac:chgData name="Hu, Frank" userId="d3ad470f-91d8-4bd6-b171-9c10023cc60b" providerId="ADAL" clId="{F46F829C-35B7-4081-93FD-C381AD92AAD7}" dt="2023-04-24T13:04:52.386" v="9304" actId="478"/>
          <ac:spMkLst>
            <pc:docMk/>
            <pc:sldMk cId="805391361" sldId="2147479729"/>
            <ac:spMk id="73" creationId="{77DC2D8A-DCF3-9EC1-2541-1C69A7C2BC7B}"/>
          </ac:spMkLst>
        </pc:spChg>
        <pc:spChg chg="del">
          <ac:chgData name="Hu, Frank" userId="d3ad470f-91d8-4bd6-b171-9c10023cc60b" providerId="ADAL" clId="{F46F829C-35B7-4081-93FD-C381AD92AAD7}" dt="2023-04-24T13:04:38.913" v="9300" actId="478"/>
          <ac:spMkLst>
            <pc:docMk/>
            <pc:sldMk cId="805391361" sldId="2147479729"/>
            <ac:spMk id="74" creationId="{14AF1F0E-35B0-31F5-6EF2-F6733E0CB37B}"/>
          </ac:spMkLst>
        </pc:spChg>
        <pc:spChg chg="del">
          <ac:chgData name="Hu, Frank" userId="d3ad470f-91d8-4bd6-b171-9c10023cc60b" providerId="ADAL" clId="{F46F829C-35B7-4081-93FD-C381AD92AAD7}" dt="2023-04-24T13:04:42.747" v="9302" actId="478"/>
          <ac:spMkLst>
            <pc:docMk/>
            <pc:sldMk cId="805391361" sldId="2147479729"/>
            <ac:spMk id="76" creationId="{1DD53844-0551-E115-4AA4-9A0754DDD712}"/>
          </ac:spMkLst>
        </pc:spChg>
        <pc:spChg chg="mod">
          <ac:chgData name="Hu, Frank" userId="d3ad470f-91d8-4bd6-b171-9c10023cc60b" providerId="ADAL" clId="{F46F829C-35B7-4081-93FD-C381AD92AAD7}" dt="2023-04-24T13:06:34.565" v="9336" actId="1076"/>
          <ac:spMkLst>
            <pc:docMk/>
            <pc:sldMk cId="805391361" sldId="2147479729"/>
            <ac:spMk id="97" creationId="{8AF0F561-3D19-A028-5928-0CBB3BE41668}"/>
          </ac:spMkLst>
        </pc:spChg>
        <pc:spChg chg="del">
          <ac:chgData name="Hu, Frank" userId="d3ad470f-91d8-4bd6-b171-9c10023cc60b" providerId="ADAL" clId="{F46F829C-35B7-4081-93FD-C381AD92AAD7}" dt="2023-04-24T13:04:36.595" v="9299" actId="478"/>
          <ac:spMkLst>
            <pc:docMk/>
            <pc:sldMk cId="805391361" sldId="2147479729"/>
            <ac:spMk id="119" creationId="{E44BF99C-8272-95F5-71EC-F25A1AF36322}"/>
          </ac:spMkLst>
        </pc:spChg>
        <pc:spChg chg="del">
          <ac:chgData name="Hu, Frank" userId="d3ad470f-91d8-4bd6-b171-9c10023cc60b" providerId="ADAL" clId="{F46F829C-35B7-4081-93FD-C381AD92AAD7}" dt="2023-04-24T13:04:33.973" v="9298" actId="478"/>
          <ac:spMkLst>
            <pc:docMk/>
            <pc:sldMk cId="805391361" sldId="2147479729"/>
            <ac:spMk id="120" creationId="{F7C56F94-77BA-17C6-8884-F7B48E52E42C}"/>
          </ac:spMkLst>
        </pc:spChg>
        <pc:spChg chg="del">
          <ac:chgData name="Hu, Frank" userId="d3ad470f-91d8-4bd6-b171-9c10023cc60b" providerId="ADAL" clId="{F46F829C-35B7-4081-93FD-C381AD92AAD7}" dt="2023-04-24T13:04:11.905" v="9293" actId="478"/>
          <ac:spMkLst>
            <pc:docMk/>
            <pc:sldMk cId="805391361" sldId="2147479729"/>
            <ac:spMk id="134" creationId="{972175B2-F2CF-C5A2-66EA-8950BC33A58E}"/>
          </ac:spMkLst>
        </pc:spChg>
        <pc:spChg chg="del">
          <ac:chgData name="Hu, Frank" userId="d3ad470f-91d8-4bd6-b171-9c10023cc60b" providerId="ADAL" clId="{F46F829C-35B7-4081-93FD-C381AD92AAD7}" dt="2023-04-24T13:04:58.475" v="9305" actId="478"/>
          <ac:spMkLst>
            <pc:docMk/>
            <pc:sldMk cId="805391361" sldId="2147479729"/>
            <ac:spMk id="144" creationId="{066A3F58-FA44-9FFA-15A8-1CC6B2B9AD80}"/>
          </ac:spMkLst>
        </pc:spChg>
        <pc:picChg chg="add mod">
          <ac:chgData name="Hu, Frank" userId="d3ad470f-91d8-4bd6-b171-9c10023cc60b" providerId="ADAL" clId="{F46F829C-35B7-4081-93FD-C381AD92AAD7}" dt="2023-04-27T07:40:26.729" v="11900" actId="14100"/>
          <ac:picMkLst>
            <pc:docMk/>
            <pc:sldMk cId="805391361" sldId="2147479729"/>
            <ac:picMk id="7" creationId="{C1AFD0BB-372C-6D3D-A511-6F09392DA456}"/>
          </ac:picMkLst>
        </pc:picChg>
        <pc:cxnChg chg="del mod">
          <ac:chgData name="Hu, Frank" userId="d3ad470f-91d8-4bd6-b171-9c10023cc60b" providerId="ADAL" clId="{F46F829C-35B7-4081-93FD-C381AD92AAD7}" dt="2023-04-24T13:04:22.937" v="9297" actId="478"/>
          <ac:cxnSpMkLst>
            <pc:docMk/>
            <pc:sldMk cId="805391361" sldId="2147479729"/>
            <ac:cxnSpMk id="23" creationId="{B4780071-51A3-433B-CB93-31137ADF30AB}"/>
          </ac:cxnSpMkLst>
        </pc:cxnChg>
        <pc:cxnChg chg="del">
          <ac:chgData name="Hu, Frank" userId="d3ad470f-91d8-4bd6-b171-9c10023cc60b" providerId="ADAL" clId="{F46F829C-35B7-4081-93FD-C381AD92AAD7}" dt="2023-04-24T13:04:33.973" v="9298" actId="478"/>
          <ac:cxnSpMkLst>
            <pc:docMk/>
            <pc:sldMk cId="805391361" sldId="2147479729"/>
            <ac:cxnSpMk id="27" creationId="{2A4341CC-4F85-555D-D262-3E5FFFFEB82F}"/>
          </ac:cxnSpMkLst>
        </pc:cxnChg>
        <pc:cxnChg chg="del mod">
          <ac:chgData name="Hu, Frank" userId="d3ad470f-91d8-4bd6-b171-9c10023cc60b" providerId="ADAL" clId="{F46F829C-35B7-4081-93FD-C381AD92AAD7}" dt="2023-04-24T13:04:52.386" v="9304" actId="478"/>
          <ac:cxnSpMkLst>
            <pc:docMk/>
            <pc:sldMk cId="805391361" sldId="2147479729"/>
            <ac:cxnSpMk id="32" creationId="{7C722E6A-3C11-13B7-C7BA-9094FC05B457}"/>
          </ac:cxnSpMkLst>
        </pc:cxnChg>
        <pc:cxnChg chg="del">
          <ac:chgData name="Hu, Frank" userId="d3ad470f-91d8-4bd6-b171-9c10023cc60b" providerId="ADAL" clId="{F46F829C-35B7-4081-93FD-C381AD92AAD7}" dt="2023-04-24T13:04:52.386" v="9304" actId="478"/>
          <ac:cxnSpMkLst>
            <pc:docMk/>
            <pc:sldMk cId="805391361" sldId="2147479729"/>
            <ac:cxnSpMk id="34" creationId="{5E211BBD-99F5-14AB-D968-7E359A7FD86A}"/>
          </ac:cxnSpMkLst>
        </pc:cxnChg>
        <pc:cxnChg chg="del">
          <ac:chgData name="Hu, Frank" userId="d3ad470f-91d8-4bd6-b171-9c10023cc60b" providerId="ADAL" clId="{F46F829C-35B7-4081-93FD-C381AD92AAD7}" dt="2023-04-24T13:04:52.386" v="9304" actId="478"/>
          <ac:cxnSpMkLst>
            <pc:docMk/>
            <pc:sldMk cId="805391361" sldId="2147479729"/>
            <ac:cxnSpMk id="35" creationId="{14ADE8EF-9EFF-61AA-5BF4-A365012EE668}"/>
          </ac:cxnSpMkLst>
        </pc:cxnChg>
        <pc:cxnChg chg="del">
          <ac:chgData name="Hu, Frank" userId="d3ad470f-91d8-4bd6-b171-9c10023cc60b" providerId="ADAL" clId="{F46F829C-35B7-4081-93FD-C381AD92AAD7}" dt="2023-04-24T13:04:58.475" v="9305" actId="478"/>
          <ac:cxnSpMkLst>
            <pc:docMk/>
            <pc:sldMk cId="805391361" sldId="2147479729"/>
            <ac:cxnSpMk id="37" creationId="{8B0B25D8-B510-53B4-71AB-AD4AB0D2DC72}"/>
          </ac:cxnSpMkLst>
        </pc:cxnChg>
        <pc:cxnChg chg="del">
          <ac:chgData name="Hu, Frank" userId="d3ad470f-91d8-4bd6-b171-9c10023cc60b" providerId="ADAL" clId="{F46F829C-35B7-4081-93FD-C381AD92AAD7}" dt="2023-04-24T13:04:58.475" v="9305" actId="478"/>
          <ac:cxnSpMkLst>
            <pc:docMk/>
            <pc:sldMk cId="805391361" sldId="2147479729"/>
            <ac:cxnSpMk id="40" creationId="{FA412252-373A-40A3-6C50-E50A8E807A67}"/>
          </ac:cxnSpMkLst>
        </pc:cxnChg>
        <pc:cxnChg chg="add del">
          <ac:chgData name="Hu, Frank" userId="d3ad470f-91d8-4bd6-b171-9c10023cc60b" providerId="ADAL" clId="{F46F829C-35B7-4081-93FD-C381AD92AAD7}" dt="2023-04-24T13:06:46.059" v="9339" actId="478"/>
          <ac:cxnSpMkLst>
            <pc:docMk/>
            <pc:sldMk cId="805391361" sldId="2147479729"/>
            <ac:cxnSpMk id="52" creationId="{2BD1B1E1-F7F8-CEB4-AE86-FED34E85CAD6}"/>
          </ac:cxnSpMkLst>
        </pc:cxnChg>
        <pc:cxnChg chg="mod">
          <ac:chgData name="Hu, Frank" userId="d3ad470f-91d8-4bd6-b171-9c10023cc60b" providerId="ADAL" clId="{F46F829C-35B7-4081-93FD-C381AD92AAD7}" dt="2023-04-24T13:06:02.623" v="9311" actId="14100"/>
          <ac:cxnSpMkLst>
            <pc:docMk/>
            <pc:sldMk cId="805391361" sldId="2147479729"/>
            <ac:cxnSpMk id="63" creationId="{F2256C99-49C3-2178-9368-9AF4A12D320C}"/>
          </ac:cxnSpMkLst>
        </pc:cxnChg>
        <pc:cxnChg chg="del mod">
          <ac:chgData name="Hu, Frank" userId="d3ad470f-91d8-4bd6-b171-9c10023cc60b" providerId="ADAL" clId="{F46F829C-35B7-4081-93FD-C381AD92AAD7}" dt="2023-04-24T13:04:39.633" v="9301" actId="478"/>
          <ac:cxnSpMkLst>
            <pc:docMk/>
            <pc:sldMk cId="805391361" sldId="2147479729"/>
            <ac:cxnSpMk id="67" creationId="{AE068A34-C4F2-0346-C087-7A846E6EB87C}"/>
          </ac:cxnSpMkLst>
        </pc:cxnChg>
        <pc:cxnChg chg="del">
          <ac:chgData name="Hu, Frank" userId="d3ad470f-91d8-4bd6-b171-9c10023cc60b" providerId="ADAL" clId="{F46F829C-35B7-4081-93FD-C381AD92AAD7}" dt="2023-04-24T13:04:33.973" v="9298" actId="478"/>
          <ac:cxnSpMkLst>
            <pc:docMk/>
            <pc:sldMk cId="805391361" sldId="2147479729"/>
            <ac:cxnSpMk id="71" creationId="{59C59A7E-2485-900A-2E49-1E7FDCFF845B}"/>
          </ac:cxnSpMkLst>
        </pc:cxnChg>
        <pc:cxnChg chg="mod">
          <ac:chgData name="Hu, Frank" userId="d3ad470f-91d8-4bd6-b171-9c10023cc60b" providerId="ADAL" clId="{F46F829C-35B7-4081-93FD-C381AD92AAD7}" dt="2023-04-24T13:06:15.740" v="9315" actId="14100"/>
          <ac:cxnSpMkLst>
            <pc:docMk/>
            <pc:sldMk cId="805391361" sldId="2147479729"/>
            <ac:cxnSpMk id="93" creationId="{0031F788-28C3-E00D-80C9-4BC1EF24B43D}"/>
          </ac:cxnSpMkLst>
        </pc:cxnChg>
        <pc:cxnChg chg="del">
          <ac:chgData name="Hu, Frank" userId="d3ad470f-91d8-4bd6-b171-9c10023cc60b" providerId="ADAL" clId="{F46F829C-35B7-4081-93FD-C381AD92AAD7}" dt="2023-04-24T13:04:58.475" v="9305" actId="478"/>
          <ac:cxnSpMkLst>
            <pc:docMk/>
            <pc:sldMk cId="805391361" sldId="2147479729"/>
            <ac:cxnSpMk id="101" creationId="{9A9DE27D-23B8-9D83-D1DC-3B761DD19EE7}"/>
          </ac:cxnSpMkLst>
        </pc:cxnChg>
      </pc:sldChg>
      <pc:sldChg chg="add">
        <pc:chgData name="Hu, Frank" userId="d3ad470f-91d8-4bd6-b171-9c10023cc60b" providerId="ADAL" clId="{F46F829C-35B7-4081-93FD-C381AD92AAD7}" dt="2023-04-25T11:49:37.044" v="9392"/>
        <pc:sldMkLst>
          <pc:docMk/>
          <pc:sldMk cId="3749358494" sldId="2147479730"/>
        </pc:sldMkLst>
      </pc:sldChg>
      <pc:sldChg chg="addSp delSp modSp new mod ord modShow">
        <pc:chgData name="Hu, Frank" userId="d3ad470f-91d8-4bd6-b171-9c10023cc60b" providerId="ADAL" clId="{F46F829C-35B7-4081-93FD-C381AD92AAD7}" dt="2023-04-27T09:44:43.710" v="12018"/>
        <pc:sldMkLst>
          <pc:docMk/>
          <pc:sldMk cId="2243760408" sldId="2147479731"/>
        </pc:sldMkLst>
        <pc:spChg chg="mod">
          <ac:chgData name="Hu, Frank" userId="d3ad470f-91d8-4bd6-b171-9c10023cc60b" providerId="ADAL" clId="{F46F829C-35B7-4081-93FD-C381AD92AAD7}" dt="2023-04-26T02:58:12.906" v="9582"/>
          <ac:spMkLst>
            <pc:docMk/>
            <pc:sldMk cId="2243760408" sldId="2147479731"/>
            <ac:spMk id="2" creationId="{A3FAA32E-DA2D-58DF-8980-A2405CABD2C6}"/>
          </ac:spMkLst>
        </pc:spChg>
        <pc:spChg chg="add mod">
          <ac:chgData name="Hu, Frank" userId="d3ad470f-91d8-4bd6-b171-9c10023cc60b" providerId="ADAL" clId="{F46F829C-35B7-4081-93FD-C381AD92AAD7}" dt="2023-04-26T02:58:18.444" v="9583"/>
          <ac:spMkLst>
            <pc:docMk/>
            <pc:sldMk cId="2243760408" sldId="2147479731"/>
            <ac:spMk id="4" creationId="{1F42C39A-397F-8DB2-9FF2-C365535968E3}"/>
          </ac:spMkLst>
        </pc:spChg>
        <pc:spChg chg="add mod">
          <ac:chgData name="Hu, Frank" userId="d3ad470f-91d8-4bd6-b171-9c10023cc60b" providerId="ADAL" clId="{F46F829C-35B7-4081-93FD-C381AD92AAD7}" dt="2023-04-26T10:41:30.292" v="10647" actId="20577"/>
          <ac:spMkLst>
            <pc:docMk/>
            <pc:sldMk cId="2243760408" sldId="2147479731"/>
            <ac:spMk id="5" creationId="{705441EF-A5AE-2A11-D104-2B24BB731E4E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6" creationId="{6E3CD10E-FB8E-6872-3244-42A2AF3D4589}"/>
          </ac:spMkLst>
        </pc:spChg>
        <pc:spChg chg="add mod">
          <ac:chgData name="Hu, Frank" userId="d3ad470f-91d8-4bd6-b171-9c10023cc60b" providerId="ADAL" clId="{F46F829C-35B7-4081-93FD-C381AD92AAD7}" dt="2023-04-26T08:53:10.080" v="10643" actId="20577"/>
          <ac:spMkLst>
            <pc:docMk/>
            <pc:sldMk cId="2243760408" sldId="2147479731"/>
            <ac:spMk id="7" creationId="{F3457BFC-2DF2-8086-2222-C13FD0D07E26}"/>
          </ac:spMkLst>
        </pc:spChg>
        <pc:spChg chg="mod">
          <ac:chgData name="Hu, Frank" userId="d3ad470f-91d8-4bd6-b171-9c10023cc60b" providerId="ADAL" clId="{F46F829C-35B7-4081-93FD-C381AD92AAD7}" dt="2023-04-26T06:33:21.124" v="10490" actId="20577"/>
          <ac:spMkLst>
            <pc:docMk/>
            <pc:sldMk cId="2243760408" sldId="2147479731"/>
            <ac:spMk id="10" creationId="{6659C776-4DBE-8CFD-2EA6-D4C19A31691A}"/>
          </ac:spMkLst>
        </pc:spChg>
        <pc:spChg chg="mod">
          <ac:chgData name="Hu, Frank" userId="d3ad470f-91d8-4bd6-b171-9c10023cc60b" providerId="ADAL" clId="{F46F829C-35B7-4081-93FD-C381AD92AAD7}" dt="2023-04-26T02:58:50.407" v="9588"/>
          <ac:spMkLst>
            <pc:docMk/>
            <pc:sldMk cId="2243760408" sldId="2147479731"/>
            <ac:spMk id="12" creationId="{3356825D-906B-02D4-3D9F-067A19469905}"/>
          </ac:spMkLst>
        </pc:spChg>
        <pc:spChg chg="add mod">
          <ac:chgData name="Hu, Frank" userId="d3ad470f-91d8-4bd6-b171-9c10023cc60b" providerId="ADAL" clId="{F46F829C-35B7-4081-93FD-C381AD92AAD7}" dt="2023-04-26T06:19:59.379" v="10382" actId="14100"/>
          <ac:spMkLst>
            <pc:docMk/>
            <pc:sldMk cId="2243760408" sldId="2147479731"/>
            <ac:spMk id="14" creationId="{F6B02501-607F-FF77-5CE3-E8D6C346398F}"/>
          </ac:spMkLst>
        </pc:spChg>
        <pc:spChg chg="add del mod">
          <ac:chgData name="Hu, Frank" userId="d3ad470f-91d8-4bd6-b171-9c10023cc60b" providerId="ADAL" clId="{F46F829C-35B7-4081-93FD-C381AD92AAD7}" dt="2023-04-26T03:13:24.818" v="9717" actId="478"/>
          <ac:spMkLst>
            <pc:docMk/>
            <pc:sldMk cId="2243760408" sldId="2147479731"/>
            <ac:spMk id="15" creationId="{BD00DD65-1B6F-89AA-6681-15602EE0CBEA}"/>
          </ac:spMkLst>
        </pc:spChg>
        <pc:spChg chg="add del mod">
          <ac:chgData name="Hu, Frank" userId="d3ad470f-91d8-4bd6-b171-9c10023cc60b" providerId="ADAL" clId="{F46F829C-35B7-4081-93FD-C381AD92AAD7}" dt="2023-04-26T03:43:51.650" v="10026" actId="478"/>
          <ac:spMkLst>
            <pc:docMk/>
            <pc:sldMk cId="2243760408" sldId="2147479731"/>
            <ac:spMk id="16" creationId="{A045FD69-C481-F214-799C-80F3CA61B786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17" creationId="{01AB0D23-2F6A-84DD-F6E7-C04E772F5168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18" creationId="{5834268A-99D2-EB51-339E-5D7CED977139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20" creationId="{1B39588B-071E-C3EB-224C-9B839E900FBD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21" creationId="{CE60FEED-946E-6695-D42B-4BE733FAB01C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22" creationId="{9D67633D-3B2E-E027-B85D-DEB29F9D2BDA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23" creationId="{FB8547B7-D55C-73B1-1273-A3E0EC73528F}"/>
          </ac:spMkLst>
        </pc:spChg>
        <pc:spChg chg="add del mod">
          <ac:chgData name="Hu, Frank" userId="d3ad470f-91d8-4bd6-b171-9c10023cc60b" providerId="ADAL" clId="{F46F829C-35B7-4081-93FD-C381AD92AAD7}" dt="2023-04-26T03:14:03.273" v="9751" actId="478"/>
          <ac:spMkLst>
            <pc:docMk/>
            <pc:sldMk cId="2243760408" sldId="2147479731"/>
            <ac:spMk id="25" creationId="{1E343E64-1213-20EE-D630-3BBC12B45715}"/>
          </ac:spMkLst>
        </pc:spChg>
        <pc:spChg chg="add del mod">
          <ac:chgData name="Hu, Frank" userId="d3ad470f-91d8-4bd6-b171-9c10023cc60b" providerId="ADAL" clId="{F46F829C-35B7-4081-93FD-C381AD92AAD7}" dt="2023-04-26T03:14:03.273" v="9751" actId="478"/>
          <ac:spMkLst>
            <pc:docMk/>
            <pc:sldMk cId="2243760408" sldId="2147479731"/>
            <ac:spMk id="27" creationId="{8854D29D-F71B-9F3E-01ED-3502B124EB08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28" creationId="{3342CE98-48FC-C8A2-89D6-D184C0CCE771}"/>
          </ac:spMkLst>
        </pc:spChg>
        <pc:spChg chg="add del mod">
          <ac:chgData name="Hu, Frank" userId="d3ad470f-91d8-4bd6-b171-9c10023cc60b" providerId="ADAL" clId="{F46F829C-35B7-4081-93FD-C381AD92AAD7}" dt="2023-04-26T03:14:03.273" v="9751" actId="478"/>
          <ac:spMkLst>
            <pc:docMk/>
            <pc:sldMk cId="2243760408" sldId="2147479731"/>
            <ac:spMk id="29" creationId="{495ADD12-5894-13AC-EFEB-80467FFFC684}"/>
          </ac:spMkLst>
        </pc:spChg>
        <pc:spChg chg="add del mod">
          <ac:chgData name="Hu, Frank" userId="d3ad470f-91d8-4bd6-b171-9c10023cc60b" providerId="ADAL" clId="{F46F829C-35B7-4081-93FD-C381AD92AAD7}" dt="2023-04-26T03:14:03.273" v="9751" actId="478"/>
          <ac:spMkLst>
            <pc:docMk/>
            <pc:sldMk cId="2243760408" sldId="2147479731"/>
            <ac:spMk id="30" creationId="{F4FBCF96-A217-9F2E-A55B-C10BA4579E1B}"/>
          </ac:spMkLst>
        </pc:spChg>
        <pc:spChg chg="add del mod">
          <ac:chgData name="Hu, Frank" userId="d3ad470f-91d8-4bd6-b171-9c10023cc60b" providerId="ADAL" clId="{F46F829C-35B7-4081-93FD-C381AD92AAD7}" dt="2023-04-26T03:14:03.273" v="9751" actId="478"/>
          <ac:spMkLst>
            <pc:docMk/>
            <pc:sldMk cId="2243760408" sldId="2147479731"/>
            <ac:spMk id="31" creationId="{702D35BB-ED24-18C8-1002-E1B16A47DDB5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35" creationId="{F0CA3F8A-9183-2FCB-B8B5-9D6BC5478E75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38" creationId="{2BBE97AF-5296-54C5-A614-21A38CDC068F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39" creationId="{BAF573AD-EDDB-5C63-0A2D-7645C4C0ED37}"/>
          </ac:spMkLst>
        </pc:spChg>
        <pc:spChg chg="add mod">
          <ac:chgData name="Hu, Frank" userId="d3ad470f-91d8-4bd6-b171-9c10023cc60b" providerId="ADAL" clId="{F46F829C-35B7-4081-93FD-C381AD92AAD7}" dt="2023-04-26T06:30:45.079" v="10472" actId="1076"/>
          <ac:spMkLst>
            <pc:docMk/>
            <pc:sldMk cId="2243760408" sldId="2147479731"/>
            <ac:spMk id="50" creationId="{5625C48B-2ED6-0F6F-D9F8-756B49F44E15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52" creationId="{EA2904D8-FC78-1077-CB00-5690B6C525E8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53" creationId="{96BD7D97-0BE1-34D0-C00C-02AE84796740}"/>
          </ac:spMkLst>
        </pc:spChg>
        <pc:spChg chg="add mod">
          <ac:chgData name="Hu, Frank" userId="d3ad470f-91d8-4bd6-b171-9c10023cc60b" providerId="ADAL" clId="{F46F829C-35B7-4081-93FD-C381AD92AAD7}" dt="2023-04-26T06:34:04.382" v="10491" actId="1076"/>
          <ac:spMkLst>
            <pc:docMk/>
            <pc:sldMk cId="2243760408" sldId="2147479731"/>
            <ac:spMk id="57" creationId="{EF844E9A-40E7-2235-50B2-FE1C760EE1EA}"/>
          </ac:spMkLst>
        </pc:spChg>
        <pc:spChg chg="add mod">
          <ac:chgData name="Hu, Frank" userId="d3ad470f-91d8-4bd6-b171-9c10023cc60b" providerId="ADAL" clId="{F46F829C-35B7-4081-93FD-C381AD92AAD7}" dt="2023-04-26T10:39:20.223" v="10644" actId="20577"/>
          <ac:spMkLst>
            <pc:docMk/>
            <pc:sldMk cId="2243760408" sldId="2147479731"/>
            <ac:spMk id="58" creationId="{19D1906F-723F-CBFB-CE19-EF90E74A1B7D}"/>
          </ac:spMkLst>
        </pc:spChg>
        <pc:spChg chg="add mod">
          <ac:chgData name="Hu, Frank" userId="d3ad470f-91d8-4bd6-b171-9c10023cc60b" providerId="ADAL" clId="{F46F829C-35B7-4081-93FD-C381AD92AAD7}" dt="2023-04-26T06:31:35.624" v="10482" actId="1076"/>
          <ac:spMkLst>
            <pc:docMk/>
            <pc:sldMk cId="2243760408" sldId="2147479731"/>
            <ac:spMk id="60" creationId="{73EEAE37-1206-4DFD-98E2-FEA2824713C7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61" creationId="{8E095121-0D87-5DA8-7812-90DDD4A43061}"/>
          </ac:spMkLst>
        </pc:spChg>
        <pc:spChg chg="add del mod">
          <ac:chgData name="Hu, Frank" userId="d3ad470f-91d8-4bd6-b171-9c10023cc60b" providerId="ADAL" clId="{F46F829C-35B7-4081-93FD-C381AD92AAD7}" dt="2023-04-26T03:45:50.655" v="10037" actId="478"/>
          <ac:spMkLst>
            <pc:docMk/>
            <pc:sldMk cId="2243760408" sldId="2147479731"/>
            <ac:spMk id="66" creationId="{3196C99A-D41D-DFDB-5E31-34A1039BD5B5}"/>
          </ac:spMkLst>
        </pc:spChg>
        <pc:spChg chg="add mod or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69" creationId="{EA8D6CB2-1AA0-84A8-A28E-832EEF023BAE}"/>
          </ac:spMkLst>
        </pc:spChg>
        <pc:spChg chg="add del mod">
          <ac:chgData name="Hu, Frank" userId="d3ad470f-91d8-4bd6-b171-9c10023cc60b" providerId="ADAL" clId="{F46F829C-35B7-4081-93FD-C381AD92AAD7}" dt="2023-04-26T04:05:35.401" v="10209" actId="478"/>
          <ac:spMkLst>
            <pc:docMk/>
            <pc:sldMk cId="2243760408" sldId="2147479731"/>
            <ac:spMk id="70" creationId="{EE7729DF-A108-1E2C-022D-1E7034463CD0}"/>
          </ac:spMkLst>
        </pc:spChg>
        <pc:spChg chg="add del mod">
          <ac:chgData name="Hu, Frank" userId="d3ad470f-91d8-4bd6-b171-9c10023cc60b" providerId="ADAL" clId="{F46F829C-35B7-4081-93FD-C381AD92AAD7}" dt="2023-04-26T06:19:12.847" v="10343" actId="478"/>
          <ac:spMkLst>
            <pc:docMk/>
            <pc:sldMk cId="2243760408" sldId="2147479731"/>
            <ac:spMk id="72" creationId="{D8168F77-AF96-17A5-E16F-1C8791F7CFE1}"/>
          </ac:spMkLst>
        </pc:spChg>
        <pc:spChg chg="add del mod">
          <ac:chgData name="Hu, Frank" userId="d3ad470f-91d8-4bd6-b171-9c10023cc60b" providerId="ADAL" clId="{F46F829C-35B7-4081-93FD-C381AD92AAD7}" dt="2023-04-26T06:19:15.705" v="10345" actId="478"/>
          <ac:spMkLst>
            <pc:docMk/>
            <pc:sldMk cId="2243760408" sldId="2147479731"/>
            <ac:spMk id="73" creationId="{AFD5CC4D-03D5-D18F-4BF4-770BC31679F7}"/>
          </ac:spMkLst>
        </pc:spChg>
        <pc:spChg chg="add mod">
          <ac:chgData name="Hu, Frank" userId="d3ad470f-91d8-4bd6-b171-9c10023cc60b" providerId="ADAL" clId="{F46F829C-35B7-4081-93FD-C381AD92AAD7}" dt="2023-04-26T06:20:16.530" v="10384" actId="14100"/>
          <ac:spMkLst>
            <pc:docMk/>
            <pc:sldMk cId="2243760408" sldId="2147479731"/>
            <ac:spMk id="83" creationId="{F651378E-1A23-A639-A394-BE5F688C4F07}"/>
          </ac:spMkLst>
        </pc:spChg>
        <pc:spChg chg="add mod">
          <ac:chgData name="Hu, Frank" userId="d3ad470f-91d8-4bd6-b171-9c10023cc60b" providerId="ADAL" clId="{F46F829C-35B7-4081-93FD-C381AD92AAD7}" dt="2023-04-26T06:21:55.830" v="10396" actId="1038"/>
          <ac:spMkLst>
            <pc:docMk/>
            <pc:sldMk cId="2243760408" sldId="2147479731"/>
            <ac:spMk id="84" creationId="{8F2B87EF-986C-CFD9-9E00-29BDC60F5BA2}"/>
          </ac:spMkLst>
        </pc:spChg>
        <pc:spChg chg="add del mod">
          <ac:chgData name="Hu, Frank" userId="d3ad470f-91d8-4bd6-b171-9c10023cc60b" providerId="ADAL" clId="{F46F829C-35B7-4081-93FD-C381AD92AAD7}" dt="2023-04-26T06:19:18.770" v="10346" actId="478"/>
          <ac:spMkLst>
            <pc:docMk/>
            <pc:sldMk cId="2243760408" sldId="2147479731"/>
            <ac:spMk id="94" creationId="{577DCE85-106E-3218-BF90-741CF4EA9F13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115" creationId="{F34D176C-A932-A732-8806-DBCD7DE54887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116" creationId="{A53D4C88-56E4-0E3E-AD17-687D8AEE0C28}"/>
          </ac:spMkLst>
        </pc:spChg>
        <pc:spChg chg="add del mod">
          <ac:chgData name="Hu, Frank" userId="d3ad470f-91d8-4bd6-b171-9c10023cc60b" providerId="ADAL" clId="{F46F829C-35B7-4081-93FD-C381AD92AAD7}" dt="2023-04-26T04:06:53.355" v="10243" actId="478"/>
          <ac:spMkLst>
            <pc:docMk/>
            <pc:sldMk cId="2243760408" sldId="2147479731"/>
            <ac:spMk id="121" creationId="{C659E545-8E8F-1837-9A06-F4C59575FEEE}"/>
          </ac:spMkLst>
        </pc:spChg>
        <pc:spChg chg="add del mod">
          <ac:chgData name="Hu, Frank" userId="d3ad470f-91d8-4bd6-b171-9c10023cc60b" providerId="ADAL" clId="{F46F829C-35B7-4081-93FD-C381AD92AAD7}" dt="2023-04-26T04:06:53.355" v="10243" actId="478"/>
          <ac:spMkLst>
            <pc:docMk/>
            <pc:sldMk cId="2243760408" sldId="2147479731"/>
            <ac:spMk id="122" creationId="{952DC124-C9DD-C6FE-1908-A96BF8C16182}"/>
          </ac:spMkLst>
        </pc:spChg>
        <pc:spChg chg="add mod">
          <ac:chgData name="Hu, Frank" userId="d3ad470f-91d8-4bd6-b171-9c10023cc60b" providerId="ADAL" clId="{F46F829C-35B7-4081-93FD-C381AD92AAD7}" dt="2023-04-26T06:19:46.200" v="10379" actId="1036"/>
          <ac:spMkLst>
            <pc:docMk/>
            <pc:sldMk cId="2243760408" sldId="2147479731"/>
            <ac:spMk id="123" creationId="{0B884646-0D67-7AC7-063B-26E502C6429B}"/>
          </ac:spMkLst>
        </pc:spChg>
        <pc:spChg chg="add del mod">
          <ac:chgData name="Hu, Frank" userId="d3ad470f-91d8-4bd6-b171-9c10023cc60b" providerId="ADAL" clId="{F46F829C-35B7-4081-93FD-C381AD92AAD7}" dt="2023-04-26T05:37:30.381" v="10332" actId="478"/>
          <ac:spMkLst>
            <pc:docMk/>
            <pc:sldMk cId="2243760408" sldId="2147479731"/>
            <ac:spMk id="136" creationId="{A49B68B2-7D7A-0771-6B0F-46A8B40D70A9}"/>
          </ac:spMkLst>
        </pc:spChg>
        <pc:spChg chg="add mod">
          <ac:chgData name="Hu, Frank" userId="d3ad470f-91d8-4bd6-b171-9c10023cc60b" providerId="ADAL" clId="{F46F829C-35B7-4081-93FD-C381AD92AAD7}" dt="2023-04-26T06:25:55.337" v="10423" actId="14100"/>
          <ac:spMkLst>
            <pc:docMk/>
            <pc:sldMk cId="2243760408" sldId="2147479731"/>
            <ac:spMk id="144" creationId="{1985AF62-E988-27D9-30F6-679592CE5CA0}"/>
          </ac:spMkLst>
        </pc:spChg>
        <pc:spChg chg="add mod">
          <ac:chgData name="Hu, Frank" userId="d3ad470f-91d8-4bd6-b171-9c10023cc60b" providerId="ADAL" clId="{F46F829C-35B7-4081-93FD-C381AD92AAD7}" dt="2023-04-26T06:27:06.651" v="10451" actId="20577"/>
          <ac:spMkLst>
            <pc:docMk/>
            <pc:sldMk cId="2243760408" sldId="2147479731"/>
            <ac:spMk id="148" creationId="{98938924-F15D-6BEB-D764-48223D2D5A52}"/>
          </ac:spMkLst>
        </pc:spChg>
        <pc:spChg chg="add mod">
          <ac:chgData name="Hu, Frank" userId="d3ad470f-91d8-4bd6-b171-9c10023cc60b" providerId="ADAL" clId="{F46F829C-35B7-4081-93FD-C381AD92AAD7}" dt="2023-04-26T06:25:51.586" v="10422" actId="1076"/>
          <ac:spMkLst>
            <pc:docMk/>
            <pc:sldMk cId="2243760408" sldId="2147479731"/>
            <ac:spMk id="160" creationId="{5EA21343-4420-D585-71D1-F624DCB88705}"/>
          </ac:spMkLst>
        </pc:spChg>
        <pc:spChg chg="add mod">
          <ac:chgData name="Hu, Frank" userId="d3ad470f-91d8-4bd6-b171-9c10023cc60b" providerId="ADAL" clId="{F46F829C-35B7-4081-93FD-C381AD92AAD7}" dt="2023-04-26T06:26:14.073" v="10428" actId="1076"/>
          <ac:spMkLst>
            <pc:docMk/>
            <pc:sldMk cId="2243760408" sldId="2147479731"/>
            <ac:spMk id="162" creationId="{9B1D5005-8738-0A3E-FDFB-41617A79EADF}"/>
          </ac:spMkLst>
        </pc:spChg>
        <pc:spChg chg="add mod">
          <ac:chgData name="Hu, Frank" userId="d3ad470f-91d8-4bd6-b171-9c10023cc60b" providerId="ADAL" clId="{F46F829C-35B7-4081-93FD-C381AD92AAD7}" dt="2023-04-26T06:26:10.512" v="10427" actId="1076"/>
          <ac:spMkLst>
            <pc:docMk/>
            <pc:sldMk cId="2243760408" sldId="2147479731"/>
            <ac:spMk id="163" creationId="{E5BA2CE3-BDB2-2831-285B-A90AC86C6A5F}"/>
          </ac:spMkLst>
        </pc:spChg>
        <pc:spChg chg="add mod">
          <ac:chgData name="Hu, Frank" userId="d3ad470f-91d8-4bd6-b171-9c10023cc60b" providerId="ADAL" clId="{F46F829C-35B7-4081-93FD-C381AD92AAD7}" dt="2023-04-26T06:28:00.456" v="10453" actId="1076"/>
          <ac:spMkLst>
            <pc:docMk/>
            <pc:sldMk cId="2243760408" sldId="2147479731"/>
            <ac:spMk id="166" creationId="{3C6CAAD3-F55B-5EFA-1071-1EFA37A00695}"/>
          </ac:spMkLst>
        </pc:spChg>
        <pc:grpChg chg="add mod">
          <ac:chgData name="Hu, Frank" userId="d3ad470f-91d8-4bd6-b171-9c10023cc60b" providerId="ADAL" clId="{F46F829C-35B7-4081-93FD-C381AD92AAD7}" dt="2023-04-26T02:59:03.343" v="9591" actId="14100"/>
          <ac:grpSpMkLst>
            <pc:docMk/>
            <pc:sldMk cId="2243760408" sldId="2147479731"/>
            <ac:grpSpMk id="8" creationId="{76DEBE2D-BA9A-7334-207B-4BE71600E473}"/>
          </ac:grpSpMkLst>
        </pc:grpChg>
        <pc:grpChg chg="mod">
          <ac:chgData name="Hu, Frank" userId="d3ad470f-91d8-4bd6-b171-9c10023cc60b" providerId="ADAL" clId="{F46F829C-35B7-4081-93FD-C381AD92AAD7}" dt="2023-04-26T02:58:50.407" v="9588"/>
          <ac:grpSpMkLst>
            <pc:docMk/>
            <pc:sldMk cId="2243760408" sldId="2147479731"/>
            <ac:grpSpMk id="11" creationId="{BB3F3726-A05D-F8E9-9018-ACD9313CECF0}"/>
          </ac:grpSpMkLst>
        </pc:grpChg>
        <pc:picChg chg="mod">
          <ac:chgData name="Hu, Frank" userId="d3ad470f-91d8-4bd6-b171-9c10023cc60b" providerId="ADAL" clId="{F46F829C-35B7-4081-93FD-C381AD92AAD7}" dt="2023-04-26T02:58:50.407" v="9588"/>
          <ac:picMkLst>
            <pc:docMk/>
            <pc:sldMk cId="2243760408" sldId="2147479731"/>
            <ac:picMk id="13" creationId="{966BA452-C55B-27F6-D497-EF13887A2E9A}"/>
          </ac:picMkLst>
        </pc:picChg>
        <pc:picChg chg="add del mod">
          <ac:chgData name="Hu, Frank" userId="d3ad470f-91d8-4bd6-b171-9c10023cc60b" providerId="ADAL" clId="{F46F829C-35B7-4081-93FD-C381AD92AAD7}" dt="2023-04-26T05:36:57.936" v="10328" actId="21"/>
          <ac:picMkLst>
            <pc:docMk/>
            <pc:sldMk cId="2243760408" sldId="2147479731"/>
            <ac:picMk id="141" creationId="{52995466-2523-A4BA-36B8-748D415CA200}"/>
          </ac:picMkLst>
        </pc:picChg>
        <pc:cxnChg chg="mod">
          <ac:chgData name="Hu, Frank" userId="d3ad470f-91d8-4bd6-b171-9c10023cc60b" providerId="ADAL" clId="{F46F829C-35B7-4081-93FD-C381AD92AAD7}" dt="2023-04-26T06:30:31.792" v="10470" actId="14100"/>
          <ac:cxnSpMkLst>
            <pc:docMk/>
            <pc:sldMk cId="2243760408" sldId="2147479731"/>
            <ac:cxnSpMk id="9" creationId="{B08C05AC-B9A3-BD2A-450C-3C1B6B872389}"/>
          </ac:cxnSpMkLst>
        </pc:cxnChg>
        <pc:cxnChg chg="add mod">
          <ac:chgData name="Hu, Frank" userId="d3ad470f-91d8-4bd6-b171-9c10023cc60b" providerId="ADAL" clId="{F46F829C-35B7-4081-93FD-C381AD92AAD7}" dt="2023-04-26T06:19:46.200" v="10379" actId="1036"/>
          <ac:cxnSpMkLst>
            <pc:docMk/>
            <pc:sldMk cId="2243760408" sldId="2147479731"/>
            <ac:cxnSpMk id="19" creationId="{104B8E54-FC36-0FB7-8606-57B8F35F56A7}"/>
          </ac:cxnSpMkLst>
        </pc:cxnChg>
        <pc:cxnChg chg="add del mod">
          <ac:chgData name="Hu, Frank" userId="d3ad470f-91d8-4bd6-b171-9c10023cc60b" providerId="ADAL" clId="{F46F829C-35B7-4081-93FD-C381AD92AAD7}" dt="2023-04-26T03:19:40.178" v="9752" actId="478"/>
          <ac:cxnSpMkLst>
            <pc:docMk/>
            <pc:sldMk cId="2243760408" sldId="2147479731"/>
            <ac:cxnSpMk id="24" creationId="{A4CB673E-061D-9C23-9A55-D95654A11FD4}"/>
          </ac:cxnSpMkLst>
        </pc:cxnChg>
        <pc:cxnChg chg="add del mod">
          <ac:chgData name="Hu, Frank" userId="d3ad470f-91d8-4bd6-b171-9c10023cc60b" providerId="ADAL" clId="{F46F829C-35B7-4081-93FD-C381AD92AAD7}" dt="2023-04-26T03:22:08.647" v="9767" actId="478"/>
          <ac:cxnSpMkLst>
            <pc:docMk/>
            <pc:sldMk cId="2243760408" sldId="2147479731"/>
            <ac:cxnSpMk id="26" creationId="{8C9C8497-97C7-BCDB-668C-6FEBD03025BF}"/>
          </ac:cxnSpMkLst>
        </pc:cxnChg>
        <pc:cxnChg chg="add del mod">
          <ac:chgData name="Hu, Frank" userId="d3ad470f-91d8-4bd6-b171-9c10023cc60b" providerId="ADAL" clId="{F46F829C-35B7-4081-93FD-C381AD92AAD7}" dt="2023-04-26T03:14:03.273" v="9751" actId="478"/>
          <ac:cxnSpMkLst>
            <pc:docMk/>
            <pc:sldMk cId="2243760408" sldId="2147479731"/>
            <ac:cxnSpMk id="32" creationId="{24C76706-649A-F553-ACEE-D06312BA5463}"/>
          </ac:cxnSpMkLst>
        </pc:cxnChg>
        <pc:cxnChg chg="add del mod">
          <ac:chgData name="Hu, Frank" userId="d3ad470f-91d8-4bd6-b171-9c10023cc60b" providerId="ADAL" clId="{F46F829C-35B7-4081-93FD-C381AD92AAD7}" dt="2023-04-26T03:14:03.273" v="9751" actId="478"/>
          <ac:cxnSpMkLst>
            <pc:docMk/>
            <pc:sldMk cId="2243760408" sldId="2147479731"/>
            <ac:cxnSpMk id="33" creationId="{7DDA5258-B2E4-DDDA-C52D-19C761AF5F7B}"/>
          </ac:cxnSpMkLst>
        </pc:cxnChg>
        <pc:cxnChg chg="add del mod">
          <ac:chgData name="Hu, Frank" userId="d3ad470f-91d8-4bd6-b171-9c10023cc60b" providerId="ADAL" clId="{F46F829C-35B7-4081-93FD-C381AD92AAD7}" dt="2023-04-26T03:14:03.273" v="9751" actId="478"/>
          <ac:cxnSpMkLst>
            <pc:docMk/>
            <pc:sldMk cId="2243760408" sldId="2147479731"/>
            <ac:cxnSpMk id="34" creationId="{D86CBCE9-7FA6-6849-A258-1851E41C7DBD}"/>
          </ac:cxnSpMkLst>
        </pc:cxnChg>
        <pc:cxnChg chg="add mod">
          <ac:chgData name="Hu, Frank" userId="d3ad470f-91d8-4bd6-b171-9c10023cc60b" providerId="ADAL" clId="{F46F829C-35B7-4081-93FD-C381AD92AAD7}" dt="2023-04-26T06:19:46.200" v="10379" actId="1036"/>
          <ac:cxnSpMkLst>
            <pc:docMk/>
            <pc:sldMk cId="2243760408" sldId="2147479731"/>
            <ac:cxnSpMk id="41" creationId="{1F326899-96AE-3680-A040-98360152ECDF}"/>
          </ac:cxnSpMkLst>
        </pc:cxnChg>
        <pc:cxnChg chg="add del mod">
          <ac:chgData name="Hu, Frank" userId="d3ad470f-91d8-4bd6-b171-9c10023cc60b" providerId="ADAL" clId="{F46F829C-35B7-4081-93FD-C381AD92AAD7}" dt="2023-04-26T04:00:32.740" v="10154" actId="478"/>
          <ac:cxnSpMkLst>
            <pc:docMk/>
            <pc:sldMk cId="2243760408" sldId="2147479731"/>
            <ac:cxnSpMk id="45" creationId="{23FECB76-736D-CF97-EE70-06BEE80D7B0B}"/>
          </ac:cxnSpMkLst>
        </pc:cxnChg>
        <pc:cxnChg chg="add del mod">
          <ac:chgData name="Hu, Frank" userId="d3ad470f-91d8-4bd6-b171-9c10023cc60b" providerId="ADAL" clId="{F46F829C-35B7-4081-93FD-C381AD92AAD7}" dt="2023-04-26T03:54:43.962" v="10088" actId="478"/>
          <ac:cxnSpMkLst>
            <pc:docMk/>
            <pc:sldMk cId="2243760408" sldId="2147479731"/>
            <ac:cxnSpMk id="47" creationId="{3CB45855-B926-E736-2FFF-3589AB612B5A}"/>
          </ac:cxnSpMkLst>
        </pc:cxnChg>
        <pc:cxnChg chg="add mod">
          <ac:chgData name="Hu, Frank" userId="d3ad470f-91d8-4bd6-b171-9c10023cc60b" providerId="ADAL" clId="{F46F829C-35B7-4081-93FD-C381AD92AAD7}" dt="2023-04-26T06:19:46.200" v="10379" actId="1036"/>
          <ac:cxnSpMkLst>
            <pc:docMk/>
            <pc:sldMk cId="2243760408" sldId="2147479731"/>
            <ac:cxnSpMk id="54" creationId="{95359DB3-FB27-F817-FDAF-3F2ECA73B795}"/>
          </ac:cxnSpMkLst>
        </pc:cxnChg>
        <pc:cxnChg chg="add del mod">
          <ac:chgData name="Hu, Frank" userId="d3ad470f-91d8-4bd6-b171-9c10023cc60b" providerId="ADAL" clId="{F46F829C-35B7-4081-93FD-C381AD92AAD7}" dt="2023-04-26T03:45:47.785" v="10036" actId="478"/>
          <ac:cxnSpMkLst>
            <pc:docMk/>
            <pc:sldMk cId="2243760408" sldId="2147479731"/>
            <ac:cxnSpMk id="63" creationId="{A296974A-535E-FA4A-6B2A-55C0FEBB2915}"/>
          </ac:cxnSpMkLst>
        </pc:cxnChg>
        <pc:cxnChg chg="add del mod">
          <ac:chgData name="Hu, Frank" userId="d3ad470f-91d8-4bd6-b171-9c10023cc60b" providerId="ADAL" clId="{F46F829C-35B7-4081-93FD-C381AD92AAD7}" dt="2023-04-26T04:04:03.653" v="10184" actId="478"/>
          <ac:cxnSpMkLst>
            <pc:docMk/>
            <pc:sldMk cId="2243760408" sldId="2147479731"/>
            <ac:cxnSpMk id="68" creationId="{60B2766A-17BB-5226-696A-2EC92D0FEB16}"/>
          </ac:cxnSpMkLst>
        </pc:cxnChg>
        <pc:cxnChg chg="add del mod">
          <ac:chgData name="Hu, Frank" userId="d3ad470f-91d8-4bd6-b171-9c10023cc60b" providerId="ADAL" clId="{F46F829C-35B7-4081-93FD-C381AD92AAD7}" dt="2023-04-26T04:02:02.855" v="10167" actId="478"/>
          <ac:cxnSpMkLst>
            <pc:docMk/>
            <pc:sldMk cId="2243760408" sldId="2147479731"/>
            <ac:cxnSpMk id="85" creationId="{F7499BD2-57FA-D3C5-1886-A0838AB93DB8}"/>
          </ac:cxnSpMkLst>
        </pc:cxnChg>
        <pc:cxnChg chg="add mod">
          <ac:chgData name="Hu, Frank" userId="d3ad470f-91d8-4bd6-b171-9c10023cc60b" providerId="ADAL" clId="{F46F829C-35B7-4081-93FD-C381AD92AAD7}" dt="2023-04-26T06:21:55.830" v="10396" actId="1038"/>
          <ac:cxnSpMkLst>
            <pc:docMk/>
            <pc:sldMk cId="2243760408" sldId="2147479731"/>
            <ac:cxnSpMk id="89" creationId="{B074A053-EF39-815C-0C4B-2BF4570E5893}"/>
          </ac:cxnSpMkLst>
        </pc:cxnChg>
        <pc:cxnChg chg="add del mod">
          <ac:chgData name="Hu, Frank" userId="d3ad470f-91d8-4bd6-b171-9c10023cc60b" providerId="ADAL" clId="{F46F829C-35B7-4081-93FD-C381AD92AAD7}" dt="2023-04-26T04:09:45.722" v="10276" actId="478"/>
          <ac:cxnSpMkLst>
            <pc:docMk/>
            <pc:sldMk cId="2243760408" sldId="2147479731"/>
            <ac:cxnSpMk id="92" creationId="{122C063B-5537-2D3D-199F-C4ED1F174747}"/>
          </ac:cxnSpMkLst>
        </pc:cxnChg>
        <pc:cxnChg chg="add del mod">
          <ac:chgData name="Hu, Frank" userId="d3ad470f-91d8-4bd6-b171-9c10023cc60b" providerId="ADAL" clId="{F46F829C-35B7-4081-93FD-C381AD92AAD7}" dt="2023-04-26T04:01:15.298" v="10160" actId="478"/>
          <ac:cxnSpMkLst>
            <pc:docMk/>
            <pc:sldMk cId="2243760408" sldId="2147479731"/>
            <ac:cxnSpMk id="98" creationId="{23C72B3C-A8F0-1DDC-142C-E849EF12915D}"/>
          </ac:cxnSpMkLst>
        </pc:cxnChg>
        <pc:cxnChg chg="add del mod">
          <ac:chgData name="Hu, Frank" userId="d3ad470f-91d8-4bd6-b171-9c10023cc60b" providerId="ADAL" clId="{F46F829C-35B7-4081-93FD-C381AD92AAD7}" dt="2023-04-26T06:05:13.778" v="10333" actId="478"/>
          <ac:cxnSpMkLst>
            <pc:docMk/>
            <pc:sldMk cId="2243760408" sldId="2147479731"/>
            <ac:cxnSpMk id="101" creationId="{3A1347C1-3F39-1175-C08D-2FB231AC79C6}"/>
          </ac:cxnSpMkLst>
        </pc:cxnChg>
        <pc:cxnChg chg="add del mod">
          <ac:chgData name="Hu, Frank" userId="d3ad470f-91d8-4bd6-b171-9c10023cc60b" providerId="ADAL" clId="{F46F829C-35B7-4081-93FD-C381AD92AAD7}" dt="2023-04-26T04:10:56.539" v="10287" actId="478"/>
          <ac:cxnSpMkLst>
            <pc:docMk/>
            <pc:sldMk cId="2243760408" sldId="2147479731"/>
            <ac:cxnSpMk id="104" creationId="{EA96AAD5-F427-6FA3-1141-9808221D09BC}"/>
          </ac:cxnSpMkLst>
        </pc:cxnChg>
        <pc:cxnChg chg="add mod">
          <ac:chgData name="Hu, Frank" userId="d3ad470f-91d8-4bd6-b171-9c10023cc60b" providerId="ADAL" clId="{F46F829C-35B7-4081-93FD-C381AD92AAD7}" dt="2023-04-26T06:19:46.200" v="10379" actId="1036"/>
          <ac:cxnSpMkLst>
            <pc:docMk/>
            <pc:sldMk cId="2243760408" sldId="2147479731"/>
            <ac:cxnSpMk id="110" creationId="{9FE584F9-EB89-BFA6-D0C0-E60CA2A16820}"/>
          </ac:cxnSpMkLst>
        </pc:cxnChg>
        <pc:cxnChg chg="add mod">
          <ac:chgData name="Hu, Frank" userId="d3ad470f-91d8-4bd6-b171-9c10023cc60b" providerId="ADAL" clId="{F46F829C-35B7-4081-93FD-C381AD92AAD7}" dt="2023-04-26T06:19:46.200" v="10379" actId="1036"/>
          <ac:cxnSpMkLst>
            <pc:docMk/>
            <pc:sldMk cId="2243760408" sldId="2147479731"/>
            <ac:cxnSpMk id="117" creationId="{1B76E3B9-E014-2AB7-C0F2-642E707649AF}"/>
          </ac:cxnSpMkLst>
        </pc:cxnChg>
        <pc:cxnChg chg="add mod">
          <ac:chgData name="Hu, Frank" userId="d3ad470f-91d8-4bd6-b171-9c10023cc60b" providerId="ADAL" clId="{F46F829C-35B7-4081-93FD-C381AD92AAD7}" dt="2023-04-26T06:21:55.830" v="10396" actId="1038"/>
          <ac:cxnSpMkLst>
            <pc:docMk/>
            <pc:sldMk cId="2243760408" sldId="2147479731"/>
            <ac:cxnSpMk id="124" creationId="{97039691-88C9-98F8-1DFA-D4AD41B92724}"/>
          </ac:cxnSpMkLst>
        </pc:cxnChg>
        <pc:cxnChg chg="add del mod">
          <ac:chgData name="Hu, Frank" userId="d3ad470f-91d8-4bd6-b171-9c10023cc60b" providerId="ADAL" clId="{F46F829C-35B7-4081-93FD-C381AD92AAD7}" dt="2023-04-26T06:19:13.903" v="10344" actId="478"/>
          <ac:cxnSpMkLst>
            <pc:docMk/>
            <pc:sldMk cId="2243760408" sldId="2147479731"/>
            <ac:cxnSpMk id="128" creationId="{0C93DD9F-043E-01AF-BCC7-04D81D6CFE6C}"/>
          </ac:cxnSpMkLst>
        </pc:cxnChg>
        <pc:cxnChg chg="add del mod">
          <ac:chgData name="Hu, Frank" userId="d3ad470f-91d8-4bd6-b171-9c10023cc60b" providerId="ADAL" clId="{F46F829C-35B7-4081-93FD-C381AD92AAD7}" dt="2023-04-26T05:37:26.976" v="10331" actId="478"/>
          <ac:cxnSpMkLst>
            <pc:docMk/>
            <pc:sldMk cId="2243760408" sldId="2147479731"/>
            <ac:cxnSpMk id="129" creationId="{FB930094-08A9-A094-1478-70690B942A75}"/>
          </ac:cxnSpMkLst>
        </pc:cxnChg>
        <pc:cxnChg chg="add mod">
          <ac:chgData name="Hu, Frank" userId="d3ad470f-91d8-4bd6-b171-9c10023cc60b" providerId="ADAL" clId="{F46F829C-35B7-4081-93FD-C381AD92AAD7}" dt="2023-04-26T06:19:46.200" v="10379" actId="1036"/>
          <ac:cxnSpMkLst>
            <pc:docMk/>
            <pc:sldMk cId="2243760408" sldId="2147479731"/>
            <ac:cxnSpMk id="142" creationId="{0B0BB007-924E-A13F-46A5-16617A6BA7B8}"/>
          </ac:cxnSpMkLst>
        </pc:cxnChg>
        <pc:cxnChg chg="add del mod">
          <ac:chgData name="Hu, Frank" userId="d3ad470f-91d8-4bd6-b171-9c10023cc60b" providerId="ADAL" clId="{F46F829C-35B7-4081-93FD-C381AD92AAD7}" dt="2023-04-26T06:24:36.509" v="10407" actId="478"/>
          <ac:cxnSpMkLst>
            <pc:docMk/>
            <pc:sldMk cId="2243760408" sldId="2147479731"/>
            <ac:cxnSpMk id="145" creationId="{CCDCBC34-1115-D6BC-F575-04B1900C1215}"/>
          </ac:cxnSpMkLst>
        </pc:cxnChg>
        <pc:cxnChg chg="add mod">
          <ac:chgData name="Hu, Frank" userId="d3ad470f-91d8-4bd6-b171-9c10023cc60b" providerId="ADAL" clId="{F46F829C-35B7-4081-93FD-C381AD92AAD7}" dt="2023-04-26T06:26:49.183" v="10432" actId="14100"/>
          <ac:cxnSpMkLst>
            <pc:docMk/>
            <pc:sldMk cId="2243760408" sldId="2147479731"/>
            <ac:cxnSpMk id="153" creationId="{EB4F5261-60F5-2FA8-4A2C-CD23C0300462}"/>
          </ac:cxnSpMkLst>
        </pc:cxnChg>
        <pc:cxnChg chg="add mod">
          <ac:chgData name="Hu, Frank" userId="d3ad470f-91d8-4bd6-b171-9c10023cc60b" providerId="ADAL" clId="{F46F829C-35B7-4081-93FD-C381AD92AAD7}" dt="2023-04-26T06:26:25.913" v="10429" actId="208"/>
          <ac:cxnSpMkLst>
            <pc:docMk/>
            <pc:sldMk cId="2243760408" sldId="2147479731"/>
            <ac:cxnSpMk id="156" creationId="{3B7B9FFD-48DB-E526-4BDD-70018C2DB6F1}"/>
          </ac:cxnSpMkLst>
        </pc:cxnChg>
        <pc:cxnChg chg="add del mod">
          <ac:chgData name="Hu, Frank" userId="d3ad470f-91d8-4bd6-b171-9c10023cc60b" providerId="ADAL" clId="{F46F829C-35B7-4081-93FD-C381AD92AAD7}" dt="2023-04-26T06:25:45.820" v="10420"/>
          <ac:cxnSpMkLst>
            <pc:docMk/>
            <pc:sldMk cId="2243760408" sldId="2147479731"/>
            <ac:cxnSpMk id="159" creationId="{376A2703-528B-20D7-2C5A-84A4DAE234E2}"/>
          </ac:cxnSpMkLst>
        </pc:cxnChg>
        <pc:cxnChg chg="add mod">
          <ac:chgData name="Hu, Frank" userId="d3ad470f-91d8-4bd6-b171-9c10023cc60b" providerId="ADAL" clId="{F46F829C-35B7-4081-93FD-C381AD92AAD7}" dt="2023-04-26T06:30:37.680" v="10471" actId="14100"/>
          <ac:cxnSpMkLst>
            <pc:docMk/>
            <pc:sldMk cId="2243760408" sldId="2147479731"/>
            <ac:cxnSpMk id="167" creationId="{B2B00B40-E4DD-FAED-7596-4C9DDABFCF2D}"/>
          </ac:cxnSpMkLst>
        </pc:cxnChg>
        <pc:cxnChg chg="add mod">
          <ac:chgData name="Hu, Frank" userId="d3ad470f-91d8-4bd6-b171-9c10023cc60b" providerId="ADAL" clId="{F46F829C-35B7-4081-93FD-C381AD92AAD7}" dt="2023-04-26T06:30:51.848" v="10473" actId="14100"/>
          <ac:cxnSpMkLst>
            <pc:docMk/>
            <pc:sldMk cId="2243760408" sldId="2147479731"/>
            <ac:cxnSpMk id="168" creationId="{48B37E8C-3A46-7438-1C7E-91B9133DEE21}"/>
          </ac:cxnSpMkLst>
        </pc:cxnChg>
        <pc:cxnChg chg="add mod">
          <ac:chgData name="Hu, Frank" userId="d3ad470f-91d8-4bd6-b171-9c10023cc60b" providerId="ADAL" clId="{F46F829C-35B7-4081-93FD-C381AD92AAD7}" dt="2023-04-26T06:30:24.312" v="10469" actId="14100"/>
          <ac:cxnSpMkLst>
            <pc:docMk/>
            <pc:sldMk cId="2243760408" sldId="2147479731"/>
            <ac:cxnSpMk id="169" creationId="{DD9F7D09-A751-2C6F-CB31-CC7C3DA56522}"/>
          </ac:cxnSpMkLst>
        </pc:cxnChg>
        <pc:cxnChg chg="add mod">
          <ac:chgData name="Hu, Frank" userId="d3ad470f-91d8-4bd6-b171-9c10023cc60b" providerId="ADAL" clId="{F46F829C-35B7-4081-93FD-C381AD92AAD7}" dt="2023-04-26T06:31:05.512" v="10476" actId="14100"/>
          <ac:cxnSpMkLst>
            <pc:docMk/>
            <pc:sldMk cId="2243760408" sldId="2147479731"/>
            <ac:cxnSpMk id="177" creationId="{1ADAEDB9-476D-652A-C142-77251AFEF1B3}"/>
          </ac:cxnSpMkLst>
        </pc:cxnChg>
        <pc:cxnChg chg="add mod">
          <ac:chgData name="Hu, Frank" userId="d3ad470f-91d8-4bd6-b171-9c10023cc60b" providerId="ADAL" clId="{F46F829C-35B7-4081-93FD-C381AD92AAD7}" dt="2023-04-26T06:31:17.760" v="10479" actId="14100"/>
          <ac:cxnSpMkLst>
            <pc:docMk/>
            <pc:sldMk cId="2243760408" sldId="2147479731"/>
            <ac:cxnSpMk id="179" creationId="{3EDEB45D-F968-E3DE-0AF5-5AA2F656DCDD}"/>
          </ac:cxnSpMkLst>
        </pc:cxnChg>
        <pc:cxnChg chg="add mod">
          <ac:chgData name="Hu, Frank" userId="d3ad470f-91d8-4bd6-b171-9c10023cc60b" providerId="ADAL" clId="{F46F829C-35B7-4081-93FD-C381AD92AAD7}" dt="2023-04-26T06:31:26.239" v="10481" actId="1076"/>
          <ac:cxnSpMkLst>
            <pc:docMk/>
            <pc:sldMk cId="2243760408" sldId="2147479731"/>
            <ac:cxnSpMk id="181" creationId="{444F9ADF-A2F3-CDD2-98D2-91000FCC7B20}"/>
          </ac:cxnSpMkLst>
        </pc:cxnChg>
      </pc:sldChg>
      <pc:sldChg chg="addSp delSp modSp new mod ord">
        <pc:chgData name="Hu, Frank" userId="d3ad470f-91d8-4bd6-b171-9c10023cc60b" providerId="ADAL" clId="{F46F829C-35B7-4081-93FD-C381AD92AAD7}" dt="2023-04-27T09:44:27.967" v="12016"/>
        <pc:sldMkLst>
          <pc:docMk/>
          <pc:sldMk cId="3194468333" sldId="2147479732"/>
        </pc:sldMkLst>
        <pc:spChg chg="mod">
          <ac:chgData name="Hu, Frank" userId="d3ad470f-91d8-4bd6-b171-9c10023cc60b" providerId="ADAL" clId="{F46F829C-35B7-4081-93FD-C381AD92AAD7}" dt="2023-04-26T11:46:53.394" v="11603" actId="1076"/>
          <ac:spMkLst>
            <pc:docMk/>
            <pc:sldMk cId="3194468333" sldId="2147479732"/>
            <ac:spMk id="2" creationId="{E423E4EC-AED0-0D54-8686-5C70E45472BD}"/>
          </ac:spMkLst>
        </pc:spChg>
        <pc:spChg chg="add mod">
          <ac:chgData name="Hu, Frank" userId="d3ad470f-91d8-4bd6-b171-9c10023cc60b" providerId="ADAL" clId="{F46F829C-35B7-4081-93FD-C381AD92AAD7}" dt="2023-04-27T09:40:55.809" v="11995" actId="20577"/>
          <ac:spMkLst>
            <pc:docMk/>
            <pc:sldMk cId="3194468333" sldId="2147479732"/>
            <ac:spMk id="4" creationId="{8FADB6F4-CC43-460D-7341-8DD3AE0765CC}"/>
          </ac:spMkLst>
        </pc:spChg>
        <pc:spChg chg="add del mod">
          <ac:chgData name="Hu, Frank" userId="d3ad470f-91d8-4bd6-b171-9c10023cc60b" providerId="ADAL" clId="{F46F829C-35B7-4081-93FD-C381AD92AAD7}" dt="2023-04-26T11:05:17.489" v="10782" actId="478"/>
          <ac:spMkLst>
            <pc:docMk/>
            <pc:sldMk cId="3194468333" sldId="2147479732"/>
            <ac:spMk id="5" creationId="{B8F6088C-EF0D-F938-0DD3-E2CBB9C09EF4}"/>
          </ac:spMkLst>
        </pc:spChg>
        <pc:spChg chg="add mod">
          <ac:chgData name="Hu, Frank" userId="d3ad470f-91d8-4bd6-b171-9c10023cc60b" providerId="ADAL" clId="{F46F829C-35B7-4081-93FD-C381AD92AAD7}" dt="2023-04-26T11:06:19.537" v="10820" actId="14100"/>
          <ac:spMkLst>
            <pc:docMk/>
            <pc:sldMk cId="3194468333" sldId="2147479732"/>
            <ac:spMk id="6" creationId="{2594C9E7-83BF-279B-34E7-08FF03081A11}"/>
          </ac:spMkLst>
        </pc:spChg>
        <pc:spChg chg="add mod">
          <ac:chgData name="Hu, Frank" userId="d3ad470f-91d8-4bd6-b171-9c10023cc60b" providerId="ADAL" clId="{F46F829C-35B7-4081-93FD-C381AD92AAD7}" dt="2023-04-26T11:06:39.461" v="10823" actId="1076"/>
          <ac:spMkLst>
            <pc:docMk/>
            <pc:sldMk cId="3194468333" sldId="2147479732"/>
            <ac:spMk id="7" creationId="{BAAE1793-05DB-A15A-C0AD-3C724C730BE0}"/>
          </ac:spMkLst>
        </pc:spChg>
        <pc:spChg chg="add mod">
          <ac:chgData name="Hu, Frank" userId="d3ad470f-91d8-4bd6-b171-9c10023cc60b" providerId="ADAL" clId="{F46F829C-35B7-4081-93FD-C381AD92AAD7}" dt="2023-04-26T11:06:45.919" v="10824" actId="465"/>
          <ac:spMkLst>
            <pc:docMk/>
            <pc:sldMk cId="3194468333" sldId="2147479732"/>
            <ac:spMk id="8" creationId="{3B3AA360-D587-C25D-742E-2F50DA00768D}"/>
          </ac:spMkLst>
        </pc:spChg>
        <pc:spChg chg="add mod">
          <ac:chgData name="Hu, Frank" userId="d3ad470f-91d8-4bd6-b171-9c10023cc60b" providerId="ADAL" clId="{F46F829C-35B7-4081-93FD-C381AD92AAD7}" dt="2023-04-26T11:06:24.709" v="10821" actId="1076"/>
          <ac:spMkLst>
            <pc:docMk/>
            <pc:sldMk cId="3194468333" sldId="2147479732"/>
            <ac:spMk id="9" creationId="{8B48A04E-4FD8-D9C4-06B4-7540E2F1BE49}"/>
          </ac:spMkLst>
        </pc:spChg>
        <pc:spChg chg="add mod">
          <ac:chgData name="Hu, Frank" userId="d3ad470f-91d8-4bd6-b171-9c10023cc60b" providerId="ADAL" clId="{F46F829C-35B7-4081-93FD-C381AD92AAD7}" dt="2023-04-27T04:03:22.834" v="11826" actId="1076"/>
          <ac:spMkLst>
            <pc:docMk/>
            <pc:sldMk cId="3194468333" sldId="2147479732"/>
            <ac:spMk id="10" creationId="{EB7E21D7-1AF1-84E6-5190-D592B7EF52D3}"/>
          </ac:spMkLst>
        </pc:spChg>
        <pc:spChg chg="add mod">
          <ac:chgData name="Hu, Frank" userId="d3ad470f-91d8-4bd6-b171-9c10023cc60b" providerId="ADAL" clId="{F46F829C-35B7-4081-93FD-C381AD92AAD7}" dt="2023-04-26T11:12:51.875" v="10991" actId="1037"/>
          <ac:spMkLst>
            <pc:docMk/>
            <pc:sldMk cId="3194468333" sldId="2147479732"/>
            <ac:spMk id="11" creationId="{B2B05E70-671F-D780-D59E-4A8D16E02EB2}"/>
          </ac:spMkLst>
        </pc:spChg>
        <pc:spChg chg="add mod">
          <ac:chgData name="Hu, Frank" userId="d3ad470f-91d8-4bd6-b171-9c10023cc60b" providerId="ADAL" clId="{F46F829C-35B7-4081-93FD-C381AD92AAD7}" dt="2023-04-27T04:03:26.709" v="11827" actId="1076"/>
          <ac:spMkLst>
            <pc:docMk/>
            <pc:sldMk cId="3194468333" sldId="2147479732"/>
            <ac:spMk id="12" creationId="{2E14C837-0BA1-B5D0-1DCE-1AC2812AA6BC}"/>
          </ac:spMkLst>
        </pc:spChg>
        <pc:spChg chg="add mod">
          <ac:chgData name="Hu, Frank" userId="d3ad470f-91d8-4bd6-b171-9c10023cc60b" providerId="ADAL" clId="{F46F829C-35B7-4081-93FD-C381AD92AAD7}" dt="2023-04-27T04:03:31.692" v="11828" actId="1076"/>
          <ac:spMkLst>
            <pc:docMk/>
            <pc:sldMk cId="3194468333" sldId="2147479732"/>
            <ac:spMk id="13" creationId="{0FECB321-8057-30DB-6DC6-EFB70A3A2FC0}"/>
          </ac:spMkLst>
        </pc:spChg>
        <pc:spChg chg="add mod">
          <ac:chgData name="Hu, Frank" userId="d3ad470f-91d8-4bd6-b171-9c10023cc60b" providerId="ADAL" clId="{F46F829C-35B7-4081-93FD-C381AD92AAD7}" dt="2023-04-26T11:29:42.366" v="11239" actId="1076"/>
          <ac:spMkLst>
            <pc:docMk/>
            <pc:sldMk cId="3194468333" sldId="2147479732"/>
            <ac:spMk id="14" creationId="{996BF54D-159E-65D0-28E9-48826A5EC716}"/>
          </ac:spMkLst>
        </pc:spChg>
        <pc:spChg chg="add mod">
          <ac:chgData name="Hu, Frank" userId="d3ad470f-91d8-4bd6-b171-9c10023cc60b" providerId="ADAL" clId="{F46F829C-35B7-4081-93FD-C381AD92AAD7}" dt="2023-04-26T11:28:08.326" v="11173" actId="1037"/>
          <ac:spMkLst>
            <pc:docMk/>
            <pc:sldMk cId="3194468333" sldId="2147479732"/>
            <ac:spMk id="16" creationId="{5DDD79B3-0E77-03C7-D22B-EA7499186526}"/>
          </ac:spMkLst>
        </pc:spChg>
        <pc:spChg chg="add mod">
          <ac:chgData name="Hu, Frank" userId="d3ad470f-91d8-4bd6-b171-9c10023cc60b" providerId="ADAL" clId="{F46F829C-35B7-4081-93FD-C381AD92AAD7}" dt="2023-04-27T04:04:56.358" v="11884"/>
          <ac:spMkLst>
            <pc:docMk/>
            <pc:sldMk cId="3194468333" sldId="2147479732"/>
            <ac:spMk id="18" creationId="{DFA0C832-C5FC-2036-9185-D8465086846B}"/>
          </ac:spMkLst>
        </pc:spChg>
        <pc:spChg chg="add mod">
          <ac:chgData name="Hu, Frank" userId="d3ad470f-91d8-4bd6-b171-9c10023cc60b" providerId="ADAL" clId="{F46F829C-35B7-4081-93FD-C381AD92AAD7}" dt="2023-04-26T11:28:08.326" v="11173" actId="1037"/>
          <ac:spMkLst>
            <pc:docMk/>
            <pc:sldMk cId="3194468333" sldId="2147479732"/>
            <ac:spMk id="19" creationId="{F5044EFB-5538-C894-EF42-78B90A150B1E}"/>
          </ac:spMkLst>
        </pc:spChg>
        <pc:spChg chg="add mod">
          <ac:chgData name="Hu, Frank" userId="d3ad470f-91d8-4bd6-b171-9c10023cc60b" providerId="ADAL" clId="{F46F829C-35B7-4081-93FD-C381AD92AAD7}" dt="2023-04-26T11:28:08.326" v="11173" actId="1037"/>
          <ac:spMkLst>
            <pc:docMk/>
            <pc:sldMk cId="3194468333" sldId="2147479732"/>
            <ac:spMk id="20" creationId="{90FF40B4-118E-2982-E848-39A8D02D4652}"/>
          </ac:spMkLst>
        </pc:spChg>
        <pc:spChg chg="add mod">
          <ac:chgData name="Hu, Frank" userId="d3ad470f-91d8-4bd6-b171-9c10023cc60b" providerId="ADAL" clId="{F46F829C-35B7-4081-93FD-C381AD92AAD7}" dt="2023-04-26T11:28:08.326" v="11173" actId="1037"/>
          <ac:spMkLst>
            <pc:docMk/>
            <pc:sldMk cId="3194468333" sldId="2147479732"/>
            <ac:spMk id="21" creationId="{20AA5F53-651B-3D82-55DF-6B3EFCA96EBC}"/>
          </ac:spMkLst>
        </pc:spChg>
        <pc:spChg chg="add mod">
          <ac:chgData name="Hu, Frank" userId="d3ad470f-91d8-4bd6-b171-9c10023cc60b" providerId="ADAL" clId="{F46F829C-35B7-4081-93FD-C381AD92AAD7}" dt="2023-04-26T11:16:53.068" v="11019" actId="1037"/>
          <ac:spMkLst>
            <pc:docMk/>
            <pc:sldMk cId="3194468333" sldId="2147479732"/>
            <ac:spMk id="25" creationId="{12345D4E-E7A2-C143-3F7F-7E525CEA6484}"/>
          </ac:spMkLst>
        </pc:spChg>
        <pc:spChg chg="add mod">
          <ac:chgData name="Hu, Frank" userId="d3ad470f-91d8-4bd6-b171-9c10023cc60b" providerId="ADAL" clId="{F46F829C-35B7-4081-93FD-C381AD92AAD7}" dt="2023-04-26T11:34:42.726" v="11343" actId="1076"/>
          <ac:spMkLst>
            <pc:docMk/>
            <pc:sldMk cId="3194468333" sldId="2147479732"/>
            <ac:spMk id="26" creationId="{BE5F890C-8C2D-86DC-333C-F04E164B0751}"/>
          </ac:spMkLst>
        </pc:spChg>
        <pc:spChg chg="add mod">
          <ac:chgData name="Hu, Frank" userId="d3ad470f-91d8-4bd6-b171-9c10023cc60b" providerId="ADAL" clId="{F46F829C-35B7-4081-93FD-C381AD92AAD7}" dt="2023-04-26T11:16:53.068" v="11019" actId="1037"/>
          <ac:spMkLst>
            <pc:docMk/>
            <pc:sldMk cId="3194468333" sldId="2147479732"/>
            <ac:spMk id="27" creationId="{A73B9BB0-4820-04E2-522E-9651F5657A06}"/>
          </ac:spMkLst>
        </pc:spChg>
        <pc:spChg chg="add mod">
          <ac:chgData name="Hu, Frank" userId="d3ad470f-91d8-4bd6-b171-9c10023cc60b" providerId="ADAL" clId="{F46F829C-35B7-4081-93FD-C381AD92AAD7}" dt="2023-04-26T11:16:53.068" v="11019" actId="1037"/>
          <ac:spMkLst>
            <pc:docMk/>
            <pc:sldMk cId="3194468333" sldId="2147479732"/>
            <ac:spMk id="28" creationId="{6AC117AE-4133-7991-F40B-5549F9AAE8A0}"/>
          </ac:spMkLst>
        </pc:spChg>
        <pc:spChg chg="add mod">
          <ac:chgData name="Hu, Frank" userId="d3ad470f-91d8-4bd6-b171-9c10023cc60b" providerId="ADAL" clId="{F46F829C-35B7-4081-93FD-C381AD92AAD7}" dt="2023-04-26T11:16:53.068" v="11019" actId="1037"/>
          <ac:spMkLst>
            <pc:docMk/>
            <pc:sldMk cId="3194468333" sldId="2147479732"/>
            <ac:spMk id="29" creationId="{BDBDD1C3-816C-D92F-B3DB-C5CEB16EACC1}"/>
          </ac:spMkLst>
        </pc:spChg>
        <pc:spChg chg="add mod">
          <ac:chgData name="Hu, Frank" userId="d3ad470f-91d8-4bd6-b171-9c10023cc60b" providerId="ADAL" clId="{F46F829C-35B7-4081-93FD-C381AD92AAD7}" dt="2023-04-26T11:16:53.068" v="11019" actId="1037"/>
          <ac:spMkLst>
            <pc:docMk/>
            <pc:sldMk cId="3194468333" sldId="2147479732"/>
            <ac:spMk id="30" creationId="{1BE96431-B663-E896-887C-3947DE054C9F}"/>
          </ac:spMkLst>
        </pc:spChg>
        <pc:spChg chg="add mod">
          <ac:chgData name="Hu, Frank" userId="d3ad470f-91d8-4bd6-b171-9c10023cc60b" providerId="ADAL" clId="{F46F829C-35B7-4081-93FD-C381AD92AAD7}" dt="2023-04-26T11:47:44.084" v="11634" actId="1038"/>
          <ac:spMkLst>
            <pc:docMk/>
            <pc:sldMk cId="3194468333" sldId="2147479732"/>
            <ac:spMk id="31" creationId="{7D343F90-5081-ADD0-42DC-28A2C1661A2D}"/>
          </ac:spMkLst>
        </pc:spChg>
        <pc:spChg chg="add mod">
          <ac:chgData name="Hu, Frank" userId="d3ad470f-91d8-4bd6-b171-9c10023cc60b" providerId="ADAL" clId="{F46F829C-35B7-4081-93FD-C381AD92AAD7}" dt="2023-04-26T11:47:44.084" v="11634" actId="1038"/>
          <ac:spMkLst>
            <pc:docMk/>
            <pc:sldMk cId="3194468333" sldId="2147479732"/>
            <ac:spMk id="32" creationId="{E3922008-B6AF-35F4-0713-FCA2E754B727}"/>
          </ac:spMkLst>
        </pc:spChg>
        <pc:spChg chg="add mod">
          <ac:chgData name="Hu, Frank" userId="d3ad470f-91d8-4bd6-b171-9c10023cc60b" providerId="ADAL" clId="{F46F829C-35B7-4081-93FD-C381AD92AAD7}" dt="2023-04-26T11:47:44.084" v="11634" actId="1038"/>
          <ac:spMkLst>
            <pc:docMk/>
            <pc:sldMk cId="3194468333" sldId="2147479732"/>
            <ac:spMk id="33" creationId="{A4A43542-5F36-DA10-6057-A279CF384379}"/>
          </ac:spMkLst>
        </pc:spChg>
        <pc:spChg chg="add mod">
          <ac:chgData name="Hu, Frank" userId="d3ad470f-91d8-4bd6-b171-9c10023cc60b" providerId="ADAL" clId="{F46F829C-35B7-4081-93FD-C381AD92AAD7}" dt="2023-04-26T11:47:44.084" v="11634" actId="1038"/>
          <ac:spMkLst>
            <pc:docMk/>
            <pc:sldMk cId="3194468333" sldId="2147479732"/>
            <ac:spMk id="34" creationId="{8430F147-AA99-8A41-8647-B7BD279853BF}"/>
          </ac:spMkLst>
        </pc:spChg>
        <pc:spChg chg="add del mod">
          <ac:chgData name="Hu, Frank" userId="d3ad470f-91d8-4bd6-b171-9c10023cc60b" providerId="ADAL" clId="{F46F829C-35B7-4081-93FD-C381AD92AAD7}" dt="2023-04-26T11:45:21.037" v="11586" actId="478"/>
          <ac:spMkLst>
            <pc:docMk/>
            <pc:sldMk cId="3194468333" sldId="2147479732"/>
            <ac:spMk id="35" creationId="{28201F31-A91D-346E-F5B1-DB9757A50F90}"/>
          </ac:spMkLst>
        </pc:spChg>
        <pc:spChg chg="add del mod">
          <ac:chgData name="Hu, Frank" userId="d3ad470f-91d8-4bd6-b171-9c10023cc60b" providerId="ADAL" clId="{F46F829C-35B7-4081-93FD-C381AD92AAD7}" dt="2023-04-26T11:45:23.133" v="11588" actId="478"/>
          <ac:spMkLst>
            <pc:docMk/>
            <pc:sldMk cId="3194468333" sldId="2147479732"/>
            <ac:spMk id="36" creationId="{DFECDA27-5E05-9222-AC50-78121594E012}"/>
          </ac:spMkLst>
        </pc:spChg>
        <pc:spChg chg="add mod">
          <ac:chgData name="Hu, Frank" userId="d3ad470f-91d8-4bd6-b171-9c10023cc60b" providerId="ADAL" clId="{F46F829C-35B7-4081-93FD-C381AD92AAD7}" dt="2023-04-26T11:47:52.085" v="11657" actId="1038"/>
          <ac:spMkLst>
            <pc:docMk/>
            <pc:sldMk cId="3194468333" sldId="2147479732"/>
            <ac:spMk id="37" creationId="{51C8D150-5A9E-2A7C-D5B7-C25453BBB466}"/>
          </ac:spMkLst>
        </pc:spChg>
        <pc:spChg chg="add mod">
          <ac:chgData name="Hu, Frank" userId="d3ad470f-91d8-4bd6-b171-9c10023cc60b" providerId="ADAL" clId="{F46F829C-35B7-4081-93FD-C381AD92AAD7}" dt="2023-04-26T11:47:52.085" v="11657" actId="1038"/>
          <ac:spMkLst>
            <pc:docMk/>
            <pc:sldMk cId="3194468333" sldId="2147479732"/>
            <ac:spMk id="38" creationId="{E897103C-3EBD-5789-2823-9BAC9EB8A85E}"/>
          </ac:spMkLst>
        </pc:spChg>
        <pc:spChg chg="add mod">
          <ac:chgData name="Hu, Frank" userId="d3ad470f-91d8-4bd6-b171-9c10023cc60b" providerId="ADAL" clId="{F46F829C-35B7-4081-93FD-C381AD92AAD7}" dt="2023-04-26T11:47:52.085" v="11657" actId="1038"/>
          <ac:spMkLst>
            <pc:docMk/>
            <pc:sldMk cId="3194468333" sldId="2147479732"/>
            <ac:spMk id="39" creationId="{D993C0DA-5A46-E8DE-42DC-049EC6FF8DE0}"/>
          </ac:spMkLst>
        </pc:spChg>
        <pc:spChg chg="add del mod">
          <ac:chgData name="Hu, Frank" userId="d3ad470f-91d8-4bd6-b171-9c10023cc60b" providerId="ADAL" clId="{F46F829C-35B7-4081-93FD-C381AD92AAD7}" dt="2023-04-26T11:45:24.630" v="11589" actId="478"/>
          <ac:spMkLst>
            <pc:docMk/>
            <pc:sldMk cId="3194468333" sldId="2147479732"/>
            <ac:spMk id="40" creationId="{877A5E1C-19C4-F188-278D-3257D66A33B6}"/>
          </ac:spMkLst>
        </pc:spChg>
        <pc:spChg chg="add del mod">
          <ac:chgData name="Hu, Frank" userId="d3ad470f-91d8-4bd6-b171-9c10023cc60b" providerId="ADAL" clId="{F46F829C-35B7-4081-93FD-C381AD92AAD7}" dt="2023-04-26T11:45:27.112" v="11590" actId="478"/>
          <ac:spMkLst>
            <pc:docMk/>
            <pc:sldMk cId="3194468333" sldId="2147479732"/>
            <ac:spMk id="41" creationId="{0C1E36D0-7D7F-6640-9A2C-DA3E2F3BA46B}"/>
          </ac:spMkLst>
        </pc:spChg>
        <pc:spChg chg="add mod">
          <ac:chgData name="Hu, Frank" userId="d3ad470f-91d8-4bd6-b171-9c10023cc60b" providerId="ADAL" clId="{F46F829C-35B7-4081-93FD-C381AD92AAD7}" dt="2023-04-27T01:48:31.225" v="11782" actId="20577"/>
          <ac:spMkLst>
            <pc:docMk/>
            <pc:sldMk cId="3194468333" sldId="2147479732"/>
            <ac:spMk id="42" creationId="{4055D2E4-BD8C-4247-4A67-E0F821FD9AB0}"/>
          </ac:spMkLst>
        </pc:spChg>
        <pc:spChg chg="add del mod ord">
          <ac:chgData name="Hu, Frank" userId="d3ad470f-91d8-4bd6-b171-9c10023cc60b" providerId="ADAL" clId="{F46F829C-35B7-4081-93FD-C381AD92AAD7}" dt="2023-04-27T04:00:35.487" v="11807" actId="478"/>
          <ac:spMkLst>
            <pc:docMk/>
            <pc:sldMk cId="3194468333" sldId="2147479732"/>
            <ac:spMk id="50" creationId="{6DE5B0C3-4929-0B01-0759-772D3C980C57}"/>
          </ac:spMkLst>
        </pc:spChg>
        <pc:spChg chg="add mod">
          <ac:chgData name="Hu, Frank" userId="d3ad470f-91d8-4bd6-b171-9c10023cc60b" providerId="ADAL" clId="{F46F829C-35B7-4081-93FD-C381AD92AAD7}" dt="2023-04-27T04:03:44.067" v="11859" actId="20577"/>
          <ac:spMkLst>
            <pc:docMk/>
            <pc:sldMk cId="3194468333" sldId="2147479732"/>
            <ac:spMk id="54" creationId="{92B31CFE-CA06-7631-34EA-0DEBD0403104}"/>
          </ac:spMkLst>
        </pc:spChg>
        <pc:spChg chg="add mod">
          <ac:chgData name="Hu, Frank" userId="d3ad470f-91d8-4bd6-b171-9c10023cc60b" providerId="ADAL" clId="{F46F829C-35B7-4081-93FD-C381AD92AAD7}" dt="2023-04-27T04:18:22.921" v="11895" actId="1076"/>
          <ac:spMkLst>
            <pc:docMk/>
            <pc:sldMk cId="3194468333" sldId="2147479732"/>
            <ac:spMk id="55" creationId="{BED02295-8927-C572-8850-7707C4AEADD1}"/>
          </ac:spMkLst>
        </pc:spChg>
        <pc:spChg chg="add del mod">
          <ac:chgData name="Hu, Frank" userId="d3ad470f-91d8-4bd6-b171-9c10023cc60b" providerId="ADAL" clId="{F46F829C-35B7-4081-93FD-C381AD92AAD7}" dt="2023-04-27T04:00:13.136" v="11804" actId="478"/>
          <ac:spMkLst>
            <pc:docMk/>
            <pc:sldMk cId="3194468333" sldId="2147479732"/>
            <ac:spMk id="56" creationId="{B67DFE10-0221-CD72-8DEC-A9C5FA1EE642}"/>
          </ac:spMkLst>
        </pc:spChg>
        <pc:spChg chg="add mod">
          <ac:chgData name="Hu, Frank" userId="d3ad470f-91d8-4bd6-b171-9c10023cc60b" providerId="ADAL" clId="{F46F829C-35B7-4081-93FD-C381AD92AAD7}" dt="2023-04-27T04:04:36.088" v="11878" actId="1076"/>
          <ac:spMkLst>
            <pc:docMk/>
            <pc:sldMk cId="3194468333" sldId="2147479732"/>
            <ac:spMk id="57" creationId="{F81BE535-DBCA-B695-D712-D8A232A2D008}"/>
          </ac:spMkLst>
        </pc:spChg>
        <pc:spChg chg="add del mod">
          <ac:chgData name="Hu, Frank" userId="d3ad470f-91d8-4bd6-b171-9c10023cc60b" providerId="ADAL" clId="{F46F829C-35B7-4081-93FD-C381AD92AAD7}" dt="2023-04-27T04:00:17.595" v="11805" actId="478"/>
          <ac:spMkLst>
            <pc:docMk/>
            <pc:sldMk cId="3194468333" sldId="2147479732"/>
            <ac:spMk id="58" creationId="{3F38A7EA-DF49-4359-2738-96F4D6259AFF}"/>
          </ac:spMkLst>
        </pc:spChg>
        <pc:spChg chg="add mod">
          <ac:chgData name="Hu, Frank" userId="d3ad470f-91d8-4bd6-b171-9c10023cc60b" providerId="ADAL" clId="{F46F829C-35B7-4081-93FD-C381AD92AAD7}" dt="2023-04-27T04:18:41.863" v="11897" actId="1076"/>
          <ac:spMkLst>
            <pc:docMk/>
            <pc:sldMk cId="3194468333" sldId="2147479732"/>
            <ac:spMk id="59" creationId="{910336FE-1364-D1E0-7BD0-733ACD29D252}"/>
          </ac:spMkLst>
        </pc:spChg>
        <pc:spChg chg="add mod">
          <ac:chgData name="Hu, Frank" userId="d3ad470f-91d8-4bd6-b171-9c10023cc60b" providerId="ADAL" clId="{F46F829C-35B7-4081-93FD-C381AD92AAD7}" dt="2023-04-27T04:17:40.344" v="11894" actId="20577"/>
          <ac:spMkLst>
            <pc:docMk/>
            <pc:sldMk cId="3194468333" sldId="2147479732"/>
            <ac:spMk id="62" creationId="{9EB9EAD0-5001-5E58-89EC-B66B9D28AF84}"/>
          </ac:spMkLst>
        </pc:spChg>
        <pc:spChg chg="add del mod">
          <ac:chgData name="Hu, Frank" userId="d3ad470f-91d8-4bd6-b171-9c10023cc60b" providerId="ADAL" clId="{F46F829C-35B7-4081-93FD-C381AD92AAD7}" dt="2023-04-27T04:00:19.462" v="11806" actId="478"/>
          <ac:spMkLst>
            <pc:docMk/>
            <pc:sldMk cId="3194468333" sldId="2147479732"/>
            <ac:spMk id="67" creationId="{95C952B5-ACB4-BA32-CAF4-A27791EF6033}"/>
          </ac:spMkLst>
        </pc:spChg>
        <pc:spChg chg="add mod">
          <ac:chgData name="Hu, Frank" userId="d3ad470f-91d8-4bd6-b171-9c10023cc60b" providerId="ADAL" clId="{F46F829C-35B7-4081-93FD-C381AD92AAD7}" dt="2023-04-27T03:59:57.124" v="11803" actId="1076"/>
          <ac:spMkLst>
            <pc:docMk/>
            <pc:sldMk cId="3194468333" sldId="2147479732"/>
            <ac:spMk id="68" creationId="{A0174D71-916A-3D19-37A4-E96D64EB2776}"/>
          </ac:spMkLst>
        </pc:spChg>
        <pc:spChg chg="add del mod">
          <ac:chgData name="Hu, Frank" userId="d3ad470f-91d8-4bd6-b171-9c10023cc60b" providerId="ADAL" clId="{F46F829C-35B7-4081-93FD-C381AD92AAD7}" dt="2023-04-27T04:00:42.537" v="11808" actId="478"/>
          <ac:spMkLst>
            <pc:docMk/>
            <pc:sldMk cId="3194468333" sldId="2147479732"/>
            <ac:spMk id="69" creationId="{417DCD40-CD50-572D-3597-CEDDBB3DAC97}"/>
          </ac:spMkLst>
        </pc:spChg>
        <pc:spChg chg="add mod">
          <ac:chgData name="Hu, Frank" userId="d3ad470f-91d8-4bd6-b171-9c10023cc60b" providerId="ADAL" clId="{F46F829C-35B7-4081-93FD-C381AD92AAD7}" dt="2023-04-27T04:02:03.277" v="11818" actId="1076"/>
          <ac:spMkLst>
            <pc:docMk/>
            <pc:sldMk cId="3194468333" sldId="2147479732"/>
            <ac:spMk id="70" creationId="{1C63C9C8-EE42-2866-5DAF-B29D1C06F079}"/>
          </ac:spMkLst>
        </pc:spChg>
        <pc:spChg chg="add mod">
          <ac:chgData name="Hu, Frank" userId="d3ad470f-91d8-4bd6-b171-9c10023cc60b" providerId="ADAL" clId="{F46F829C-35B7-4081-93FD-C381AD92AAD7}" dt="2023-04-26T11:48:09.929" v="11659"/>
          <ac:spMkLst>
            <pc:docMk/>
            <pc:sldMk cId="3194468333" sldId="2147479732"/>
            <ac:spMk id="76" creationId="{829A16CE-E0D2-AD81-1A39-5BCE8E0983E6}"/>
          </ac:spMkLst>
        </pc:spChg>
        <pc:spChg chg="add mod">
          <ac:chgData name="Hu, Frank" userId="d3ad470f-91d8-4bd6-b171-9c10023cc60b" providerId="ADAL" clId="{F46F829C-35B7-4081-93FD-C381AD92AAD7}" dt="2023-04-26T12:06:06.423" v="11741" actId="6549"/>
          <ac:spMkLst>
            <pc:docMk/>
            <pc:sldMk cId="3194468333" sldId="2147479732"/>
            <ac:spMk id="77" creationId="{B82B8215-C061-DBF3-8BBF-7674787DADA2}"/>
          </ac:spMkLst>
        </pc:spChg>
        <pc:spChg chg="add mod">
          <ac:chgData name="Hu, Frank" userId="d3ad470f-91d8-4bd6-b171-9c10023cc60b" providerId="ADAL" clId="{F46F829C-35B7-4081-93FD-C381AD92AAD7}" dt="2023-04-26T12:05:34.988" v="11709" actId="1076"/>
          <ac:spMkLst>
            <pc:docMk/>
            <pc:sldMk cId="3194468333" sldId="2147479732"/>
            <ac:spMk id="78" creationId="{98B422C9-02C3-8D22-1AD2-26CEB0050A23}"/>
          </ac:spMkLst>
        </pc:spChg>
        <pc:spChg chg="add mod">
          <ac:chgData name="Hu, Frank" userId="d3ad470f-91d8-4bd6-b171-9c10023cc60b" providerId="ADAL" clId="{F46F829C-35B7-4081-93FD-C381AD92AAD7}" dt="2023-04-26T11:44:36.255" v="11585" actId="1076"/>
          <ac:spMkLst>
            <pc:docMk/>
            <pc:sldMk cId="3194468333" sldId="2147479732"/>
            <ac:spMk id="83" creationId="{6C432EF8-FE3D-4635-1575-5E3D6A2F0AC3}"/>
          </ac:spMkLst>
        </pc:spChg>
        <pc:spChg chg="add mod">
          <ac:chgData name="Hu, Frank" userId="d3ad470f-91d8-4bd6-b171-9c10023cc60b" providerId="ADAL" clId="{F46F829C-35B7-4081-93FD-C381AD92AAD7}" dt="2023-04-26T11:47:19.892" v="11605" actId="1076"/>
          <ac:spMkLst>
            <pc:docMk/>
            <pc:sldMk cId="3194468333" sldId="2147479732"/>
            <ac:spMk id="84" creationId="{6820DFA9-7561-F871-2BC7-EB7E2AF3A073}"/>
          </ac:spMkLst>
        </pc:spChg>
        <pc:spChg chg="add mod">
          <ac:chgData name="Hu, Frank" userId="d3ad470f-91d8-4bd6-b171-9c10023cc60b" providerId="ADAL" clId="{F46F829C-35B7-4081-93FD-C381AD92AAD7}" dt="2023-04-27T04:02:30.768" v="11822" actId="1076"/>
          <ac:spMkLst>
            <pc:docMk/>
            <pc:sldMk cId="3194468333" sldId="2147479732"/>
            <ac:spMk id="85" creationId="{9B124A04-352F-CC9C-0BF8-08C875AE40F6}"/>
          </ac:spMkLst>
        </pc:spChg>
        <pc:spChg chg="add mod">
          <ac:chgData name="Hu, Frank" userId="d3ad470f-91d8-4bd6-b171-9c10023cc60b" providerId="ADAL" clId="{F46F829C-35B7-4081-93FD-C381AD92AAD7}" dt="2023-04-27T07:40:22.051" v="11899" actId="1076"/>
          <ac:spMkLst>
            <pc:docMk/>
            <pc:sldMk cId="3194468333" sldId="2147479732"/>
            <ac:spMk id="86" creationId="{AD58D262-667C-1828-FDAE-D931274EC454}"/>
          </ac:spMkLst>
        </pc:spChg>
        <pc:spChg chg="mod">
          <ac:chgData name="Hu, Frank" userId="d3ad470f-91d8-4bd6-b171-9c10023cc60b" providerId="ADAL" clId="{F46F829C-35B7-4081-93FD-C381AD92AAD7}" dt="2023-04-26T11:46:45.882" v="11599"/>
          <ac:spMkLst>
            <pc:docMk/>
            <pc:sldMk cId="3194468333" sldId="2147479732"/>
            <ac:spMk id="89" creationId="{915BAA2E-DEE3-34B5-CC34-BF05579EC206}"/>
          </ac:spMkLst>
        </pc:spChg>
        <pc:spChg chg="mod">
          <ac:chgData name="Hu, Frank" userId="d3ad470f-91d8-4bd6-b171-9c10023cc60b" providerId="ADAL" clId="{F46F829C-35B7-4081-93FD-C381AD92AAD7}" dt="2023-04-26T11:46:45.882" v="11599"/>
          <ac:spMkLst>
            <pc:docMk/>
            <pc:sldMk cId="3194468333" sldId="2147479732"/>
            <ac:spMk id="91" creationId="{366027C5-2FB7-6FEA-EE07-CD7078E202BD}"/>
          </ac:spMkLst>
        </pc:spChg>
        <pc:spChg chg="add mod">
          <ac:chgData name="Hu, Frank" userId="d3ad470f-91d8-4bd6-b171-9c10023cc60b" providerId="ADAL" clId="{F46F829C-35B7-4081-93FD-C381AD92AAD7}" dt="2023-04-27T07:41:33.185" v="11902" actId="1076"/>
          <ac:spMkLst>
            <pc:docMk/>
            <pc:sldMk cId="3194468333" sldId="2147479732"/>
            <ac:spMk id="96" creationId="{1979AC65-8764-76A6-1A47-CE18C0FC5223}"/>
          </ac:spMkLst>
        </pc:spChg>
        <pc:spChg chg="add del mod">
          <ac:chgData name="Hu, Frank" userId="d3ad470f-91d8-4bd6-b171-9c10023cc60b" providerId="ADAL" clId="{F46F829C-35B7-4081-93FD-C381AD92AAD7}" dt="2023-04-26T11:48:37.963" v="11668"/>
          <ac:spMkLst>
            <pc:docMk/>
            <pc:sldMk cId="3194468333" sldId="2147479732"/>
            <ac:spMk id="97" creationId="{1DBD3230-3E62-C1CF-64D6-8D2D8BDDF014}"/>
          </ac:spMkLst>
        </pc:spChg>
        <pc:spChg chg="add mod">
          <ac:chgData name="Hu, Frank" userId="d3ad470f-91d8-4bd6-b171-9c10023cc60b" providerId="ADAL" clId="{F46F829C-35B7-4081-93FD-C381AD92AAD7}" dt="2023-04-27T07:41:38.362" v="11903" actId="1076"/>
          <ac:spMkLst>
            <pc:docMk/>
            <pc:sldMk cId="3194468333" sldId="2147479732"/>
            <ac:spMk id="98" creationId="{9268D9CE-D104-6375-4A8E-E962F285951A}"/>
          </ac:spMkLst>
        </pc:spChg>
        <pc:spChg chg="add mod">
          <ac:chgData name="Hu, Frank" userId="d3ad470f-91d8-4bd6-b171-9c10023cc60b" providerId="ADAL" clId="{F46F829C-35B7-4081-93FD-C381AD92AAD7}" dt="2023-04-27T07:41:42.633" v="11904" actId="1076"/>
          <ac:spMkLst>
            <pc:docMk/>
            <pc:sldMk cId="3194468333" sldId="2147479732"/>
            <ac:spMk id="99" creationId="{583062DA-E3AF-BBAB-A26E-E19C1606CCA2}"/>
          </ac:spMkLst>
        </pc:spChg>
        <pc:spChg chg="add mod">
          <ac:chgData name="Hu, Frank" userId="d3ad470f-91d8-4bd6-b171-9c10023cc60b" providerId="ADAL" clId="{F46F829C-35B7-4081-93FD-C381AD92AAD7}" dt="2023-04-26T12:02:10.841" v="11681" actId="14100"/>
          <ac:spMkLst>
            <pc:docMk/>
            <pc:sldMk cId="3194468333" sldId="2147479732"/>
            <ac:spMk id="100" creationId="{4052DAB5-33DA-128E-823E-DF5E6A18DED1}"/>
          </ac:spMkLst>
        </pc:spChg>
        <pc:grpChg chg="add mod">
          <ac:chgData name="Hu, Frank" userId="d3ad470f-91d8-4bd6-b171-9c10023cc60b" providerId="ADAL" clId="{F46F829C-35B7-4081-93FD-C381AD92AAD7}" dt="2023-04-26T11:49:25.713" v="11677" actId="14100"/>
          <ac:grpSpMkLst>
            <pc:docMk/>
            <pc:sldMk cId="3194468333" sldId="2147479732"/>
            <ac:grpSpMk id="87" creationId="{C8B246A5-F320-D654-EE83-0DFA37243217}"/>
          </ac:grpSpMkLst>
        </pc:grpChg>
        <pc:grpChg chg="mod">
          <ac:chgData name="Hu, Frank" userId="d3ad470f-91d8-4bd6-b171-9c10023cc60b" providerId="ADAL" clId="{F46F829C-35B7-4081-93FD-C381AD92AAD7}" dt="2023-04-26T11:46:45.882" v="11599"/>
          <ac:grpSpMkLst>
            <pc:docMk/>
            <pc:sldMk cId="3194468333" sldId="2147479732"/>
            <ac:grpSpMk id="90" creationId="{1B1E145B-E77E-F3BD-A59A-DEE2DD3D73BE}"/>
          </ac:grpSpMkLst>
        </pc:grpChg>
        <pc:picChg chg="mod">
          <ac:chgData name="Hu, Frank" userId="d3ad470f-91d8-4bd6-b171-9c10023cc60b" providerId="ADAL" clId="{F46F829C-35B7-4081-93FD-C381AD92AAD7}" dt="2023-04-26T11:46:45.882" v="11599"/>
          <ac:picMkLst>
            <pc:docMk/>
            <pc:sldMk cId="3194468333" sldId="2147479732"/>
            <ac:picMk id="92" creationId="{38415AE4-454A-B906-3573-EFBCCCB0348B}"/>
          </ac:picMkLst>
        </pc:picChg>
        <pc:cxnChg chg="add mod">
          <ac:chgData name="Hu, Frank" userId="d3ad470f-91d8-4bd6-b171-9c10023cc60b" providerId="ADAL" clId="{F46F829C-35B7-4081-93FD-C381AD92AAD7}" dt="2023-04-26T11:44:15.191" v="11583" actId="208"/>
          <ac:cxnSpMkLst>
            <pc:docMk/>
            <pc:sldMk cId="3194468333" sldId="2147479732"/>
            <ac:cxnSpMk id="15" creationId="{CB7F3839-1794-DDF4-08F8-90C64A587570}"/>
          </ac:cxnSpMkLst>
        </pc:cxnChg>
        <pc:cxnChg chg="add mod">
          <ac:chgData name="Hu, Frank" userId="d3ad470f-91d8-4bd6-b171-9c10023cc60b" providerId="ADAL" clId="{F46F829C-35B7-4081-93FD-C381AD92AAD7}" dt="2023-04-27T04:04:33.643" v="11877" actId="1076"/>
          <ac:cxnSpMkLst>
            <pc:docMk/>
            <pc:sldMk cId="3194468333" sldId="2147479732"/>
            <ac:cxnSpMk id="17" creationId="{21CABF43-C19F-1130-E69E-9BAD0168606D}"/>
          </ac:cxnSpMkLst>
        </pc:cxnChg>
        <pc:cxnChg chg="add del mod">
          <ac:chgData name="Hu, Frank" userId="d3ad470f-91d8-4bd6-b171-9c10023cc60b" providerId="ADAL" clId="{F46F829C-35B7-4081-93FD-C381AD92AAD7}" dt="2023-04-26T11:29:53.331" v="11240" actId="478"/>
          <ac:cxnSpMkLst>
            <pc:docMk/>
            <pc:sldMk cId="3194468333" sldId="2147479732"/>
            <ac:cxnSpMk id="17" creationId="{BF1B9999-CD5E-49E6-259C-4DD1501AB3E6}"/>
          </ac:cxnSpMkLst>
        </pc:cxnChg>
        <pc:cxnChg chg="add del mod">
          <ac:chgData name="Hu, Frank" userId="d3ad470f-91d8-4bd6-b171-9c10023cc60b" providerId="ADAL" clId="{F46F829C-35B7-4081-93FD-C381AD92AAD7}" dt="2023-04-26T11:12:23.329" v="10973" actId="478"/>
          <ac:cxnSpMkLst>
            <pc:docMk/>
            <pc:sldMk cId="3194468333" sldId="2147479732"/>
            <ac:cxnSpMk id="22" creationId="{34EB4F3C-02D4-080F-5E8C-8E94985FFF6B}"/>
          </ac:cxnSpMkLst>
        </pc:cxnChg>
        <pc:cxnChg chg="add del mod">
          <ac:chgData name="Hu, Frank" userId="d3ad470f-91d8-4bd6-b171-9c10023cc60b" providerId="ADAL" clId="{F46F829C-35B7-4081-93FD-C381AD92AAD7}" dt="2023-04-27T03:57:26.036" v="11790" actId="478"/>
          <ac:cxnSpMkLst>
            <pc:docMk/>
            <pc:sldMk cId="3194468333" sldId="2147479732"/>
            <ac:cxnSpMk id="24" creationId="{8003097C-1CF4-A45A-884A-A48013D18CD0}"/>
          </ac:cxnSpMkLst>
        </pc:cxnChg>
        <pc:cxnChg chg="add mod">
          <ac:chgData name="Hu, Frank" userId="d3ad470f-91d8-4bd6-b171-9c10023cc60b" providerId="ADAL" clId="{F46F829C-35B7-4081-93FD-C381AD92AAD7}" dt="2023-04-27T03:59:10.351" v="11798" actId="208"/>
          <ac:cxnSpMkLst>
            <pc:docMk/>
            <pc:sldMk cId="3194468333" sldId="2147479732"/>
            <ac:cxnSpMk id="36" creationId="{FA4D04ED-E84E-95C0-FD57-C9A8A9E3BB0F}"/>
          </ac:cxnSpMkLst>
        </pc:cxnChg>
        <pc:cxnChg chg="add mod">
          <ac:chgData name="Hu, Frank" userId="d3ad470f-91d8-4bd6-b171-9c10023cc60b" providerId="ADAL" clId="{F46F829C-35B7-4081-93FD-C381AD92AAD7}" dt="2023-04-27T04:03:22.834" v="11826" actId="1076"/>
          <ac:cxnSpMkLst>
            <pc:docMk/>
            <pc:sldMk cId="3194468333" sldId="2147479732"/>
            <ac:cxnSpMk id="43" creationId="{10F38E3D-6DB4-3FFD-8DA8-E91B37092D25}"/>
          </ac:cxnSpMkLst>
        </pc:cxnChg>
        <pc:cxnChg chg="add del mod">
          <ac:chgData name="Hu, Frank" userId="d3ad470f-91d8-4bd6-b171-9c10023cc60b" providerId="ADAL" clId="{F46F829C-35B7-4081-93FD-C381AD92AAD7}" dt="2023-04-26T11:27:08.016" v="11150" actId="478"/>
          <ac:cxnSpMkLst>
            <pc:docMk/>
            <pc:sldMk cId="3194468333" sldId="2147479732"/>
            <ac:cxnSpMk id="44" creationId="{C54B2003-8B28-6528-E05F-3CA5570C7790}"/>
          </ac:cxnSpMkLst>
        </pc:cxnChg>
        <pc:cxnChg chg="add mod">
          <ac:chgData name="Hu, Frank" userId="d3ad470f-91d8-4bd6-b171-9c10023cc60b" providerId="ADAL" clId="{F46F829C-35B7-4081-93FD-C381AD92AAD7}" dt="2023-04-26T11:39:31.493" v="11442" actId="1076"/>
          <ac:cxnSpMkLst>
            <pc:docMk/>
            <pc:sldMk cId="3194468333" sldId="2147479732"/>
            <ac:cxnSpMk id="46" creationId="{8941ABEC-C83F-00AA-80E6-3AE5E8ADD7E0}"/>
          </ac:cxnSpMkLst>
        </pc:cxnChg>
        <pc:cxnChg chg="add mod">
          <ac:chgData name="Hu, Frank" userId="d3ad470f-91d8-4bd6-b171-9c10023cc60b" providerId="ADAL" clId="{F46F829C-35B7-4081-93FD-C381AD92AAD7}" dt="2023-04-27T04:01:25.124" v="11812" actId="693"/>
          <ac:cxnSpMkLst>
            <pc:docMk/>
            <pc:sldMk cId="3194468333" sldId="2147479732"/>
            <ac:cxnSpMk id="47" creationId="{47A040FA-A30C-49D9-0E6F-B200A488E7B0}"/>
          </ac:cxnSpMkLst>
        </pc:cxnChg>
        <pc:cxnChg chg="add mod">
          <ac:chgData name="Hu, Frank" userId="d3ad470f-91d8-4bd6-b171-9c10023cc60b" providerId="ADAL" clId="{F46F829C-35B7-4081-93FD-C381AD92AAD7}" dt="2023-04-27T04:19:00.342" v="11898" actId="14100"/>
          <ac:cxnSpMkLst>
            <pc:docMk/>
            <pc:sldMk cId="3194468333" sldId="2147479732"/>
            <ac:cxnSpMk id="48" creationId="{D4702100-4C74-D840-42A2-F0B1D0586C2E}"/>
          </ac:cxnSpMkLst>
        </pc:cxnChg>
        <pc:cxnChg chg="add mod">
          <ac:chgData name="Hu, Frank" userId="d3ad470f-91d8-4bd6-b171-9c10023cc60b" providerId="ADAL" clId="{F46F829C-35B7-4081-93FD-C381AD92AAD7}" dt="2023-04-26T11:39:38.740" v="11446" actId="1035"/>
          <ac:cxnSpMkLst>
            <pc:docMk/>
            <pc:sldMk cId="3194468333" sldId="2147479732"/>
            <ac:cxnSpMk id="49" creationId="{FD90AB8E-4646-1A5A-1D96-BE96E083E934}"/>
          </ac:cxnSpMkLst>
        </pc:cxnChg>
        <pc:cxnChg chg="add mod">
          <ac:chgData name="Hu, Frank" userId="d3ad470f-91d8-4bd6-b171-9c10023cc60b" providerId="ADAL" clId="{F46F829C-35B7-4081-93FD-C381AD92AAD7}" dt="2023-04-26T11:44:12.069" v="11582" actId="208"/>
          <ac:cxnSpMkLst>
            <pc:docMk/>
            <pc:sldMk cId="3194468333" sldId="2147479732"/>
            <ac:cxnSpMk id="51" creationId="{83D69778-4EAD-8D88-B7C9-682024073047}"/>
          </ac:cxnSpMkLst>
        </pc:cxnChg>
        <pc:cxnChg chg="add mod">
          <ac:chgData name="Hu, Frank" userId="d3ad470f-91d8-4bd6-b171-9c10023cc60b" providerId="ADAL" clId="{F46F829C-35B7-4081-93FD-C381AD92AAD7}" dt="2023-04-27T07:40:51.712" v="11901" actId="14100"/>
          <ac:cxnSpMkLst>
            <pc:docMk/>
            <pc:sldMk cId="3194468333" sldId="2147479732"/>
            <ac:cxnSpMk id="60" creationId="{7F127CC2-0246-86EA-3DC5-2115695374B8}"/>
          </ac:cxnSpMkLst>
        </pc:cxnChg>
        <pc:cxnChg chg="add mod">
          <ac:chgData name="Hu, Frank" userId="d3ad470f-91d8-4bd6-b171-9c10023cc60b" providerId="ADAL" clId="{F46F829C-35B7-4081-93FD-C381AD92AAD7}" dt="2023-04-27T04:00:13.136" v="11804" actId="478"/>
          <ac:cxnSpMkLst>
            <pc:docMk/>
            <pc:sldMk cId="3194468333" sldId="2147479732"/>
            <ac:cxnSpMk id="61" creationId="{F21900D4-A6DD-83EC-0954-F18A0E92B1FC}"/>
          </ac:cxnSpMkLst>
        </pc:cxnChg>
        <pc:cxnChg chg="add mod">
          <ac:chgData name="Hu, Frank" userId="d3ad470f-91d8-4bd6-b171-9c10023cc60b" providerId="ADAL" clId="{F46F829C-35B7-4081-93FD-C381AD92AAD7}" dt="2023-04-26T11:47:52.085" v="11657" actId="1038"/>
          <ac:cxnSpMkLst>
            <pc:docMk/>
            <pc:sldMk cId="3194468333" sldId="2147479732"/>
            <ac:cxnSpMk id="64" creationId="{9763B8C8-0AB6-FC57-5D94-DC4275D9EE2B}"/>
          </ac:cxnSpMkLst>
        </pc:cxnChg>
        <pc:cxnChg chg="add del mod">
          <ac:chgData name="Hu, Frank" userId="d3ad470f-91d8-4bd6-b171-9c10023cc60b" providerId="ADAL" clId="{F46F829C-35B7-4081-93FD-C381AD92AAD7}" dt="2023-04-26T11:45:22.039" v="11587" actId="478"/>
          <ac:cxnSpMkLst>
            <pc:docMk/>
            <pc:sldMk cId="3194468333" sldId="2147479732"/>
            <ac:cxnSpMk id="71" creationId="{931AE433-99B6-F61D-55EC-D40DA5126F19}"/>
          </ac:cxnSpMkLst>
        </pc:cxnChg>
        <pc:cxnChg chg="add del mod">
          <ac:chgData name="Hu, Frank" userId="d3ad470f-91d8-4bd6-b171-9c10023cc60b" providerId="ADAL" clId="{F46F829C-35B7-4081-93FD-C381AD92AAD7}" dt="2023-04-26T11:45:28.315" v="11591" actId="478"/>
          <ac:cxnSpMkLst>
            <pc:docMk/>
            <pc:sldMk cId="3194468333" sldId="2147479732"/>
            <ac:cxnSpMk id="75" creationId="{5A640FA5-19C5-5BE1-E731-78D3D0271477}"/>
          </ac:cxnSpMkLst>
        </pc:cxnChg>
        <pc:cxnChg chg="mod">
          <ac:chgData name="Hu, Frank" userId="d3ad470f-91d8-4bd6-b171-9c10023cc60b" providerId="ADAL" clId="{F46F829C-35B7-4081-93FD-C381AD92AAD7}" dt="2023-04-26T11:46:45.882" v="11599"/>
          <ac:cxnSpMkLst>
            <pc:docMk/>
            <pc:sldMk cId="3194468333" sldId="2147479732"/>
            <ac:cxnSpMk id="88" creationId="{2114A5EB-BAFB-22BB-44D4-A0210025BF57}"/>
          </ac:cxnSpMkLst>
        </pc:cxnChg>
        <pc:cxnChg chg="add del mod">
          <ac:chgData name="Hu, Frank" userId="d3ad470f-91d8-4bd6-b171-9c10023cc60b" providerId="ADAL" clId="{F46F829C-35B7-4081-93FD-C381AD92AAD7}" dt="2023-04-26T11:46:57.092" v="11604" actId="478"/>
          <ac:cxnSpMkLst>
            <pc:docMk/>
            <pc:sldMk cId="3194468333" sldId="2147479732"/>
            <ac:cxnSpMk id="93" creationId="{0252F74C-7A11-1DEA-2B16-3D8165497F37}"/>
          </ac:cxnSpMkLst>
        </pc:cxnChg>
        <pc:cxnChg chg="add mod">
          <ac:chgData name="Hu, Frank" userId="d3ad470f-91d8-4bd6-b171-9c10023cc60b" providerId="ADAL" clId="{F46F829C-35B7-4081-93FD-C381AD92AAD7}" dt="2023-04-26T12:03:57.234" v="11708" actId="14100"/>
          <ac:cxnSpMkLst>
            <pc:docMk/>
            <pc:sldMk cId="3194468333" sldId="2147479732"/>
            <ac:cxnSpMk id="101" creationId="{CFA29472-F754-9FEB-A256-62271AE25C27}"/>
          </ac:cxnSpMkLst>
        </pc:cxnChg>
      </pc:sldChg>
      <pc:sldChg chg="addSp modSp mod">
        <pc:chgData name="Hu, Frank" userId="d3ad470f-91d8-4bd6-b171-9c10023cc60b" providerId="ADAL" clId="{F46F829C-35B7-4081-93FD-C381AD92AAD7}" dt="2023-04-27T09:41:19.844" v="12011" actId="20577"/>
        <pc:sldMkLst>
          <pc:docMk/>
          <pc:sldMk cId="824622274" sldId="2147479733"/>
        </pc:sldMkLst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2" creationId="{E423E4EC-AED0-0D54-8686-5C70E45472BD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3" creationId="{FDAB591D-F4E5-600E-C93C-E7C59A7E6A08}"/>
          </ac:spMkLst>
        </pc:spChg>
        <pc:spChg chg="mod">
          <ac:chgData name="Hu, Frank" userId="d3ad470f-91d8-4bd6-b171-9c10023cc60b" providerId="ADAL" clId="{F46F829C-35B7-4081-93FD-C381AD92AAD7}" dt="2023-04-27T09:41:19.844" v="12011" actId="20577"/>
          <ac:spMkLst>
            <pc:docMk/>
            <pc:sldMk cId="824622274" sldId="2147479733"/>
            <ac:spMk id="4" creationId="{8FADB6F4-CC43-460D-7341-8DD3AE0765CC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5" creationId="{8BE5F52D-F442-E5CB-B24E-CFA164B7EFCC}"/>
          </ac:spMkLst>
        </pc:spChg>
        <pc:spChg chg="add mod">
          <ac:chgData name="Hu, Frank" userId="d3ad470f-91d8-4bd6-b171-9c10023cc60b" providerId="ADAL" clId="{F46F829C-35B7-4081-93FD-C381AD92AAD7}" dt="2023-04-27T09:31:47.023" v="11973" actId="1035"/>
          <ac:spMkLst>
            <pc:docMk/>
            <pc:sldMk cId="824622274" sldId="2147479733"/>
            <ac:spMk id="7" creationId="{9DF4E4EB-2DB6-0004-878C-1CC76DD61BAC}"/>
          </ac:spMkLst>
        </pc:spChg>
        <pc:spChg chg="add mod">
          <ac:chgData name="Hu, Frank" userId="d3ad470f-91d8-4bd6-b171-9c10023cc60b" providerId="ADAL" clId="{F46F829C-35B7-4081-93FD-C381AD92AAD7}" dt="2023-04-27T09:31:47.023" v="11973" actId="1035"/>
          <ac:spMkLst>
            <pc:docMk/>
            <pc:sldMk cId="824622274" sldId="2147479733"/>
            <ac:spMk id="8" creationId="{8EB4589B-CABA-7FCE-9857-143DBC0B337F}"/>
          </ac:spMkLst>
        </pc:spChg>
        <pc:spChg chg="mod">
          <ac:chgData name="Hu, Frank" userId="d3ad470f-91d8-4bd6-b171-9c10023cc60b" providerId="ADAL" clId="{F46F829C-35B7-4081-93FD-C381AD92AAD7}" dt="2023-04-27T09:08:16.036" v="11919" actId="208"/>
          <ac:spMkLst>
            <pc:docMk/>
            <pc:sldMk cId="824622274" sldId="2147479733"/>
            <ac:spMk id="10" creationId="{B9425220-CB52-E115-A7B5-A1AE2392F41C}"/>
          </ac:spMkLst>
        </pc:spChg>
        <pc:spChg chg="mod">
          <ac:chgData name="Hu, Frank" userId="d3ad470f-91d8-4bd6-b171-9c10023cc60b" providerId="ADAL" clId="{F46F829C-35B7-4081-93FD-C381AD92AAD7}" dt="2023-04-27T09:12:39.946" v="11934" actId="208"/>
          <ac:spMkLst>
            <pc:docMk/>
            <pc:sldMk cId="824622274" sldId="2147479733"/>
            <ac:spMk id="11" creationId="{F61E38C9-C4CE-9CB0-0E5E-9CD2A0EF6922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3" creationId="{FA39B728-4E03-CF9D-BC80-99144534D03E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7" creationId="{D29FCCB3-365E-F18A-CEC7-8BE84A664D7C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22" creationId="{B3588CD5-ECA6-5A13-98A9-0CA5E52D3304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40" creationId="{42DFEBC7-93CA-50BC-51D4-29A1EBFDAEF4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41" creationId="{E0C48BDE-6F5D-BF50-108D-FE5C74197F69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43" creationId="{9F893049-1328-F29E-3BCC-0757850F9F5C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76" creationId="{829A16CE-E0D2-AD81-1A39-5BCE8E0983E6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77" creationId="{B82B8215-C061-DBF3-8BBF-7674787DADA2}"/>
          </ac:spMkLst>
        </pc:spChg>
        <pc:spChg chg="mod">
          <ac:chgData name="Hu, Frank" userId="d3ad470f-91d8-4bd6-b171-9c10023cc60b" providerId="ADAL" clId="{F46F829C-35B7-4081-93FD-C381AD92AAD7}" dt="2023-04-27T09:13:59.529" v="11948" actId="20577"/>
          <ac:spMkLst>
            <pc:docMk/>
            <pc:sldMk cId="824622274" sldId="2147479733"/>
            <ac:spMk id="78" creationId="{98B422C9-02C3-8D22-1AD2-26CEB0050A23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79" creationId="{63AA6D57-53CB-304B-FB27-E65278A073AC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80" creationId="{66478E30-C868-984D-2320-19FB3878F660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81" creationId="{6603B00F-12B9-7172-8DC9-77E8CA0F433D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86" creationId="{F90FCD59-F4EF-921B-97FF-470387606EBB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00" creationId="{4052DAB5-33DA-128E-823E-DF5E6A18DED1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12" creationId="{31BF50EE-8B6D-8044-BC29-E6C2727484D7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17" creationId="{12D6394D-F394-40F4-1382-0984AD24FCF6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21" creationId="{3ABDA3A5-8013-45F5-0410-C0D124932EC4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22" creationId="{34DB2E15-527B-8A50-C098-A23735AF8B79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26" creationId="{44A10760-F526-5170-439F-138F460793D2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28" creationId="{B9ED2DED-1247-A41B-36B6-CB0F65C2AA6B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29" creationId="{5399D158-78BF-8BD0-D89A-81F5544FCC52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40" creationId="{52A70DAB-3C7C-ED1B-E341-E342E17EF03D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46" creationId="{4C097A3A-3E69-D5E6-8D3A-9409C92563AE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62" creationId="{C95E798F-319F-A54B-53C6-D71E3B474A9E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63" creationId="{A3180AAB-04CB-B52B-F792-41FAB5F2F642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64" creationId="{A8497B80-1495-B6A3-3960-B055D4C929E5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65" creationId="{840E4AB3-DCC2-9A9F-65AC-1F1C647D6F3D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66" creationId="{26EE4AFE-6EB8-204C-8333-FA70FE35C16D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67" creationId="{D3BC654A-E46F-EF3C-337A-3A6CC0372FFE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69" creationId="{A4CC9D3B-9F3E-EED9-3219-B9E0A87A7E4B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70" creationId="{FC2B2E7A-E00E-DC04-1B50-9D4A3564E830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171" creationId="{68182C02-FADC-E495-6126-A8434A6F1055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208" creationId="{B281F068-CDEB-7971-666D-267BA6C08D4E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215" creationId="{D43802F3-3055-7493-E20B-229EF1E04F66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216" creationId="{8E7631F7-DB0B-A817-DEDD-DB3935102E71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217" creationId="{8E62BE41-5DAE-2F00-2F1D-3572728B7B1A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218" creationId="{A99341B3-7583-1279-2501-CFD85D55BB5C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224" creationId="{5997E5F5-83AE-6978-887E-0DA328FAE6F3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240" creationId="{A91585D1-6F01-8F28-09C8-5490392A135D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244" creationId="{D60727EC-47EC-5BF8-5439-A7B71AB878EA}"/>
          </ac:spMkLst>
        </pc:spChg>
        <pc:spChg chg="mod">
          <ac:chgData name="Hu, Frank" userId="d3ad470f-91d8-4bd6-b171-9c10023cc60b" providerId="ADAL" clId="{F46F829C-35B7-4081-93FD-C381AD92AAD7}" dt="2023-04-27T09:12:34.477" v="11932" actId="14100"/>
          <ac:spMkLst>
            <pc:docMk/>
            <pc:sldMk cId="824622274" sldId="2147479733"/>
            <ac:spMk id="246" creationId="{915580B2-023D-6DCB-92AA-E0D4AD441A6D}"/>
          </ac:spMkLst>
        </pc:spChg>
        <pc:spChg chg="mod">
          <ac:chgData name="Hu, Frank" userId="d3ad470f-91d8-4bd6-b171-9c10023cc60b" providerId="ADAL" clId="{F46F829C-35B7-4081-93FD-C381AD92AAD7}" dt="2023-04-27T09:12:35.969" v="11933" actId="208"/>
          <ac:spMkLst>
            <pc:docMk/>
            <pc:sldMk cId="824622274" sldId="2147479733"/>
            <ac:spMk id="247" creationId="{075253D7-CF46-4040-279F-101D50490BB3}"/>
          </ac:spMkLst>
        </pc:spChg>
        <pc:spChg chg="mod">
          <ac:chgData name="Hu, Frank" userId="d3ad470f-91d8-4bd6-b171-9c10023cc60b" providerId="ADAL" clId="{F46F829C-35B7-4081-93FD-C381AD92AAD7}" dt="2023-04-27T09:08:10.388" v="11917" actId="208"/>
          <ac:spMkLst>
            <pc:docMk/>
            <pc:sldMk cId="824622274" sldId="2147479733"/>
            <ac:spMk id="249" creationId="{AF13E56C-7022-7209-9B36-FCF694A79685}"/>
          </ac:spMkLst>
        </pc:spChg>
        <pc:spChg chg="mod">
          <ac:chgData name="Hu, Frank" userId="d3ad470f-91d8-4bd6-b171-9c10023cc60b" providerId="ADAL" clId="{F46F829C-35B7-4081-93FD-C381AD92AAD7}" dt="2023-04-27T09:12:28.457" v="11931" actId="208"/>
          <ac:spMkLst>
            <pc:docMk/>
            <pc:sldMk cId="824622274" sldId="2147479733"/>
            <ac:spMk id="250" creationId="{C6CA9FC8-B5AD-3C37-0F1D-598DA2FCB584}"/>
          </ac:spMkLst>
        </pc:spChg>
        <pc:spChg chg="mod">
          <ac:chgData name="Hu, Frank" userId="d3ad470f-91d8-4bd6-b171-9c10023cc60b" providerId="ADAL" clId="{F46F829C-35B7-4081-93FD-C381AD92AAD7}" dt="2023-04-27T09:31:39.886" v="11970" actId="1035"/>
          <ac:spMkLst>
            <pc:docMk/>
            <pc:sldMk cId="824622274" sldId="2147479733"/>
            <ac:spMk id="252" creationId="{58CCF7EE-4542-B73B-F0DB-ADCAED0D7972}"/>
          </ac:spMkLst>
        </pc:spChg>
        <pc:spChg chg="mod">
          <ac:chgData name="Hu, Frank" userId="d3ad470f-91d8-4bd6-b171-9c10023cc60b" providerId="ADAL" clId="{F46F829C-35B7-4081-93FD-C381AD92AAD7}" dt="2023-04-27T09:31:39.886" v="11970" actId="1035"/>
          <ac:spMkLst>
            <pc:docMk/>
            <pc:sldMk cId="824622274" sldId="2147479733"/>
            <ac:spMk id="253" creationId="{5571AFA6-E038-D29D-9690-E3D87BD1A2B1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254" creationId="{643B9E88-0ACE-9A06-924D-D9B653346C39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255" creationId="{95BA3AF4-5090-6EC3-E8B7-E2545D34F8C6}"/>
          </ac:spMkLst>
        </pc:spChg>
        <pc:spChg chg="mod">
          <ac:chgData name="Hu, Frank" userId="d3ad470f-91d8-4bd6-b171-9c10023cc60b" providerId="ADAL" clId="{F46F829C-35B7-4081-93FD-C381AD92AAD7}" dt="2023-04-27T09:06:33.359" v="11915" actId="2711"/>
          <ac:spMkLst>
            <pc:docMk/>
            <pc:sldMk cId="824622274" sldId="2147479733"/>
            <ac:spMk id="256" creationId="{817B0C8D-02A7-A241-2B9A-E1A0BD45E944}"/>
          </ac:spMkLst>
        </pc:spChg>
        <pc:grpChg chg="mod">
          <ac:chgData name="Hu, Frank" userId="d3ad470f-91d8-4bd6-b171-9c10023cc60b" providerId="ADAL" clId="{F46F829C-35B7-4081-93FD-C381AD92AAD7}" dt="2023-04-27T09:06:33.359" v="11915" actId="2711"/>
          <ac:grpSpMkLst>
            <pc:docMk/>
            <pc:sldMk cId="824622274" sldId="2147479733"/>
            <ac:grpSpMk id="9" creationId="{BCC74929-BA34-5406-0AE0-9ACC24167AB3}"/>
          </ac:grpSpMkLst>
        </pc:grpChg>
        <pc:grpChg chg="mod">
          <ac:chgData name="Hu, Frank" userId="d3ad470f-91d8-4bd6-b171-9c10023cc60b" providerId="ADAL" clId="{F46F829C-35B7-4081-93FD-C381AD92AAD7}" dt="2023-04-27T09:06:33.359" v="11915" actId="2711"/>
          <ac:grpSpMkLst>
            <pc:docMk/>
            <pc:sldMk cId="824622274" sldId="2147479733"/>
            <ac:grpSpMk id="87" creationId="{C8B246A5-F320-D654-EE83-0DFA37243217}"/>
          </ac:grpSpMkLst>
        </pc:grpChg>
        <pc:grpChg chg="mod">
          <ac:chgData name="Hu, Frank" userId="d3ad470f-91d8-4bd6-b171-9c10023cc60b" providerId="ADAL" clId="{F46F829C-35B7-4081-93FD-C381AD92AAD7}" dt="2023-04-27T09:12:34.477" v="11932" actId="14100"/>
          <ac:grpSpMkLst>
            <pc:docMk/>
            <pc:sldMk cId="824622274" sldId="2147479733"/>
            <ac:grpSpMk id="245" creationId="{44FC7809-2649-F806-2595-7AF5B13EB695}"/>
          </ac:grpSpMkLst>
        </pc:grpChg>
        <pc:grpChg chg="mod">
          <ac:chgData name="Hu, Frank" userId="d3ad470f-91d8-4bd6-b171-9c10023cc60b" providerId="ADAL" clId="{F46F829C-35B7-4081-93FD-C381AD92AAD7}" dt="2023-04-27T09:06:33.359" v="11915" actId="2711"/>
          <ac:grpSpMkLst>
            <pc:docMk/>
            <pc:sldMk cId="824622274" sldId="2147479733"/>
            <ac:grpSpMk id="248" creationId="{AA5E3291-4E1D-3761-C918-A68D6E0F12E4}"/>
          </ac:grpSpMkLst>
        </pc:grpChg>
        <pc:grpChg chg="mod">
          <ac:chgData name="Hu, Frank" userId="d3ad470f-91d8-4bd6-b171-9c10023cc60b" providerId="ADAL" clId="{F46F829C-35B7-4081-93FD-C381AD92AAD7}" dt="2023-04-27T09:31:39.886" v="11970" actId="1035"/>
          <ac:grpSpMkLst>
            <pc:docMk/>
            <pc:sldMk cId="824622274" sldId="2147479733"/>
            <ac:grpSpMk id="251" creationId="{42ACBEAC-8AE7-3D91-38AC-B3C8080171D4}"/>
          </ac:grpSpMkLst>
        </pc:grp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94" creationId="{A2AB992E-59CC-29E6-1DEC-7C21ABCB7EBE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101" creationId="{CFA29472-F754-9FEB-A256-62271AE25C27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119" creationId="{FB0F63F2-BE30-FF50-055A-FAD969AF5927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124" creationId="{00BA2A14-C519-A097-0608-2A26D8C86759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135" creationId="{AD23B849-3B56-E261-5CF0-D94681593430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136" creationId="{B9BAAC6C-3074-D965-2A6D-8E1123F89672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141" creationId="{ECB2CD49-1228-DF27-AADB-CFADBBDA471B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144" creationId="{1183CA08-9766-8C5D-4413-B28CB5E77760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147" creationId="{2C6FC6DB-DCD9-E46F-3A16-7815162E4F4A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154" creationId="{9D6DE90D-45DE-CD11-D87A-E36E49BE1BD7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172" creationId="{9C96129B-C404-B1A8-CA32-41612FD3C47E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182" creationId="{FD59714F-7936-B2BA-F848-5A6E998822B0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185" creationId="{9596FF3B-DC94-CC0B-3C8F-748C49F116F5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199" creationId="{5D1857AF-E39D-7683-0F51-CB45A2048CC3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219" creationId="{D84A700D-B301-B4CD-0DDC-26E7A2E2D15D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220" creationId="{E00F7B65-4C6D-0B9E-00A5-385279FABB2E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222" creationId="{F73D3718-7ED3-2335-8449-A8DEC3C76D16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225" creationId="{B2D4B4B2-8F62-A836-1F51-EC7E6946B38F}"/>
          </ac:cxnSpMkLst>
        </pc:cxnChg>
        <pc:cxnChg chg="mod">
          <ac:chgData name="Hu, Frank" userId="d3ad470f-91d8-4bd6-b171-9c10023cc60b" providerId="ADAL" clId="{F46F829C-35B7-4081-93FD-C381AD92AAD7}" dt="2023-04-27T09:06:33.359" v="11915" actId="2711"/>
          <ac:cxnSpMkLst>
            <pc:docMk/>
            <pc:sldMk cId="824622274" sldId="2147479733"/>
            <ac:cxnSpMk id="233" creationId="{E1B3AAE3-48B6-9F23-B293-C3AD82DBB746}"/>
          </ac:cxnSpMkLst>
        </pc:cxnChg>
      </pc:sldChg>
    </pc:docChg>
  </pc:docChgLst>
  <pc:docChgLst>
    <pc:chgData name="Yi, Xiu" userId="0254ba58-9de3-4f23-8680-c5b52ee4cd83" providerId="ADAL" clId="{1081453C-4077-4981-95F8-612C68A61DA6}"/>
    <pc:docChg chg="undo custSel addSld delSld modSld">
      <pc:chgData name="Yi, Xiu" userId="0254ba58-9de3-4f23-8680-c5b52ee4cd83" providerId="ADAL" clId="{1081453C-4077-4981-95F8-612C68A61DA6}" dt="2023-04-27T09:21:54.875" v="3665" actId="207"/>
      <pc:docMkLst>
        <pc:docMk/>
      </pc:docMkLst>
      <pc:sldChg chg="modSp mod">
        <pc:chgData name="Yi, Xiu" userId="0254ba58-9de3-4f23-8680-c5b52ee4cd83" providerId="ADAL" clId="{1081453C-4077-4981-95F8-612C68A61DA6}" dt="2023-03-31T09:05:06.596" v="71"/>
        <pc:sldMkLst>
          <pc:docMk/>
          <pc:sldMk cId="1629897296" sldId="2147479210"/>
        </pc:sldMkLst>
        <pc:spChg chg="mod">
          <ac:chgData name="Yi, Xiu" userId="0254ba58-9de3-4f23-8680-c5b52ee4cd83" providerId="ADAL" clId="{1081453C-4077-4981-95F8-612C68A61DA6}" dt="2023-03-31T09:05:06.596" v="71"/>
          <ac:spMkLst>
            <pc:docMk/>
            <pc:sldMk cId="1629897296" sldId="2147479210"/>
            <ac:spMk id="2" creationId="{7756B8F4-874A-CFB5-B37C-9B912FD9E344}"/>
          </ac:spMkLst>
        </pc:spChg>
      </pc:sldChg>
      <pc:sldChg chg="modSp mod">
        <pc:chgData name="Yi, Xiu" userId="0254ba58-9de3-4f23-8680-c5b52ee4cd83" providerId="ADAL" clId="{1081453C-4077-4981-95F8-612C68A61DA6}" dt="2023-03-30T02:58:02.873" v="7"/>
        <pc:sldMkLst>
          <pc:docMk/>
          <pc:sldMk cId="1202851494" sldId="2147479522"/>
        </pc:sldMkLst>
        <pc:spChg chg="mod">
          <ac:chgData name="Yi, Xiu" userId="0254ba58-9de3-4f23-8680-c5b52ee4cd83" providerId="ADAL" clId="{1081453C-4077-4981-95F8-612C68A61DA6}" dt="2023-03-30T02:58:00.205" v="5"/>
          <ac:spMkLst>
            <pc:docMk/>
            <pc:sldMk cId="1202851494" sldId="2147479522"/>
            <ac:spMk id="68" creationId="{ED5CFCDB-1815-8C6E-E97A-6F6161EAC89F}"/>
          </ac:spMkLst>
        </pc:spChg>
        <pc:spChg chg="mod">
          <ac:chgData name="Yi, Xiu" userId="0254ba58-9de3-4f23-8680-c5b52ee4cd83" providerId="ADAL" clId="{1081453C-4077-4981-95F8-612C68A61DA6}" dt="2023-03-30T02:58:02.873" v="7"/>
          <ac:spMkLst>
            <pc:docMk/>
            <pc:sldMk cId="1202851494" sldId="2147479522"/>
            <ac:spMk id="78" creationId="{218ED13B-D766-06C6-8D4A-9507648698DA}"/>
          </ac:spMkLst>
        </pc:spChg>
      </pc:sldChg>
      <pc:sldChg chg="modSp mod">
        <pc:chgData name="Yi, Xiu" userId="0254ba58-9de3-4f23-8680-c5b52ee4cd83" providerId="ADAL" clId="{1081453C-4077-4981-95F8-612C68A61DA6}" dt="2023-03-30T02:57:56.031" v="3"/>
        <pc:sldMkLst>
          <pc:docMk/>
          <pc:sldMk cId="1638411881" sldId="2147479584"/>
        </pc:sldMkLst>
        <pc:spChg chg="mod">
          <ac:chgData name="Yi, Xiu" userId="0254ba58-9de3-4f23-8680-c5b52ee4cd83" providerId="ADAL" clId="{1081453C-4077-4981-95F8-612C68A61DA6}" dt="2023-03-30T02:57:52.841" v="1"/>
          <ac:spMkLst>
            <pc:docMk/>
            <pc:sldMk cId="1638411881" sldId="2147479584"/>
            <ac:spMk id="12" creationId="{748C86B9-FEA9-C7ED-D696-F492A1FDFEAC}"/>
          </ac:spMkLst>
        </pc:spChg>
        <pc:spChg chg="mod">
          <ac:chgData name="Yi, Xiu" userId="0254ba58-9de3-4f23-8680-c5b52ee4cd83" providerId="ADAL" clId="{1081453C-4077-4981-95F8-612C68A61DA6}" dt="2023-03-30T02:57:56.031" v="3"/>
          <ac:spMkLst>
            <pc:docMk/>
            <pc:sldMk cId="1638411881" sldId="2147479584"/>
            <ac:spMk id="32" creationId="{FFCCC6E7-EBD1-5F6B-178B-C9F256ED18F4}"/>
          </ac:spMkLst>
        </pc:spChg>
      </pc:sldChg>
      <pc:sldChg chg="mod modShow">
        <pc:chgData name="Yi, Xiu" userId="0254ba58-9de3-4f23-8680-c5b52ee4cd83" providerId="ADAL" clId="{1081453C-4077-4981-95F8-612C68A61DA6}" dt="2023-03-31T08:35:27.409" v="11" actId="729"/>
        <pc:sldMkLst>
          <pc:docMk/>
          <pc:sldMk cId="3529416156" sldId="2147479602"/>
        </pc:sldMkLst>
      </pc:sldChg>
      <pc:sldChg chg="modSp add del">
        <pc:chgData name="Yi, Xiu" userId="0254ba58-9de3-4f23-8680-c5b52ee4cd83" providerId="ADAL" clId="{1081453C-4077-4981-95F8-612C68A61DA6}" dt="2023-03-31T08:35:23.859" v="9"/>
        <pc:sldMkLst>
          <pc:docMk/>
          <pc:sldMk cId="3686626910" sldId="2147479619"/>
        </pc:sldMkLst>
        <pc:spChg chg="mod">
          <ac:chgData name="Yi, Xiu" userId="0254ba58-9de3-4f23-8680-c5b52ee4cd83" providerId="ADAL" clId="{1081453C-4077-4981-95F8-612C68A61DA6}" dt="2023-03-31T08:35:22.138" v="8"/>
          <ac:spMkLst>
            <pc:docMk/>
            <pc:sldMk cId="3686626910" sldId="2147479619"/>
            <ac:spMk id="2" creationId="{1A534CB2-97F9-E782-DDF1-91C91BAA27AC}"/>
          </ac:spMkLst>
        </pc:spChg>
      </pc:sldChg>
      <pc:sldChg chg="modSp add mod modShow">
        <pc:chgData name="Yi, Xiu" userId="0254ba58-9de3-4f23-8680-c5b52ee4cd83" providerId="ADAL" clId="{1081453C-4077-4981-95F8-612C68A61DA6}" dt="2023-03-31T08:50:14.503" v="66" actId="729"/>
        <pc:sldMkLst>
          <pc:docMk/>
          <pc:sldMk cId="4122430690" sldId="2147479619"/>
        </pc:sldMkLst>
        <pc:spChg chg="mod">
          <ac:chgData name="Yi, Xiu" userId="0254ba58-9de3-4f23-8680-c5b52ee4cd83" providerId="ADAL" clId="{1081453C-4077-4981-95F8-612C68A61DA6}" dt="2023-03-31T08:38:43.646" v="19" actId="20577"/>
          <ac:spMkLst>
            <pc:docMk/>
            <pc:sldMk cId="4122430690" sldId="2147479619"/>
            <ac:spMk id="95" creationId="{34F01614-2150-7E32-28E0-968E84AF1DAC}"/>
          </ac:spMkLst>
        </pc:spChg>
        <pc:spChg chg="mod">
          <ac:chgData name="Yi, Xiu" userId="0254ba58-9de3-4f23-8680-c5b52ee4cd83" providerId="ADAL" clId="{1081453C-4077-4981-95F8-612C68A61DA6}" dt="2023-03-31T08:40:36.718" v="65"/>
          <ac:spMkLst>
            <pc:docMk/>
            <pc:sldMk cId="4122430690" sldId="2147479619"/>
            <ac:spMk id="100" creationId="{CDCCF724-E1E4-3C6E-9D42-048C4F196354}"/>
          </ac:spMkLst>
        </pc:spChg>
      </pc:sldChg>
      <pc:sldChg chg="modSp mod">
        <pc:chgData name="Yi, Xiu" userId="0254ba58-9de3-4f23-8680-c5b52ee4cd83" providerId="ADAL" clId="{1081453C-4077-4981-95F8-612C68A61DA6}" dt="2023-04-23T10:17:26.429" v="3596" actId="948"/>
        <pc:sldMkLst>
          <pc:docMk/>
          <pc:sldMk cId="1837208439" sldId="2147479620"/>
        </pc:sldMkLst>
        <pc:spChg chg="mod">
          <ac:chgData name="Yi, Xiu" userId="0254ba58-9de3-4f23-8680-c5b52ee4cd83" providerId="ADAL" clId="{1081453C-4077-4981-95F8-612C68A61DA6}" dt="2023-03-31T09:03:19.479" v="69" actId="20577"/>
          <ac:spMkLst>
            <pc:docMk/>
            <pc:sldMk cId="1837208439" sldId="2147479620"/>
            <ac:spMk id="5" creationId="{AF0E56B4-330B-A3C5-3924-1B7DB40581B6}"/>
          </ac:spMkLst>
        </pc:spChg>
        <pc:spChg chg="mod">
          <ac:chgData name="Yi, Xiu" userId="0254ba58-9de3-4f23-8680-c5b52ee4cd83" providerId="ADAL" clId="{1081453C-4077-4981-95F8-612C68A61DA6}" dt="2023-03-31T09:56:00.315" v="89"/>
          <ac:spMkLst>
            <pc:docMk/>
            <pc:sldMk cId="1837208439" sldId="2147479620"/>
            <ac:spMk id="18" creationId="{ACF4E145-5FFF-3EEA-D0A7-B2486739A77C}"/>
          </ac:spMkLst>
        </pc:spChg>
        <pc:spChg chg="mod">
          <ac:chgData name="Yi, Xiu" userId="0254ba58-9de3-4f23-8680-c5b52ee4cd83" providerId="ADAL" clId="{1081453C-4077-4981-95F8-612C68A61DA6}" dt="2023-04-23T10:17:26.429" v="3596" actId="948"/>
          <ac:spMkLst>
            <pc:docMk/>
            <pc:sldMk cId="1837208439" sldId="2147479620"/>
            <ac:spMk id="43" creationId="{5E4F71DE-0CF8-661E-875F-9531ACA7C7E7}"/>
          </ac:spMkLst>
        </pc:spChg>
        <pc:spChg chg="mod">
          <ac:chgData name="Yi, Xiu" userId="0254ba58-9de3-4f23-8680-c5b52ee4cd83" providerId="ADAL" clId="{1081453C-4077-4981-95F8-612C68A61DA6}" dt="2023-04-23T10:14:35.386" v="3591" actId="20577"/>
          <ac:spMkLst>
            <pc:docMk/>
            <pc:sldMk cId="1837208439" sldId="2147479620"/>
            <ac:spMk id="95" creationId="{34F01614-2150-7E32-28E0-968E84AF1DAC}"/>
          </ac:spMkLst>
        </pc:spChg>
        <pc:spChg chg="mod">
          <ac:chgData name="Yi, Xiu" userId="0254ba58-9de3-4f23-8680-c5b52ee4cd83" providerId="ADAL" clId="{1081453C-4077-4981-95F8-612C68A61DA6}" dt="2023-04-01T08:46:02.895" v="111" actId="255"/>
          <ac:spMkLst>
            <pc:docMk/>
            <pc:sldMk cId="1837208439" sldId="2147479620"/>
            <ac:spMk id="100" creationId="{CDCCF724-E1E4-3C6E-9D42-048C4F196354}"/>
          </ac:spMkLst>
        </pc:spChg>
      </pc:sldChg>
      <pc:sldChg chg="addSp delSp add del mod delAnim">
        <pc:chgData name="Yi, Xiu" userId="0254ba58-9de3-4f23-8680-c5b52ee4cd83" providerId="ADAL" clId="{1081453C-4077-4981-95F8-612C68A61DA6}" dt="2023-04-24T07:06:48.852" v="3597" actId="47"/>
        <pc:sldMkLst>
          <pc:docMk/>
          <pc:sldMk cId="1538877870" sldId="2147479637"/>
        </pc:sldMkLst>
        <pc:spChg chg="del">
          <ac:chgData name="Yi, Xiu" userId="0254ba58-9de3-4f23-8680-c5b52ee4cd83" providerId="ADAL" clId="{1081453C-4077-4981-95F8-612C68A61DA6}" dt="2023-04-15T06:38:51.975" v="2772" actId="478"/>
          <ac:spMkLst>
            <pc:docMk/>
            <pc:sldMk cId="1538877870" sldId="2147479637"/>
            <ac:spMk id="5" creationId="{BF12DA85-3CC7-8C90-4481-257048D84ABF}"/>
          </ac:spMkLst>
        </pc:spChg>
        <pc:spChg chg="add del">
          <ac:chgData name="Yi, Xiu" userId="0254ba58-9de3-4f23-8680-c5b52ee4cd83" providerId="ADAL" clId="{1081453C-4077-4981-95F8-612C68A61DA6}" dt="2023-04-15T06:38:54.707" v="2774" actId="478"/>
          <ac:spMkLst>
            <pc:docMk/>
            <pc:sldMk cId="1538877870" sldId="2147479637"/>
            <ac:spMk id="163" creationId="{28A4D9D9-69FC-4012-BA3D-7BA0877A4DC3}"/>
          </ac:spMkLst>
        </pc:spChg>
        <pc:spChg chg="del">
          <ac:chgData name="Yi, Xiu" userId="0254ba58-9de3-4f23-8680-c5b52ee4cd83" providerId="ADAL" clId="{1081453C-4077-4981-95F8-612C68A61DA6}" dt="2023-04-15T06:38:50.402" v="2771" actId="478"/>
          <ac:spMkLst>
            <pc:docMk/>
            <pc:sldMk cId="1538877870" sldId="2147479637"/>
            <ac:spMk id="209" creationId="{93CBB722-54A9-07F8-AF21-ECD784026FEB}"/>
          </ac:spMkLst>
        </pc:spChg>
        <pc:spChg chg="del">
          <ac:chgData name="Yi, Xiu" userId="0254ba58-9de3-4f23-8680-c5b52ee4cd83" providerId="ADAL" clId="{1081453C-4077-4981-95F8-612C68A61DA6}" dt="2023-04-15T06:38:56.132" v="2775" actId="478"/>
          <ac:spMkLst>
            <pc:docMk/>
            <pc:sldMk cId="1538877870" sldId="2147479637"/>
            <ac:spMk id="212" creationId="{D21E13B0-27B0-6204-EEDA-1A301F352DA7}"/>
          </ac:spMkLst>
        </pc:spChg>
        <pc:spChg chg="del">
          <ac:chgData name="Yi, Xiu" userId="0254ba58-9de3-4f23-8680-c5b52ee4cd83" providerId="ADAL" clId="{1081453C-4077-4981-95F8-612C68A61DA6}" dt="2023-04-15T06:38:57.069" v="2776" actId="478"/>
          <ac:spMkLst>
            <pc:docMk/>
            <pc:sldMk cId="1538877870" sldId="2147479637"/>
            <ac:spMk id="213" creationId="{02F6AB9C-0355-7B71-881C-8DF69C58962A}"/>
          </ac:spMkLst>
        </pc:spChg>
        <pc:spChg chg="del">
          <ac:chgData name="Yi, Xiu" userId="0254ba58-9de3-4f23-8680-c5b52ee4cd83" providerId="ADAL" clId="{1081453C-4077-4981-95F8-612C68A61DA6}" dt="2023-04-15T06:38:57.937" v="2777" actId="478"/>
          <ac:spMkLst>
            <pc:docMk/>
            <pc:sldMk cId="1538877870" sldId="2147479637"/>
            <ac:spMk id="214" creationId="{2A1CA55C-C497-B442-3F4C-F81CABF20EA6}"/>
          </ac:spMkLst>
        </pc:spChg>
      </pc:sldChg>
      <pc:sldChg chg="delSp modSp add del mod">
        <pc:chgData name="Yi, Xiu" userId="0254ba58-9de3-4f23-8680-c5b52ee4cd83" providerId="ADAL" clId="{1081453C-4077-4981-95F8-612C68A61DA6}" dt="2023-04-09T15:13:57.767" v="122" actId="47"/>
        <pc:sldMkLst>
          <pc:docMk/>
          <pc:sldMk cId="2886974651" sldId="2147479668"/>
        </pc:sldMkLst>
        <pc:spChg chg="mod">
          <ac:chgData name="Yi, Xiu" userId="0254ba58-9de3-4f23-8680-c5b52ee4cd83" providerId="ADAL" clId="{1081453C-4077-4981-95F8-612C68A61DA6}" dt="2023-04-06T05:37:10.285" v="113"/>
          <ac:spMkLst>
            <pc:docMk/>
            <pc:sldMk cId="2886974651" sldId="2147479668"/>
            <ac:spMk id="2" creationId="{613E9A57-CB75-5562-65AA-BBEC656EC238}"/>
          </ac:spMkLst>
        </pc:spChg>
        <pc:spChg chg="mod">
          <ac:chgData name="Yi, Xiu" userId="0254ba58-9de3-4f23-8680-c5b52ee4cd83" providerId="ADAL" clId="{1081453C-4077-4981-95F8-612C68A61DA6}" dt="2023-04-06T05:37:16.558" v="117" actId="20577"/>
          <ac:spMkLst>
            <pc:docMk/>
            <pc:sldMk cId="2886974651" sldId="2147479668"/>
            <ac:spMk id="8" creationId="{9FF07F57-E21C-DEAE-8231-51BC8033B0C6}"/>
          </ac:spMkLst>
        </pc:spChg>
        <pc:spChg chg="del">
          <ac:chgData name="Yi, Xiu" userId="0254ba58-9de3-4f23-8680-c5b52ee4cd83" providerId="ADAL" clId="{1081453C-4077-4981-95F8-612C68A61DA6}" dt="2023-04-06T05:37:18.139" v="118" actId="478"/>
          <ac:spMkLst>
            <pc:docMk/>
            <pc:sldMk cId="2886974651" sldId="2147479668"/>
            <ac:spMk id="31" creationId="{493D35FD-7263-9E65-07B3-B21114D12E64}"/>
          </ac:spMkLst>
        </pc:spChg>
      </pc:sldChg>
      <pc:sldChg chg="addSp delSp modSp add del mod modNotesTx">
        <pc:chgData name="Yi, Xiu" userId="0254ba58-9de3-4f23-8680-c5b52ee4cd83" providerId="ADAL" clId="{1081453C-4077-4981-95F8-612C68A61DA6}" dt="2023-04-15T07:04:00.340" v="3374" actId="47"/>
        <pc:sldMkLst>
          <pc:docMk/>
          <pc:sldMk cId="2879818995" sldId="2147479669"/>
        </pc:sldMkLst>
        <pc:spChg chg="add del mod ord">
          <ac:chgData name="Yi, Xiu" userId="0254ba58-9de3-4f23-8680-c5b52ee4cd83" providerId="ADAL" clId="{1081453C-4077-4981-95F8-612C68A61DA6}" dt="2023-04-15T07:00:15.274" v="3361"/>
          <ac:spMkLst>
            <pc:docMk/>
            <pc:sldMk cId="2879818995" sldId="2147479669"/>
            <ac:spMk id="4" creationId="{38321701-CEC2-4493-3E2D-82B980438C46}"/>
          </ac:spMkLst>
        </pc:spChg>
        <pc:spChg chg="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6" creationId="{A1C35744-52BB-EB1B-1FDD-7290C05FAC0B}"/>
          </ac:spMkLst>
        </pc:spChg>
        <pc:spChg chg="mod">
          <ac:chgData name="Yi, Xiu" userId="0254ba58-9de3-4f23-8680-c5b52ee4cd83" providerId="ADAL" clId="{1081453C-4077-4981-95F8-612C68A61DA6}" dt="2023-04-10T08:59:55.145" v="1222" actId="20577"/>
          <ac:spMkLst>
            <pc:docMk/>
            <pc:sldMk cId="2879818995" sldId="2147479669"/>
            <ac:spMk id="8" creationId="{9FF07F57-E21C-DEAE-8231-51BC8033B0C6}"/>
          </ac:spMkLst>
        </pc:spChg>
        <pc:spChg chg="mod">
          <ac:chgData name="Yi, Xiu" userId="0254ba58-9de3-4f23-8680-c5b52ee4cd83" providerId="ADAL" clId="{1081453C-4077-4981-95F8-612C68A61DA6}" dt="2023-04-11T10:32:38.386" v="1684" actId="12789"/>
          <ac:spMkLst>
            <pc:docMk/>
            <pc:sldMk cId="2879818995" sldId="2147479669"/>
            <ac:spMk id="9" creationId="{9B9C4A95-538E-308A-5892-88609D9627D5}"/>
          </ac:spMkLst>
        </pc:spChg>
        <pc:spChg chg="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10" creationId="{98590933-3958-448B-BBE2-32FB4667330E}"/>
          </ac:spMkLst>
        </pc:spChg>
        <pc:spChg chg="add del mod">
          <ac:chgData name="Yi, Xiu" userId="0254ba58-9de3-4f23-8680-c5b52ee4cd83" providerId="ADAL" clId="{1081453C-4077-4981-95F8-612C68A61DA6}" dt="2023-04-11T10:30:43.012" v="1577" actId="478"/>
          <ac:spMkLst>
            <pc:docMk/>
            <pc:sldMk cId="2879818995" sldId="2147479669"/>
            <ac:spMk id="11" creationId="{8053B08F-E6FB-8B76-9AF1-D726AD0AE0B7}"/>
          </ac:spMkLst>
        </pc:spChg>
        <pc:spChg chg="add del mod">
          <ac:chgData name="Yi, Xiu" userId="0254ba58-9de3-4f23-8680-c5b52ee4cd83" providerId="ADAL" clId="{1081453C-4077-4981-95F8-612C68A61DA6}" dt="2023-04-15T06:47:08.535" v="2970" actId="478"/>
          <ac:spMkLst>
            <pc:docMk/>
            <pc:sldMk cId="2879818995" sldId="2147479669"/>
            <ac:spMk id="11" creationId="{C2A52D3A-830E-444A-AF38-CF8B3EB320C9}"/>
          </ac:spMkLst>
        </pc:spChg>
        <pc:spChg chg="add 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12" creationId="{F316BE03-930C-07F8-EF48-3EC78750A455}"/>
          </ac:spMkLst>
        </pc:spChg>
        <pc:spChg chg="add del mod">
          <ac:chgData name="Yi, Xiu" userId="0254ba58-9de3-4f23-8680-c5b52ee4cd83" providerId="ADAL" clId="{1081453C-4077-4981-95F8-612C68A61DA6}" dt="2023-04-10T08:53:45.184" v="971" actId="478"/>
          <ac:spMkLst>
            <pc:docMk/>
            <pc:sldMk cId="2879818995" sldId="2147479669"/>
            <ac:spMk id="13" creationId="{D7FDECCC-7422-9EFE-071F-F6A1E5CAB843}"/>
          </ac:spMkLst>
        </pc:spChg>
        <pc:spChg chg="add del mod">
          <ac:chgData name="Yi, Xiu" userId="0254ba58-9de3-4f23-8680-c5b52ee4cd83" providerId="ADAL" clId="{1081453C-4077-4981-95F8-612C68A61DA6}" dt="2023-04-13T10:12:42.765" v="2576" actId="21"/>
          <ac:spMkLst>
            <pc:docMk/>
            <pc:sldMk cId="2879818995" sldId="2147479669"/>
            <ac:spMk id="14" creationId="{8273D227-D17D-8310-AEE5-4670524F84A3}"/>
          </ac:spMkLst>
        </pc:spChg>
        <pc:spChg chg="mod">
          <ac:chgData name="Yi, Xiu" userId="0254ba58-9de3-4f23-8680-c5b52ee4cd83" providerId="ADAL" clId="{1081453C-4077-4981-95F8-612C68A61DA6}" dt="2023-04-15T06:37:44.061" v="2760"/>
          <ac:spMkLst>
            <pc:docMk/>
            <pc:sldMk cId="2879818995" sldId="2147479669"/>
            <ac:spMk id="14" creationId="{CB18EBDE-1CFC-4178-06DA-D1A23FDC3C88}"/>
          </ac:spMkLst>
        </pc:spChg>
        <pc:spChg chg="mod">
          <ac:chgData name="Yi, Xiu" userId="0254ba58-9de3-4f23-8680-c5b52ee4cd83" providerId="ADAL" clId="{1081453C-4077-4981-95F8-612C68A61DA6}" dt="2023-04-15T06:37:44.061" v="2760"/>
          <ac:spMkLst>
            <pc:docMk/>
            <pc:sldMk cId="2879818995" sldId="2147479669"/>
            <ac:spMk id="16" creationId="{D2F3343E-A9C2-7161-D40E-EFA0B8089A6C}"/>
          </ac:spMkLst>
        </pc:spChg>
        <pc:spChg chg="mod">
          <ac:chgData name="Yi, Xiu" userId="0254ba58-9de3-4f23-8680-c5b52ee4cd83" providerId="ADAL" clId="{1081453C-4077-4981-95F8-612C68A61DA6}" dt="2023-04-15T06:37:44.061" v="2760"/>
          <ac:spMkLst>
            <pc:docMk/>
            <pc:sldMk cId="2879818995" sldId="2147479669"/>
            <ac:spMk id="17" creationId="{A4115DF3-AD0B-6984-712B-CAC41010EBE6}"/>
          </ac:spMkLst>
        </pc:spChg>
        <pc:spChg chg="mod">
          <ac:chgData name="Yi, Xiu" userId="0254ba58-9de3-4f23-8680-c5b52ee4cd83" providerId="ADAL" clId="{1081453C-4077-4981-95F8-612C68A61DA6}" dt="2023-04-15T06:48:02.585" v="3036" actId="1035"/>
          <ac:spMkLst>
            <pc:docMk/>
            <pc:sldMk cId="2879818995" sldId="2147479669"/>
            <ac:spMk id="18" creationId="{3B79F1FC-1BD9-97DB-8B75-686FD6095A69}"/>
          </ac:spMkLst>
        </pc:spChg>
        <pc:spChg chg="mod">
          <ac:chgData name="Yi, Xiu" userId="0254ba58-9de3-4f23-8680-c5b52ee4cd83" providerId="ADAL" clId="{1081453C-4077-4981-95F8-612C68A61DA6}" dt="2023-04-15T06:37:44.061" v="2760"/>
          <ac:spMkLst>
            <pc:docMk/>
            <pc:sldMk cId="2879818995" sldId="2147479669"/>
            <ac:spMk id="19" creationId="{556666BA-655A-09BA-DC58-E5A34CD83B4A}"/>
          </ac:spMkLst>
        </pc:spChg>
        <pc:spChg chg="add mod">
          <ac:chgData name="Yi, Xiu" userId="0254ba58-9de3-4f23-8680-c5b52ee4cd83" providerId="ADAL" clId="{1081453C-4077-4981-95F8-612C68A61DA6}" dt="2023-04-15T06:48:02.585" v="3036" actId="1035"/>
          <ac:spMkLst>
            <pc:docMk/>
            <pc:sldMk cId="2879818995" sldId="2147479669"/>
            <ac:spMk id="22" creationId="{749A4B9F-776E-9932-720E-87D1B4D57233}"/>
          </ac:spMkLst>
        </pc:spChg>
        <pc:spChg chg="add mod">
          <ac:chgData name="Yi, Xiu" userId="0254ba58-9de3-4f23-8680-c5b52ee4cd83" providerId="ADAL" clId="{1081453C-4077-4981-95F8-612C68A61DA6}" dt="2023-04-15T06:48:02.585" v="3036" actId="1035"/>
          <ac:spMkLst>
            <pc:docMk/>
            <pc:sldMk cId="2879818995" sldId="2147479669"/>
            <ac:spMk id="23" creationId="{6FAB3F98-0FEE-55B5-F005-98249B069632}"/>
          </ac:spMkLst>
        </pc:spChg>
        <pc:spChg chg="add mod">
          <ac:chgData name="Yi, Xiu" userId="0254ba58-9de3-4f23-8680-c5b52ee4cd83" providerId="ADAL" clId="{1081453C-4077-4981-95F8-612C68A61DA6}" dt="2023-04-15T06:48:02.585" v="3036" actId="1035"/>
          <ac:spMkLst>
            <pc:docMk/>
            <pc:sldMk cId="2879818995" sldId="2147479669"/>
            <ac:spMk id="24" creationId="{B32E8F3F-0B72-F865-6842-6512704793E9}"/>
          </ac:spMkLst>
        </pc:spChg>
        <pc:spChg chg="mod">
          <ac:chgData name="Yi, Xiu" userId="0254ba58-9de3-4f23-8680-c5b52ee4cd83" providerId="ADAL" clId="{1081453C-4077-4981-95F8-612C68A61DA6}" dt="2023-04-15T06:49:06.646" v="3071" actId="1037"/>
          <ac:spMkLst>
            <pc:docMk/>
            <pc:sldMk cId="2879818995" sldId="2147479669"/>
            <ac:spMk id="25" creationId="{8F1EC283-E8D2-DD67-601C-8EBFDE398ACA}"/>
          </ac:spMkLst>
        </pc:spChg>
        <pc:spChg chg="mod">
          <ac:chgData name="Yi, Xiu" userId="0254ba58-9de3-4f23-8680-c5b52ee4cd83" providerId="ADAL" clId="{1081453C-4077-4981-95F8-612C68A61DA6}" dt="2023-04-15T06:48:02.585" v="3036" actId="1035"/>
          <ac:spMkLst>
            <pc:docMk/>
            <pc:sldMk cId="2879818995" sldId="2147479669"/>
            <ac:spMk id="26" creationId="{ACE84A0D-155F-43A8-8A57-79E56688D52F}"/>
          </ac:spMkLst>
        </pc:spChg>
        <pc:spChg chg="mod">
          <ac:chgData name="Yi, Xiu" userId="0254ba58-9de3-4f23-8680-c5b52ee4cd83" providerId="ADAL" clId="{1081453C-4077-4981-95F8-612C68A61DA6}" dt="2023-04-15T06:48:02.585" v="3036" actId="1035"/>
          <ac:spMkLst>
            <pc:docMk/>
            <pc:sldMk cId="2879818995" sldId="2147479669"/>
            <ac:spMk id="27" creationId="{CB513A01-C83B-5E5A-DF19-1AAA4E411D53}"/>
          </ac:spMkLst>
        </pc:spChg>
        <pc:spChg chg="mod">
          <ac:chgData name="Yi, Xiu" userId="0254ba58-9de3-4f23-8680-c5b52ee4cd83" providerId="ADAL" clId="{1081453C-4077-4981-95F8-612C68A61DA6}" dt="2023-04-15T06:49:06.646" v="3071" actId="1037"/>
          <ac:spMkLst>
            <pc:docMk/>
            <pc:sldMk cId="2879818995" sldId="2147479669"/>
            <ac:spMk id="29" creationId="{3D936C3F-CBEC-D59F-8EF7-4D0BFEAC4125}"/>
          </ac:spMkLst>
        </pc:spChg>
        <pc:spChg chg="add mod">
          <ac:chgData name="Yi, Xiu" userId="0254ba58-9de3-4f23-8680-c5b52ee4cd83" providerId="ADAL" clId="{1081453C-4077-4981-95F8-612C68A61DA6}" dt="2023-04-15T06:48:02.585" v="3036" actId="1035"/>
          <ac:spMkLst>
            <pc:docMk/>
            <pc:sldMk cId="2879818995" sldId="2147479669"/>
            <ac:spMk id="34" creationId="{F5D19332-2CED-AE86-42B0-082C63ADCE77}"/>
          </ac:spMkLst>
        </pc:spChg>
        <pc:spChg chg="add mod">
          <ac:chgData name="Yi, Xiu" userId="0254ba58-9de3-4f23-8680-c5b52ee4cd83" providerId="ADAL" clId="{1081453C-4077-4981-95F8-612C68A61DA6}" dt="2023-04-15T06:48:02.585" v="3036" actId="1035"/>
          <ac:spMkLst>
            <pc:docMk/>
            <pc:sldMk cId="2879818995" sldId="2147479669"/>
            <ac:spMk id="40" creationId="{C00E6B6F-55F9-8B2A-87EF-3EAD3DDE35CE}"/>
          </ac:spMkLst>
        </pc:spChg>
        <pc:spChg chg="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43" creationId="{9378C579-BD54-D30F-93D2-FA83BB1C95BD}"/>
          </ac:spMkLst>
        </pc:spChg>
        <pc:spChg chg="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66" creationId="{831180AB-11EF-29C0-44F4-A7AAB2E32BA5}"/>
          </ac:spMkLst>
        </pc:spChg>
        <pc:spChg chg="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67" creationId="{80A7517B-922D-4DDA-02DD-43ECE665D49E}"/>
          </ac:spMkLst>
        </pc:spChg>
        <pc:spChg chg="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71" creationId="{39E8C6EB-9ED0-1F90-56F7-4F61AAA3C16B}"/>
          </ac:spMkLst>
        </pc:spChg>
        <pc:spChg chg="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72" creationId="{78900F20-4411-2D72-C140-AC56FFC18142}"/>
          </ac:spMkLst>
        </pc:spChg>
        <pc:spChg chg="mod">
          <ac:chgData name="Yi, Xiu" userId="0254ba58-9de3-4f23-8680-c5b52ee4cd83" providerId="ADAL" clId="{1081453C-4077-4981-95F8-612C68A61DA6}" dt="2023-04-15T06:48:02.585" v="3036" actId="1035"/>
          <ac:spMkLst>
            <pc:docMk/>
            <pc:sldMk cId="2879818995" sldId="2147479669"/>
            <ac:spMk id="76" creationId="{81173D5E-F8A0-DFD4-95B8-8C6C36792DAB}"/>
          </ac:spMkLst>
        </pc:spChg>
        <pc:spChg chg="del mod topLvl">
          <ac:chgData name="Yi, Xiu" userId="0254ba58-9de3-4f23-8680-c5b52ee4cd83" providerId="ADAL" clId="{1081453C-4077-4981-95F8-612C68A61DA6}" dt="2023-04-15T06:40:32.526" v="2810" actId="478"/>
          <ac:spMkLst>
            <pc:docMk/>
            <pc:sldMk cId="2879818995" sldId="2147479669"/>
            <ac:spMk id="78" creationId="{B7F378ED-DC22-CDAD-E359-7B2AD5C7AB25}"/>
          </ac:spMkLst>
        </pc:spChg>
        <pc:spChg chg="mod topLvl">
          <ac:chgData name="Yi, Xiu" userId="0254ba58-9de3-4f23-8680-c5b52ee4cd83" providerId="ADAL" clId="{1081453C-4077-4981-95F8-612C68A61DA6}" dt="2023-04-15T06:48:02.585" v="3036" actId="1035"/>
          <ac:spMkLst>
            <pc:docMk/>
            <pc:sldMk cId="2879818995" sldId="2147479669"/>
            <ac:spMk id="79" creationId="{3F0B43DB-3BA2-2AE4-1446-037CCDC4A041}"/>
          </ac:spMkLst>
        </pc:spChg>
        <pc:spChg chg="del mod topLvl">
          <ac:chgData name="Yi, Xiu" userId="0254ba58-9de3-4f23-8680-c5b52ee4cd83" providerId="ADAL" clId="{1081453C-4077-4981-95F8-612C68A61DA6}" dt="2023-04-15T06:40:33.970" v="2811" actId="478"/>
          <ac:spMkLst>
            <pc:docMk/>
            <pc:sldMk cId="2879818995" sldId="2147479669"/>
            <ac:spMk id="80" creationId="{4EB17844-2081-1215-FAE5-72EE2C26121E}"/>
          </ac:spMkLst>
        </pc:spChg>
        <pc:spChg chg="mod topLvl">
          <ac:chgData name="Yi, Xiu" userId="0254ba58-9de3-4f23-8680-c5b52ee4cd83" providerId="ADAL" clId="{1081453C-4077-4981-95F8-612C68A61DA6}" dt="2023-04-15T06:48:02.585" v="3036" actId="1035"/>
          <ac:spMkLst>
            <pc:docMk/>
            <pc:sldMk cId="2879818995" sldId="2147479669"/>
            <ac:spMk id="81" creationId="{A128E26B-8C17-BF47-05F8-BAF08D4725FC}"/>
          </ac:spMkLst>
        </pc:spChg>
        <pc:spChg chg="mod">
          <ac:chgData name="Yi, Xiu" userId="0254ba58-9de3-4f23-8680-c5b52ee4cd83" providerId="ADAL" clId="{1081453C-4077-4981-95F8-612C68A61DA6}" dt="2023-04-15T06:48:02.585" v="3036" actId="1035"/>
          <ac:spMkLst>
            <pc:docMk/>
            <pc:sldMk cId="2879818995" sldId="2147479669"/>
            <ac:spMk id="102" creationId="{0B794F86-E8D4-00A8-E2C9-5F8E617EF004}"/>
          </ac:spMkLst>
        </pc:spChg>
        <pc:spChg chg="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111" creationId="{FEB0C531-8366-A9E4-2F94-B41F2D832552}"/>
          </ac:spMkLst>
        </pc:spChg>
        <pc:spChg chg="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127" creationId="{CB5D6E97-0058-310F-F5D9-9354F5E1E611}"/>
          </ac:spMkLst>
        </pc:spChg>
        <pc:spChg chg="mod">
          <ac:chgData name="Yi, Xiu" userId="0254ba58-9de3-4f23-8680-c5b52ee4cd83" providerId="ADAL" clId="{1081453C-4077-4981-95F8-612C68A61DA6}" dt="2023-04-11T03:30:15.767" v="1452" actId="1036"/>
          <ac:spMkLst>
            <pc:docMk/>
            <pc:sldMk cId="2879818995" sldId="2147479669"/>
            <ac:spMk id="141" creationId="{2920B1C1-850C-6A14-DBDD-97EFE8F2F00D}"/>
          </ac:spMkLst>
        </pc:spChg>
        <pc:spChg chg="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150" creationId="{727750AC-5030-AF63-ABD6-A84BFF894C02}"/>
          </ac:spMkLst>
        </pc:spChg>
        <pc:spChg chg="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152" creationId="{48710A27-6718-E1DA-D098-FD4C31B43D1E}"/>
          </ac:spMkLst>
        </pc:spChg>
        <pc:spChg chg="del">
          <ac:chgData name="Yi, Xiu" userId="0254ba58-9de3-4f23-8680-c5b52ee4cd83" providerId="ADAL" clId="{1081453C-4077-4981-95F8-612C68A61DA6}" dt="2023-04-10T07:01:17.265" v="353" actId="478"/>
          <ac:spMkLst>
            <pc:docMk/>
            <pc:sldMk cId="2879818995" sldId="2147479669"/>
            <ac:spMk id="154" creationId="{03E28B9B-56FD-0200-991F-CCA46B55AF81}"/>
          </ac:spMkLst>
        </pc:spChg>
        <pc:spChg chg="mod">
          <ac:chgData name="Yi, Xiu" userId="0254ba58-9de3-4f23-8680-c5b52ee4cd83" providerId="ADAL" clId="{1081453C-4077-4981-95F8-612C68A61DA6}" dt="2023-04-11T03:30:15.767" v="1452" actId="1036"/>
          <ac:spMkLst>
            <pc:docMk/>
            <pc:sldMk cId="2879818995" sldId="2147479669"/>
            <ac:spMk id="155" creationId="{AB3E17FE-2BEF-56F8-340D-F06A2D12C1E1}"/>
          </ac:spMkLst>
        </pc:spChg>
        <pc:spChg chg="mod">
          <ac:chgData name="Yi, Xiu" userId="0254ba58-9de3-4f23-8680-c5b52ee4cd83" providerId="ADAL" clId="{1081453C-4077-4981-95F8-612C68A61DA6}" dt="2023-04-11T03:30:51.366" v="1489" actId="1036"/>
          <ac:spMkLst>
            <pc:docMk/>
            <pc:sldMk cId="2879818995" sldId="2147479669"/>
            <ac:spMk id="156" creationId="{06241092-88D4-E6AE-8533-E36BC80F030A}"/>
          </ac:spMkLst>
        </pc:spChg>
        <pc:spChg chg="mod">
          <ac:chgData name="Yi, Xiu" userId="0254ba58-9de3-4f23-8680-c5b52ee4cd83" providerId="ADAL" clId="{1081453C-4077-4981-95F8-612C68A61DA6}" dt="2023-04-11T03:30:51.366" v="1489" actId="1036"/>
          <ac:spMkLst>
            <pc:docMk/>
            <pc:sldMk cId="2879818995" sldId="2147479669"/>
            <ac:spMk id="157" creationId="{2001A8B5-AB32-261C-27D4-1636A013F110}"/>
          </ac:spMkLst>
        </pc:spChg>
        <pc:spChg chg="mod">
          <ac:chgData name="Yi, Xiu" userId="0254ba58-9de3-4f23-8680-c5b52ee4cd83" providerId="ADAL" clId="{1081453C-4077-4981-95F8-612C68A61DA6}" dt="2023-04-11T10:36:26.051" v="1823" actId="948"/>
          <ac:spMkLst>
            <pc:docMk/>
            <pc:sldMk cId="2879818995" sldId="2147479669"/>
            <ac:spMk id="159" creationId="{0CC6C9CF-E734-B2BE-5F05-1D03CC74C94B}"/>
          </ac:spMkLst>
        </pc:spChg>
        <pc:spChg chg="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165" creationId="{175FE143-651E-FE06-D5B4-2C531B28FF5A}"/>
          </ac:spMkLst>
        </pc:spChg>
        <pc:spChg chg="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167" creationId="{69887E60-BE34-4E1F-32E6-91FED55C07D3}"/>
          </ac:spMkLst>
        </pc:spChg>
        <pc:spChg chg="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168" creationId="{DC6E7CFC-0B30-68AD-0EC3-7C63F706266C}"/>
          </ac:spMkLst>
        </pc:spChg>
        <pc:spChg chg="mod">
          <ac:chgData name="Yi, Xiu" userId="0254ba58-9de3-4f23-8680-c5b52ee4cd83" providerId="ADAL" clId="{1081453C-4077-4981-95F8-612C68A61DA6}" dt="2023-04-15T06:49:06.646" v="3071" actId="1037"/>
          <ac:spMkLst>
            <pc:docMk/>
            <pc:sldMk cId="2879818995" sldId="2147479669"/>
            <ac:spMk id="178" creationId="{A3CC71D8-89A6-6DF2-546B-99E32249A14D}"/>
          </ac:spMkLst>
        </pc:spChg>
        <pc:spChg chg="mod">
          <ac:chgData name="Yi, Xiu" userId="0254ba58-9de3-4f23-8680-c5b52ee4cd83" providerId="ADAL" clId="{1081453C-4077-4981-95F8-612C68A61DA6}" dt="2023-04-15T07:00:41.885" v="3372" actId="12789"/>
          <ac:spMkLst>
            <pc:docMk/>
            <pc:sldMk cId="2879818995" sldId="2147479669"/>
            <ac:spMk id="183" creationId="{A4DC9235-B89B-9A12-F0FA-9A70BE03B361}"/>
          </ac:spMkLst>
        </pc:spChg>
        <pc:spChg chg="mod">
          <ac:chgData name="Yi, Xiu" userId="0254ba58-9de3-4f23-8680-c5b52ee4cd83" providerId="ADAL" clId="{1081453C-4077-4981-95F8-612C68A61DA6}" dt="2023-04-11T10:34:14.962" v="1791" actId="12789"/>
          <ac:spMkLst>
            <pc:docMk/>
            <pc:sldMk cId="2879818995" sldId="2147479669"/>
            <ac:spMk id="184" creationId="{3AE733C2-B542-EE4E-65D7-F9F25AE7E356}"/>
          </ac:spMkLst>
        </pc:spChg>
        <pc:spChg chg="mod">
          <ac:chgData name="Yi, Xiu" userId="0254ba58-9de3-4f23-8680-c5b52ee4cd83" providerId="ADAL" clId="{1081453C-4077-4981-95F8-612C68A61DA6}" dt="2023-04-15T06:48:02.585" v="3036" actId="1035"/>
          <ac:spMkLst>
            <pc:docMk/>
            <pc:sldMk cId="2879818995" sldId="2147479669"/>
            <ac:spMk id="196" creationId="{F737C82A-6539-3822-B58E-045179656EF5}"/>
          </ac:spMkLst>
        </pc:spChg>
        <pc:spChg chg="mod">
          <ac:chgData name="Yi, Xiu" userId="0254ba58-9de3-4f23-8680-c5b52ee4cd83" providerId="ADAL" clId="{1081453C-4077-4981-95F8-612C68A61DA6}" dt="2023-04-11T10:36:10.416" v="1820" actId="948"/>
          <ac:spMkLst>
            <pc:docMk/>
            <pc:sldMk cId="2879818995" sldId="2147479669"/>
            <ac:spMk id="205" creationId="{0E81DDB7-DAAE-D1A1-3715-115244617B61}"/>
          </ac:spMkLst>
        </pc:spChg>
        <pc:spChg chg="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220" creationId="{F586B476-B4C2-C12F-ECE9-9C9E862D4B56}"/>
          </ac:spMkLst>
        </pc:spChg>
        <pc:spChg chg="mod">
          <ac:chgData name="Yi, Xiu" userId="0254ba58-9de3-4f23-8680-c5b52ee4cd83" providerId="ADAL" clId="{1081453C-4077-4981-95F8-612C68A61DA6}" dt="2023-04-10T06:41:59.751" v="209" actId="20577"/>
          <ac:spMkLst>
            <pc:docMk/>
            <pc:sldMk cId="2879818995" sldId="2147479669"/>
            <ac:spMk id="229" creationId="{A651692B-22D9-E782-C0FA-78024A136530}"/>
          </ac:spMkLst>
        </pc:spChg>
        <pc:spChg chg="mod">
          <ac:chgData name="Yi, Xiu" userId="0254ba58-9de3-4f23-8680-c5b52ee4cd83" providerId="ADAL" clId="{1081453C-4077-4981-95F8-612C68A61DA6}" dt="2023-04-15T06:47:37.128" v="3007" actId="1036"/>
          <ac:spMkLst>
            <pc:docMk/>
            <pc:sldMk cId="2879818995" sldId="2147479669"/>
            <ac:spMk id="276" creationId="{E98AE47F-F637-085E-512E-B972CD170F1A}"/>
          </ac:spMkLst>
        </pc:spChg>
        <pc:spChg chg="mod">
          <ac:chgData name="Yi, Xiu" userId="0254ba58-9de3-4f23-8680-c5b52ee4cd83" providerId="ADAL" clId="{1081453C-4077-4981-95F8-612C68A61DA6}" dt="2023-04-15T06:48:02.585" v="3036" actId="1035"/>
          <ac:spMkLst>
            <pc:docMk/>
            <pc:sldMk cId="2879818995" sldId="2147479669"/>
            <ac:spMk id="283" creationId="{26D281FC-FC33-BCDD-8743-5CC32398E24D}"/>
          </ac:spMkLst>
        </pc:spChg>
        <pc:grpChg chg="add del mod">
          <ac:chgData name="Yi, Xiu" userId="0254ba58-9de3-4f23-8680-c5b52ee4cd83" providerId="ADAL" clId="{1081453C-4077-4981-95F8-612C68A61DA6}" dt="2023-04-15T06:46:46.578" v="2968" actId="478"/>
          <ac:grpSpMkLst>
            <pc:docMk/>
            <pc:sldMk cId="2879818995" sldId="2147479669"/>
            <ac:grpSpMk id="13" creationId="{F14C1140-DC42-D602-09BC-18BFBE190DA7}"/>
          </ac:grpSpMkLst>
        </pc:grpChg>
        <pc:grpChg chg="mod">
          <ac:chgData name="Yi, Xiu" userId="0254ba58-9de3-4f23-8680-c5b52ee4cd83" providerId="ADAL" clId="{1081453C-4077-4981-95F8-612C68A61DA6}" dt="2023-04-15T06:49:58.753" v="3105" actId="14100"/>
          <ac:grpSpMkLst>
            <pc:docMk/>
            <pc:sldMk cId="2879818995" sldId="2147479669"/>
            <ac:grpSpMk id="73" creationId="{083B3D6B-C374-F79C-BE1B-E2A81807DDCF}"/>
          </ac:grpSpMkLst>
        </pc:grpChg>
        <pc:grpChg chg="mod">
          <ac:chgData name="Yi, Xiu" userId="0254ba58-9de3-4f23-8680-c5b52ee4cd83" providerId="ADAL" clId="{1081453C-4077-4981-95F8-612C68A61DA6}" dt="2023-04-15T06:47:37.128" v="3007" actId="1036"/>
          <ac:grpSpMkLst>
            <pc:docMk/>
            <pc:sldMk cId="2879818995" sldId="2147479669"/>
            <ac:grpSpMk id="75" creationId="{E88E734F-63A4-07A6-84D0-0494FC1531D2}"/>
          </ac:grpSpMkLst>
        </pc:grpChg>
        <pc:grpChg chg="mod">
          <ac:chgData name="Yi, Xiu" userId="0254ba58-9de3-4f23-8680-c5b52ee4cd83" providerId="ADAL" clId="{1081453C-4077-4981-95F8-612C68A61DA6}" dt="2023-04-15T06:47:37.128" v="3007" actId="1036"/>
          <ac:grpSpMkLst>
            <pc:docMk/>
            <pc:sldMk cId="2879818995" sldId="2147479669"/>
            <ac:grpSpMk id="77" creationId="{9F7DE1E5-DE75-02E8-0FC8-A952EF02B333}"/>
          </ac:grpSpMkLst>
        </pc:grpChg>
        <pc:grpChg chg="del mod">
          <ac:chgData name="Yi, Xiu" userId="0254ba58-9de3-4f23-8680-c5b52ee4cd83" providerId="ADAL" clId="{1081453C-4077-4981-95F8-612C68A61DA6}" dt="2023-04-15T06:37:50.241" v="2762" actId="165"/>
          <ac:grpSpMkLst>
            <pc:docMk/>
            <pc:sldMk cId="2879818995" sldId="2147479669"/>
            <ac:grpSpMk id="82" creationId="{7DD052BE-42F2-CD5B-CF31-7370C89BE217}"/>
          </ac:grpSpMkLst>
        </pc:grpChg>
        <pc:cxnChg chg="mod">
          <ac:chgData name="Yi, Xiu" userId="0254ba58-9de3-4f23-8680-c5b52ee4cd83" providerId="ADAL" clId="{1081453C-4077-4981-95F8-612C68A61DA6}" dt="2023-04-11T10:32:38.386" v="1684" actId="12789"/>
          <ac:cxnSpMkLst>
            <pc:docMk/>
            <pc:sldMk cId="2879818995" sldId="2147479669"/>
            <ac:cxnSpMk id="5" creationId="{CA92F1C3-CEF7-6203-88E8-CCBC76D36248}"/>
          </ac:cxnSpMkLst>
        </pc:cxnChg>
        <pc:cxnChg chg="mod">
          <ac:chgData name="Yi, Xiu" userId="0254ba58-9de3-4f23-8680-c5b52ee4cd83" providerId="ADAL" clId="{1081453C-4077-4981-95F8-612C68A61DA6}" dt="2023-04-15T06:48:02.585" v="3036" actId="1035"/>
          <ac:cxnSpMkLst>
            <pc:docMk/>
            <pc:sldMk cId="2879818995" sldId="2147479669"/>
            <ac:cxnSpMk id="7" creationId="{2F3735DB-AF78-8FF9-9B05-B839D3089004}"/>
          </ac:cxnSpMkLst>
        </pc:cxnChg>
        <pc:cxnChg chg="mod">
          <ac:chgData name="Yi, Xiu" userId="0254ba58-9de3-4f23-8680-c5b52ee4cd83" providerId="ADAL" clId="{1081453C-4077-4981-95F8-612C68A61DA6}" dt="2023-04-15T06:48:02.585" v="3036" actId="1035"/>
          <ac:cxnSpMkLst>
            <pc:docMk/>
            <pc:sldMk cId="2879818995" sldId="2147479669"/>
            <ac:cxnSpMk id="20" creationId="{0292C364-8F17-CFC4-AB29-8DCE1C8ACA6C}"/>
          </ac:cxnSpMkLst>
        </pc:cxnChg>
        <pc:cxnChg chg="add mod">
          <ac:chgData name="Yi, Xiu" userId="0254ba58-9de3-4f23-8680-c5b52ee4cd83" providerId="ADAL" clId="{1081453C-4077-4981-95F8-612C68A61DA6}" dt="2023-04-15T06:48:02.585" v="3036" actId="1035"/>
          <ac:cxnSpMkLst>
            <pc:docMk/>
            <pc:sldMk cId="2879818995" sldId="2147479669"/>
            <ac:cxnSpMk id="28" creationId="{BB998776-CC61-B957-4262-1421E8B9C6CF}"/>
          </ac:cxnSpMkLst>
        </pc:cxnChg>
        <pc:cxnChg chg="add mod">
          <ac:chgData name="Yi, Xiu" userId="0254ba58-9de3-4f23-8680-c5b52ee4cd83" providerId="ADAL" clId="{1081453C-4077-4981-95F8-612C68A61DA6}" dt="2023-04-15T06:48:02.585" v="3036" actId="1035"/>
          <ac:cxnSpMkLst>
            <pc:docMk/>
            <pc:sldMk cId="2879818995" sldId="2147479669"/>
            <ac:cxnSpMk id="36" creationId="{F7F2B5A7-B3EE-C816-9738-6DC5DA0C184E}"/>
          </ac:cxnSpMkLst>
        </pc:cxnChg>
        <pc:cxnChg chg="mod">
          <ac:chgData name="Yi, Xiu" userId="0254ba58-9de3-4f23-8680-c5b52ee4cd83" providerId="ADAL" clId="{1081453C-4077-4981-95F8-612C68A61DA6}" dt="2023-04-15T06:48:02.585" v="3036" actId="1035"/>
          <ac:cxnSpMkLst>
            <pc:docMk/>
            <pc:sldMk cId="2879818995" sldId="2147479669"/>
            <ac:cxnSpMk id="41" creationId="{3C518EFE-6809-9F74-3CF0-2DBEB2AB87A1}"/>
          </ac:cxnSpMkLst>
        </pc:cxnChg>
        <pc:cxnChg chg="mod">
          <ac:chgData name="Yi, Xiu" userId="0254ba58-9de3-4f23-8680-c5b52ee4cd83" providerId="ADAL" clId="{1081453C-4077-4981-95F8-612C68A61DA6}" dt="2023-04-15T06:47:37.128" v="3007" actId="1036"/>
          <ac:cxnSpMkLst>
            <pc:docMk/>
            <pc:sldMk cId="2879818995" sldId="2147479669"/>
            <ac:cxnSpMk id="42" creationId="{8C65CD46-D7D9-C502-BAE1-6D8E82901E32}"/>
          </ac:cxnSpMkLst>
        </pc:cxnChg>
        <pc:cxnChg chg="mod">
          <ac:chgData name="Yi, Xiu" userId="0254ba58-9de3-4f23-8680-c5b52ee4cd83" providerId="ADAL" clId="{1081453C-4077-4981-95F8-612C68A61DA6}" dt="2023-04-15T06:47:37.128" v="3007" actId="1036"/>
          <ac:cxnSpMkLst>
            <pc:docMk/>
            <pc:sldMk cId="2879818995" sldId="2147479669"/>
            <ac:cxnSpMk id="44" creationId="{C49DC415-85A1-C313-B8CB-67451585280A}"/>
          </ac:cxnSpMkLst>
        </pc:cxnChg>
        <pc:cxnChg chg="add mod">
          <ac:chgData name="Yi, Xiu" userId="0254ba58-9de3-4f23-8680-c5b52ee4cd83" providerId="ADAL" clId="{1081453C-4077-4981-95F8-612C68A61DA6}" dt="2023-04-15T06:48:02.585" v="3036" actId="1035"/>
          <ac:cxnSpMkLst>
            <pc:docMk/>
            <pc:sldMk cId="2879818995" sldId="2147479669"/>
            <ac:cxnSpMk id="48" creationId="{1D8C5952-E21D-25B2-5A12-2AD0D9F960F3}"/>
          </ac:cxnSpMkLst>
        </pc:cxnChg>
        <pc:cxnChg chg="mod">
          <ac:chgData name="Yi, Xiu" userId="0254ba58-9de3-4f23-8680-c5b52ee4cd83" providerId="ADAL" clId="{1081453C-4077-4981-95F8-612C68A61DA6}" dt="2023-04-15T06:47:37.128" v="3007" actId="1036"/>
          <ac:cxnSpMkLst>
            <pc:docMk/>
            <pc:sldMk cId="2879818995" sldId="2147479669"/>
            <ac:cxnSpMk id="50" creationId="{EE303A0F-6DD9-7D90-F6C3-BCFB26E5D309}"/>
          </ac:cxnSpMkLst>
        </pc:cxnChg>
        <pc:cxnChg chg="mod">
          <ac:chgData name="Yi, Xiu" userId="0254ba58-9de3-4f23-8680-c5b52ee4cd83" providerId="ADAL" clId="{1081453C-4077-4981-95F8-612C68A61DA6}" dt="2023-04-15T06:49:09.523" v="3072" actId="14100"/>
          <ac:cxnSpMkLst>
            <pc:docMk/>
            <pc:sldMk cId="2879818995" sldId="2147479669"/>
            <ac:cxnSpMk id="57" creationId="{85B07F54-7C6D-DF31-9D14-AD6DEB794AA1}"/>
          </ac:cxnSpMkLst>
        </pc:cxnChg>
        <pc:cxnChg chg="mod">
          <ac:chgData name="Yi, Xiu" userId="0254ba58-9de3-4f23-8680-c5b52ee4cd83" providerId="ADAL" clId="{1081453C-4077-4981-95F8-612C68A61DA6}" dt="2023-04-15T06:49:17.011" v="3078" actId="14100"/>
          <ac:cxnSpMkLst>
            <pc:docMk/>
            <pc:sldMk cId="2879818995" sldId="2147479669"/>
            <ac:cxnSpMk id="60" creationId="{79B4DC59-233B-E751-4238-64AA3958FAEE}"/>
          </ac:cxnSpMkLst>
        </pc:cxnChg>
        <pc:cxnChg chg="mod">
          <ac:chgData name="Yi, Xiu" userId="0254ba58-9de3-4f23-8680-c5b52ee4cd83" providerId="ADAL" clId="{1081453C-4077-4981-95F8-612C68A61DA6}" dt="2023-04-15T06:48:02.585" v="3036" actId="1035"/>
          <ac:cxnSpMkLst>
            <pc:docMk/>
            <pc:sldMk cId="2879818995" sldId="2147479669"/>
            <ac:cxnSpMk id="62" creationId="{798D4F0B-BB75-C590-30A3-CB615FB7641D}"/>
          </ac:cxnSpMkLst>
        </pc:cxnChg>
        <pc:cxnChg chg="add mod">
          <ac:chgData name="Yi, Xiu" userId="0254ba58-9de3-4f23-8680-c5b52ee4cd83" providerId="ADAL" clId="{1081453C-4077-4981-95F8-612C68A61DA6}" dt="2023-04-15T06:48:02.585" v="3036" actId="1035"/>
          <ac:cxnSpMkLst>
            <pc:docMk/>
            <pc:sldMk cId="2879818995" sldId="2147479669"/>
            <ac:cxnSpMk id="63" creationId="{83C2B0E1-703A-945F-449C-CE9CD25DBA87}"/>
          </ac:cxnSpMkLst>
        </pc:cxnChg>
        <pc:cxnChg chg="mod">
          <ac:chgData name="Yi, Xiu" userId="0254ba58-9de3-4f23-8680-c5b52ee4cd83" providerId="ADAL" clId="{1081453C-4077-4981-95F8-612C68A61DA6}" dt="2023-04-15T06:48:02.585" v="3036" actId="1035"/>
          <ac:cxnSpMkLst>
            <pc:docMk/>
            <pc:sldMk cId="2879818995" sldId="2147479669"/>
            <ac:cxnSpMk id="64" creationId="{E66DFD6E-9433-592A-D2C4-CF01C4043068}"/>
          </ac:cxnSpMkLst>
        </pc:cxnChg>
        <pc:cxnChg chg="mod">
          <ac:chgData name="Yi, Xiu" userId="0254ba58-9de3-4f23-8680-c5b52ee4cd83" providerId="ADAL" clId="{1081453C-4077-4981-95F8-612C68A61DA6}" dt="2023-04-15T06:48:02.585" v="3036" actId="1035"/>
          <ac:cxnSpMkLst>
            <pc:docMk/>
            <pc:sldMk cId="2879818995" sldId="2147479669"/>
            <ac:cxnSpMk id="69" creationId="{8B5465C6-F7EE-5323-C36F-64826B106510}"/>
          </ac:cxnSpMkLst>
        </pc:cxnChg>
        <pc:cxnChg chg="del">
          <ac:chgData name="Yi, Xiu" userId="0254ba58-9de3-4f23-8680-c5b52ee4cd83" providerId="ADAL" clId="{1081453C-4077-4981-95F8-612C68A61DA6}" dt="2023-04-15T06:43:04.869" v="2891" actId="478"/>
          <ac:cxnSpMkLst>
            <pc:docMk/>
            <pc:sldMk cId="2879818995" sldId="2147479669"/>
            <ac:cxnSpMk id="84" creationId="{30AB3503-FA47-38D3-6F99-D6926E0224E3}"/>
          </ac:cxnSpMkLst>
        </pc:cxnChg>
        <pc:cxnChg chg="mod">
          <ac:chgData name="Yi, Xiu" userId="0254ba58-9de3-4f23-8680-c5b52ee4cd83" providerId="ADAL" clId="{1081453C-4077-4981-95F8-612C68A61DA6}" dt="2023-04-15T06:48:02.585" v="3036" actId="1035"/>
          <ac:cxnSpMkLst>
            <pc:docMk/>
            <pc:sldMk cId="2879818995" sldId="2147479669"/>
            <ac:cxnSpMk id="119" creationId="{9F0631AE-B6ED-E207-111B-6264437E9E5D}"/>
          </ac:cxnSpMkLst>
        </pc:cxnChg>
        <pc:cxnChg chg="mod">
          <ac:chgData name="Yi, Xiu" userId="0254ba58-9de3-4f23-8680-c5b52ee4cd83" providerId="ADAL" clId="{1081453C-4077-4981-95F8-612C68A61DA6}" dt="2023-04-15T06:48:20.071" v="3038" actId="14100"/>
          <ac:cxnSpMkLst>
            <pc:docMk/>
            <pc:sldMk cId="2879818995" sldId="2147479669"/>
            <ac:cxnSpMk id="130" creationId="{0734A630-35AF-EB28-358C-55C924C61BCF}"/>
          </ac:cxnSpMkLst>
        </pc:cxnChg>
        <pc:cxnChg chg="mod">
          <ac:chgData name="Yi, Xiu" userId="0254ba58-9de3-4f23-8680-c5b52ee4cd83" providerId="ADAL" clId="{1081453C-4077-4981-95F8-612C68A61DA6}" dt="2023-04-15T07:00:41.885" v="3372" actId="12789"/>
          <ac:cxnSpMkLst>
            <pc:docMk/>
            <pc:sldMk cId="2879818995" sldId="2147479669"/>
            <ac:cxnSpMk id="190" creationId="{3048E77B-D96D-AB3A-0DB2-A49A570E59DF}"/>
          </ac:cxnSpMkLst>
        </pc:cxnChg>
        <pc:cxnChg chg="mod">
          <ac:chgData name="Yi, Xiu" userId="0254ba58-9de3-4f23-8680-c5b52ee4cd83" providerId="ADAL" clId="{1081453C-4077-4981-95F8-612C68A61DA6}" dt="2023-04-11T10:34:14.962" v="1791" actId="12789"/>
          <ac:cxnSpMkLst>
            <pc:docMk/>
            <pc:sldMk cId="2879818995" sldId="2147479669"/>
            <ac:cxnSpMk id="192" creationId="{0442688F-1DB8-EE61-9A07-075168131287}"/>
          </ac:cxnSpMkLst>
        </pc:cxnChg>
        <pc:cxnChg chg="mod">
          <ac:chgData name="Yi, Xiu" userId="0254ba58-9de3-4f23-8680-c5b52ee4cd83" providerId="ADAL" clId="{1081453C-4077-4981-95F8-612C68A61DA6}" dt="2023-04-15T06:48:02.585" v="3036" actId="1035"/>
          <ac:cxnSpMkLst>
            <pc:docMk/>
            <pc:sldMk cId="2879818995" sldId="2147479669"/>
            <ac:cxnSpMk id="239" creationId="{72419ECF-F522-BA65-4CFF-15C6CEE648E1}"/>
          </ac:cxnSpMkLst>
        </pc:cxnChg>
      </pc:sldChg>
      <pc:sldChg chg="add del">
        <pc:chgData name="Yi, Xiu" userId="0254ba58-9de3-4f23-8680-c5b52ee4cd83" providerId="ADAL" clId="{1081453C-4077-4981-95F8-612C68A61DA6}" dt="2023-04-09T15:13:52.002" v="120"/>
        <pc:sldMkLst>
          <pc:docMk/>
          <pc:sldMk cId="4026792359" sldId="2147479669"/>
        </pc:sldMkLst>
      </pc:sldChg>
      <pc:sldChg chg="add mod modShow">
        <pc:chgData name="Yi, Xiu" userId="0254ba58-9de3-4f23-8680-c5b52ee4cd83" providerId="ADAL" clId="{1081453C-4077-4981-95F8-612C68A61DA6}" dt="2023-04-15T06:38:31.073" v="2768" actId="729"/>
        <pc:sldMkLst>
          <pc:docMk/>
          <pc:sldMk cId="50369006" sldId="2147479689"/>
        </pc:sldMkLst>
      </pc:sldChg>
      <pc:sldChg chg="add del">
        <pc:chgData name="Yi, Xiu" userId="0254ba58-9de3-4f23-8680-c5b52ee4cd83" providerId="ADAL" clId="{1081453C-4077-4981-95F8-612C68A61DA6}" dt="2023-04-15T06:38:26.913" v="2766"/>
        <pc:sldMkLst>
          <pc:docMk/>
          <pc:sldMk cId="1426336936" sldId="2147479689"/>
        </pc:sldMkLst>
      </pc:sldChg>
      <pc:sldChg chg="add">
        <pc:chgData name="Yi, Xiu" userId="0254ba58-9de3-4f23-8680-c5b52ee4cd83" providerId="ADAL" clId="{1081453C-4077-4981-95F8-612C68A61DA6}" dt="2023-04-15T07:03:57.743" v="3373"/>
        <pc:sldMkLst>
          <pc:docMk/>
          <pc:sldMk cId="270236991" sldId="2147479722"/>
        </pc:sldMkLst>
      </pc:sldChg>
      <pc:sldChg chg="addSp delSp modSp mod">
        <pc:chgData name="Yi, Xiu" userId="0254ba58-9de3-4f23-8680-c5b52ee4cd83" providerId="ADAL" clId="{1081453C-4077-4981-95F8-612C68A61DA6}" dt="2023-04-27T09:21:54.875" v="3665" actId="207"/>
        <pc:sldMkLst>
          <pc:docMk/>
          <pc:sldMk cId="824622274" sldId="2147479733"/>
        </pc:sldMkLst>
        <pc:spChg chg="mod">
          <ac:chgData name="Yi, Xiu" userId="0254ba58-9de3-4f23-8680-c5b52ee4cd83" providerId="ADAL" clId="{1081453C-4077-4981-95F8-612C68A61DA6}" dt="2023-04-27T09:20:05.323" v="3661" actId="20577"/>
          <ac:spMkLst>
            <pc:docMk/>
            <pc:sldMk cId="824622274" sldId="2147479733"/>
            <ac:spMk id="4" creationId="{8FADB6F4-CC43-460D-7341-8DD3AE0765CC}"/>
          </ac:spMkLst>
        </pc:spChg>
        <pc:spChg chg="add del mod">
          <ac:chgData name="Yi, Xiu" userId="0254ba58-9de3-4f23-8680-c5b52ee4cd83" providerId="ADAL" clId="{1081453C-4077-4981-95F8-612C68A61DA6}" dt="2023-04-27T09:06:34.287" v="3624" actId="478"/>
          <ac:spMkLst>
            <pc:docMk/>
            <pc:sldMk cId="824622274" sldId="2147479733"/>
            <ac:spMk id="6" creationId="{BD1EDB60-876E-DA83-BBBF-64F8E193C78E}"/>
          </ac:spMkLst>
        </pc:spChg>
        <pc:spChg chg="mod">
          <ac:chgData name="Yi, Xiu" userId="0254ba58-9de3-4f23-8680-c5b52ee4cd83" providerId="ADAL" clId="{1081453C-4077-4981-95F8-612C68A61DA6}" dt="2023-04-27T09:21:48.413" v="3662" actId="207"/>
          <ac:spMkLst>
            <pc:docMk/>
            <pc:sldMk cId="824622274" sldId="2147479733"/>
            <ac:spMk id="10" creationId="{B9425220-CB52-E115-A7B5-A1AE2392F41C}"/>
          </ac:spMkLst>
        </pc:spChg>
        <pc:spChg chg="mod">
          <ac:chgData name="Yi, Xiu" userId="0254ba58-9de3-4f23-8680-c5b52ee4cd83" providerId="ADAL" clId="{1081453C-4077-4981-95F8-612C68A61DA6}" dt="2023-04-27T09:17:33.235" v="3652" actId="1036"/>
          <ac:spMkLst>
            <pc:docMk/>
            <pc:sldMk cId="824622274" sldId="2147479733"/>
            <ac:spMk id="76" creationId="{829A16CE-E0D2-AD81-1A39-5BCE8E0983E6}"/>
          </ac:spMkLst>
        </pc:spChg>
        <pc:spChg chg="mod">
          <ac:chgData name="Yi, Xiu" userId="0254ba58-9de3-4f23-8680-c5b52ee4cd83" providerId="ADAL" clId="{1081453C-4077-4981-95F8-612C68A61DA6}" dt="2023-04-27T09:19:16.385" v="3660"/>
          <ac:spMkLst>
            <pc:docMk/>
            <pc:sldMk cId="824622274" sldId="2147479733"/>
            <ac:spMk id="77" creationId="{B82B8215-C061-DBF3-8BBF-7674787DADA2}"/>
          </ac:spMkLst>
        </pc:spChg>
        <pc:spChg chg="mod">
          <ac:chgData name="Yi, Xiu" userId="0254ba58-9de3-4f23-8680-c5b52ee4cd83" providerId="ADAL" clId="{1081453C-4077-4981-95F8-612C68A61DA6}" dt="2023-04-27T09:17:47.317" v="3656" actId="20577"/>
          <ac:spMkLst>
            <pc:docMk/>
            <pc:sldMk cId="824622274" sldId="2147479733"/>
            <ac:spMk id="78" creationId="{98B422C9-02C3-8D22-1AD2-26CEB0050A23}"/>
          </ac:spMkLst>
        </pc:spChg>
        <pc:spChg chg="mod">
          <ac:chgData name="Yi, Xiu" userId="0254ba58-9de3-4f23-8680-c5b52ee4cd83" providerId="ADAL" clId="{1081453C-4077-4981-95F8-612C68A61DA6}" dt="2023-04-27T09:21:50.319" v="3663" actId="207"/>
          <ac:spMkLst>
            <pc:docMk/>
            <pc:sldMk cId="824622274" sldId="2147479733"/>
            <ac:spMk id="246" creationId="{915580B2-023D-6DCB-92AA-E0D4AD441A6D}"/>
          </ac:spMkLst>
        </pc:spChg>
        <pc:spChg chg="mod">
          <ac:chgData name="Yi, Xiu" userId="0254ba58-9de3-4f23-8680-c5b52ee4cd83" providerId="ADAL" clId="{1081453C-4077-4981-95F8-612C68A61DA6}" dt="2023-04-27T09:21:52.811" v="3664" actId="207"/>
          <ac:spMkLst>
            <pc:docMk/>
            <pc:sldMk cId="824622274" sldId="2147479733"/>
            <ac:spMk id="249" creationId="{AF13E56C-7022-7209-9B36-FCF694A79685}"/>
          </ac:spMkLst>
        </pc:spChg>
        <pc:spChg chg="mod">
          <ac:chgData name="Yi, Xiu" userId="0254ba58-9de3-4f23-8680-c5b52ee4cd83" providerId="ADAL" clId="{1081453C-4077-4981-95F8-612C68A61DA6}" dt="2023-04-27T09:21:54.875" v="3665" actId="207"/>
          <ac:spMkLst>
            <pc:docMk/>
            <pc:sldMk cId="824622274" sldId="2147479733"/>
            <ac:spMk id="252" creationId="{58CCF7EE-4542-B73B-F0DB-ADCAED0D7972}"/>
          </ac:spMkLst>
        </pc:spChg>
        <pc:spChg chg="mod">
          <ac:chgData name="Yi, Xiu" userId="0254ba58-9de3-4f23-8680-c5b52ee4cd83" providerId="ADAL" clId="{1081453C-4077-4981-95F8-612C68A61DA6}" dt="2023-04-27T09:01:04.705" v="3600" actId="1076"/>
          <ac:spMkLst>
            <pc:docMk/>
            <pc:sldMk cId="824622274" sldId="2147479733"/>
            <ac:spMk id="253" creationId="{5571AFA6-E038-D29D-9690-E3D87BD1A2B1}"/>
          </ac:spMkLst>
        </pc:spChg>
        <pc:grpChg chg="mod">
          <ac:chgData name="Yi, Xiu" userId="0254ba58-9de3-4f23-8680-c5b52ee4cd83" providerId="ADAL" clId="{1081453C-4077-4981-95F8-612C68A61DA6}" dt="2023-04-27T09:01:04.705" v="3600" actId="1076"/>
          <ac:grpSpMkLst>
            <pc:docMk/>
            <pc:sldMk cId="824622274" sldId="2147479733"/>
            <ac:grpSpMk id="251" creationId="{42ACBEAC-8AE7-3D91-38AC-B3C8080171D4}"/>
          </ac:grpSpMkLst>
        </pc:grpChg>
      </pc:sldChg>
    </pc:docChg>
  </pc:docChgLst>
  <pc:docChgLst>
    <pc:chgData name="Ma, Mandy Hongyang" userId="c8c44b64-cf2b-42a5-ad81-5888bcc9e90b" providerId="ADAL" clId="{8D495FD5-29CF-4F64-BB48-2633BE2EC3D9}"/>
    <pc:docChg chg="undo custSel addSld modSld sldOrd">
      <pc:chgData name="Ma, Mandy Hongyang" userId="c8c44b64-cf2b-42a5-ad81-5888bcc9e90b" providerId="ADAL" clId="{8D495FD5-29CF-4F64-BB48-2633BE2EC3D9}" dt="2023-03-29T05:54:11.689" v="4086" actId="20577"/>
      <pc:docMkLst>
        <pc:docMk/>
      </pc:docMkLst>
      <pc:sldChg chg="modSp mod">
        <pc:chgData name="Ma, Mandy Hongyang" userId="c8c44b64-cf2b-42a5-ad81-5888bcc9e90b" providerId="ADAL" clId="{8D495FD5-29CF-4F64-BB48-2633BE2EC3D9}" dt="2023-03-28T07:23:10.111" v="1802" actId="20577"/>
        <pc:sldMkLst>
          <pc:docMk/>
          <pc:sldMk cId="1401306855" sldId="2147474143"/>
        </pc:sldMkLst>
        <pc:spChg chg="mod">
          <ac:chgData name="Ma, Mandy Hongyang" userId="c8c44b64-cf2b-42a5-ad81-5888bcc9e90b" providerId="ADAL" clId="{8D495FD5-29CF-4F64-BB48-2633BE2EC3D9}" dt="2023-03-28T07:23:10.111" v="1802" actId="20577"/>
          <ac:spMkLst>
            <pc:docMk/>
            <pc:sldMk cId="1401306855" sldId="2147474143"/>
            <ac:spMk id="12" creationId="{951067CE-B99A-4F8B-939E-EB6DB153D46E}"/>
          </ac:spMkLst>
        </pc:spChg>
      </pc:sldChg>
      <pc:sldChg chg="delSp modSp mod">
        <pc:chgData name="Ma, Mandy Hongyang" userId="c8c44b64-cf2b-42a5-ad81-5888bcc9e90b" providerId="ADAL" clId="{8D495FD5-29CF-4F64-BB48-2633BE2EC3D9}" dt="2023-03-28T08:32:30.609" v="3484" actId="20577"/>
        <pc:sldMkLst>
          <pc:docMk/>
          <pc:sldMk cId="3872608267" sldId="2147479198"/>
        </pc:sldMkLst>
        <pc:spChg chg="mod">
          <ac:chgData name="Ma, Mandy Hongyang" userId="c8c44b64-cf2b-42a5-ad81-5888bcc9e90b" providerId="ADAL" clId="{8D495FD5-29CF-4F64-BB48-2633BE2EC3D9}" dt="2023-03-28T08:10:59.427" v="3390" actId="6549"/>
          <ac:spMkLst>
            <pc:docMk/>
            <pc:sldMk cId="3872608267" sldId="2147479198"/>
            <ac:spMk id="2" creationId="{7756B8F4-874A-CFB5-B37C-9B912FD9E344}"/>
          </ac:spMkLst>
        </pc:spChg>
        <pc:spChg chg="del">
          <ac:chgData name="Ma, Mandy Hongyang" userId="c8c44b64-cf2b-42a5-ad81-5888bcc9e90b" providerId="ADAL" clId="{8D495FD5-29CF-4F64-BB48-2633BE2EC3D9}" dt="2023-03-28T08:11:16.042" v="3399" actId="478"/>
          <ac:spMkLst>
            <pc:docMk/>
            <pc:sldMk cId="3872608267" sldId="2147479198"/>
            <ac:spMk id="7" creationId="{3142965B-0D4B-9FEE-6167-860A0C5A3E52}"/>
          </ac:spMkLst>
        </pc:spChg>
        <pc:spChg chg="del">
          <ac:chgData name="Ma, Mandy Hongyang" userId="c8c44b64-cf2b-42a5-ad81-5888bcc9e90b" providerId="ADAL" clId="{8D495FD5-29CF-4F64-BB48-2633BE2EC3D9}" dt="2023-03-28T08:11:16.042" v="3399" actId="478"/>
          <ac:spMkLst>
            <pc:docMk/>
            <pc:sldMk cId="3872608267" sldId="2147479198"/>
            <ac:spMk id="10" creationId="{33EC9261-A3CC-4D43-F1E6-095C18889AF0}"/>
          </ac:spMkLst>
        </pc:spChg>
        <pc:graphicFrameChg chg="del">
          <ac:chgData name="Ma, Mandy Hongyang" userId="c8c44b64-cf2b-42a5-ad81-5888bcc9e90b" providerId="ADAL" clId="{8D495FD5-29CF-4F64-BB48-2633BE2EC3D9}" dt="2023-03-28T08:11:16.042" v="3399" actId="478"/>
          <ac:graphicFrameMkLst>
            <pc:docMk/>
            <pc:sldMk cId="3872608267" sldId="2147479198"/>
            <ac:graphicFrameMk id="5" creationId="{6433BA20-C636-C455-4DFD-EBA9454D3E07}"/>
          </ac:graphicFrameMkLst>
        </pc:graphicFrameChg>
        <pc:graphicFrameChg chg="mod modGraphic">
          <ac:chgData name="Ma, Mandy Hongyang" userId="c8c44b64-cf2b-42a5-ad81-5888bcc9e90b" providerId="ADAL" clId="{8D495FD5-29CF-4F64-BB48-2633BE2EC3D9}" dt="2023-03-28T08:32:30.609" v="3484" actId="20577"/>
          <ac:graphicFrameMkLst>
            <pc:docMk/>
            <pc:sldMk cId="3872608267" sldId="2147479198"/>
            <ac:graphicFrameMk id="6" creationId="{91A767DE-3033-7506-C44C-D9D640121202}"/>
          </ac:graphicFrameMkLst>
        </pc:graphicFrameChg>
        <pc:picChg chg="del">
          <ac:chgData name="Ma, Mandy Hongyang" userId="c8c44b64-cf2b-42a5-ad81-5888bcc9e90b" providerId="ADAL" clId="{8D495FD5-29CF-4F64-BB48-2633BE2EC3D9}" dt="2023-03-28T08:11:16.042" v="3399" actId="478"/>
          <ac:picMkLst>
            <pc:docMk/>
            <pc:sldMk cId="3872608267" sldId="2147479198"/>
            <ac:picMk id="9" creationId="{0CAC94CB-4191-B9E3-8510-76171A421A96}"/>
          </ac:picMkLst>
        </pc:picChg>
        <pc:picChg chg="del">
          <ac:chgData name="Ma, Mandy Hongyang" userId="c8c44b64-cf2b-42a5-ad81-5888bcc9e90b" providerId="ADAL" clId="{8D495FD5-29CF-4F64-BB48-2633BE2EC3D9}" dt="2023-03-28T08:11:16.042" v="3399" actId="478"/>
          <ac:picMkLst>
            <pc:docMk/>
            <pc:sldMk cId="3872608267" sldId="2147479198"/>
            <ac:picMk id="12" creationId="{A0F6C641-EE6E-3CAE-A801-72444B9E560A}"/>
          </ac:picMkLst>
        </pc:picChg>
        <pc:picChg chg="del">
          <ac:chgData name="Ma, Mandy Hongyang" userId="c8c44b64-cf2b-42a5-ad81-5888bcc9e90b" providerId="ADAL" clId="{8D495FD5-29CF-4F64-BB48-2633BE2EC3D9}" dt="2023-03-28T08:11:16.042" v="3399" actId="478"/>
          <ac:picMkLst>
            <pc:docMk/>
            <pc:sldMk cId="3872608267" sldId="2147479198"/>
            <ac:picMk id="14" creationId="{7ACB0C9C-0E31-FAEA-E091-2E6093E90DD0}"/>
          </ac:picMkLst>
        </pc:picChg>
      </pc:sldChg>
      <pc:sldChg chg="modSp mod">
        <pc:chgData name="Ma, Mandy Hongyang" userId="c8c44b64-cf2b-42a5-ad81-5888bcc9e90b" providerId="ADAL" clId="{8D495FD5-29CF-4F64-BB48-2633BE2EC3D9}" dt="2023-03-28T08:31:27.831" v="3461"/>
        <pc:sldMkLst>
          <pc:docMk/>
          <pc:sldMk cId="1739901954" sldId="2147479199"/>
        </pc:sldMkLst>
        <pc:graphicFrameChg chg="mod modGraphic">
          <ac:chgData name="Ma, Mandy Hongyang" userId="c8c44b64-cf2b-42a5-ad81-5888bcc9e90b" providerId="ADAL" clId="{8D495FD5-29CF-4F64-BB48-2633BE2EC3D9}" dt="2023-03-28T08:31:27.831" v="3461"/>
          <ac:graphicFrameMkLst>
            <pc:docMk/>
            <pc:sldMk cId="1739901954" sldId="2147479199"/>
            <ac:graphicFrameMk id="5" creationId="{AC3AAA03-45B4-A976-9A3F-E8F1CDCFDCA2}"/>
          </ac:graphicFrameMkLst>
        </pc:graphicFrameChg>
      </pc:sldChg>
      <pc:sldChg chg="modSp mod">
        <pc:chgData name="Ma, Mandy Hongyang" userId="c8c44b64-cf2b-42a5-ad81-5888bcc9e90b" providerId="ADAL" clId="{8D495FD5-29CF-4F64-BB48-2633BE2EC3D9}" dt="2023-03-28T08:21:51.963" v="3456" actId="1076"/>
        <pc:sldMkLst>
          <pc:docMk/>
          <pc:sldMk cId="3201368661" sldId="2147479201"/>
        </pc:sldMkLst>
        <pc:spChg chg="mod">
          <ac:chgData name="Ma, Mandy Hongyang" userId="c8c44b64-cf2b-42a5-ad81-5888bcc9e90b" providerId="ADAL" clId="{8D495FD5-29CF-4F64-BB48-2633BE2EC3D9}" dt="2023-03-28T08:21:51.963" v="3456" actId="1076"/>
          <ac:spMkLst>
            <pc:docMk/>
            <pc:sldMk cId="3201368661" sldId="2147479201"/>
            <ac:spMk id="6" creationId="{45D886EF-11D6-4B98-BEB6-CE2B64677DDE}"/>
          </ac:spMkLst>
        </pc:spChg>
        <pc:graphicFrameChg chg="mod modGraphic">
          <ac:chgData name="Ma, Mandy Hongyang" userId="c8c44b64-cf2b-42a5-ad81-5888bcc9e90b" providerId="ADAL" clId="{8D495FD5-29CF-4F64-BB48-2633BE2EC3D9}" dt="2023-03-28T08:21:11.431" v="3455" actId="2165"/>
          <ac:graphicFrameMkLst>
            <pc:docMk/>
            <pc:sldMk cId="3201368661" sldId="2147479201"/>
            <ac:graphicFrameMk id="5" creationId="{9E296B13-D1C2-B83C-7EB6-1EB33B5ADEF8}"/>
          </ac:graphicFrameMkLst>
        </pc:graphicFrameChg>
      </pc:sldChg>
      <pc:sldChg chg="addSp modSp mod">
        <pc:chgData name="Ma, Mandy Hongyang" userId="c8c44b64-cf2b-42a5-ad81-5888bcc9e90b" providerId="ADAL" clId="{8D495FD5-29CF-4F64-BB48-2633BE2EC3D9}" dt="2023-03-28T08:46:13.159" v="4011" actId="2062"/>
        <pc:sldMkLst>
          <pc:docMk/>
          <pc:sldMk cId="3571169662" sldId="2147479203"/>
        </pc:sldMkLst>
        <pc:graphicFrameChg chg="add mod modGraphic">
          <ac:chgData name="Ma, Mandy Hongyang" userId="c8c44b64-cf2b-42a5-ad81-5888bcc9e90b" providerId="ADAL" clId="{8D495FD5-29CF-4F64-BB48-2633BE2EC3D9}" dt="2023-03-28T08:46:13.159" v="4011" actId="2062"/>
          <ac:graphicFrameMkLst>
            <pc:docMk/>
            <pc:sldMk cId="3571169662" sldId="2147479203"/>
            <ac:graphicFrameMk id="5" creationId="{FBF633E6-F862-5356-F815-4E02409EE8CD}"/>
          </ac:graphicFrameMkLst>
        </pc:graphicFrameChg>
      </pc:sldChg>
      <pc:sldChg chg="delSp modSp mod">
        <pc:chgData name="Ma, Mandy Hongyang" userId="c8c44b64-cf2b-42a5-ad81-5888bcc9e90b" providerId="ADAL" clId="{8D495FD5-29CF-4F64-BB48-2633BE2EC3D9}" dt="2023-03-28T09:51:15.849" v="4070" actId="20577"/>
        <pc:sldMkLst>
          <pc:docMk/>
          <pc:sldMk cId="1202851494" sldId="2147479522"/>
        </pc:sldMkLst>
        <pc:spChg chg="mod">
          <ac:chgData name="Ma, Mandy Hongyang" userId="c8c44b64-cf2b-42a5-ad81-5888bcc9e90b" providerId="ADAL" clId="{8D495FD5-29CF-4F64-BB48-2633BE2EC3D9}" dt="2023-03-28T09:51:04.135" v="4048" actId="14100"/>
          <ac:spMkLst>
            <pc:docMk/>
            <pc:sldMk cId="1202851494" sldId="2147479522"/>
            <ac:spMk id="68" creationId="{ED5CFCDB-1815-8C6E-E97A-6F6161EAC89F}"/>
          </ac:spMkLst>
        </pc:spChg>
        <pc:spChg chg="del mod">
          <ac:chgData name="Ma, Mandy Hongyang" userId="c8c44b64-cf2b-42a5-ad81-5888bcc9e90b" providerId="ADAL" clId="{8D495FD5-29CF-4F64-BB48-2633BE2EC3D9}" dt="2023-03-28T09:50:35.111" v="4013" actId="478"/>
          <ac:spMkLst>
            <pc:docMk/>
            <pc:sldMk cId="1202851494" sldId="2147479522"/>
            <ac:spMk id="69" creationId="{105B8E3D-5802-772D-F31A-1B34C1E65489}"/>
          </ac:spMkLst>
        </pc:spChg>
        <pc:spChg chg="del mod">
          <ac:chgData name="Ma, Mandy Hongyang" userId="c8c44b64-cf2b-42a5-ad81-5888bcc9e90b" providerId="ADAL" clId="{8D495FD5-29CF-4F64-BB48-2633BE2EC3D9}" dt="2023-03-28T09:50:35.111" v="4013" actId="478"/>
          <ac:spMkLst>
            <pc:docMk/>
            <pc:sldMk cId="1202851494" sldId="2147479522"/>
            <ac:spMk id="70" creationId="{1488CD80-6FC3-52A6-2FCC-92678242E685}"/>
          </ac:spMkLst>
        </pc:spChg>
        <pc:spChg chg="del mod">
          <ac:chgData name="Ma, Mandy Hongyang" userId="c8c44b64-cf2b-42a5-ad81-5888bcc9e90b" providerId="ADAL" clId="{8D495FD5-29CF-4F64-BB48-2633BE2EC3D9}" dt="2023-03-28T09:50:35.111" v="4013" actId="478"/>
          <ac:spMkLst>
            <pc:docMk/>
            <pc:sldMk cId="1202851494" sldId="2147479522"/>
            <ac:spMk id="71" creationId="{13E21B33-58A2-06AC-B0F6-7BCCB2BC514F}"/>
          </ac:spMkLst>
        </pc:spChg>
        <pc:spChg chg="del mod">
          <ac:chgData name="Ma, Mandy Hongyang" userId="c8c44b64-cf2b-42a5-ad81-5888bcc9e90b" providerId="ADAL" clId="{8D495FD5-29CF-4F64-BB48-2633BE2EC3D9}" dt="2023-03-28T09:50:35.111" v="4013" actId="478"/>
          <ac:spMkLst>
            <pc:docMk/>
            <pc:sldMk cId="1202851494" sldId="2147479522"/>
            <ac:spMk id="72" creationId="{403F1161-EA7A-C980-3E35-11D3117C2A7D}"/>
          </ac:spMkLst>
        </pc:spChg>
        <pc:spChg chg="del mod">
          <ac:chgData name="Ma, Mandy Hongyang" userId="c8c44b64-cf2b-42a5-ad81-5888bcc9e90b" providerId="ADAL" clId="{8D495FD5-29CF-4F64-BB48-2633BE2EC3D9}" dt="2023-03-28T09:50:35.111" v="4013" actId="478"/>
          <ac:spMkLst>
            <pc:docMk/>
            <pc:sldMk cId="1202851494" sldId="2147479522"/>
            <ac:spMk id="73" creationId="{ADB26D99-07A8-5D9B-2E9D-5996EAF5C91C}"/>
          </ac:spMkLst>
        </pc:spChg>
        <pc:spChg chg="del mod">
          <ac:chgData name="Ma, Mandy Hongyang" userId="c8c44b64-cf2b-42a5-ad81-5888bcc9e90b" providerId="ADAL" clId="{8D495FD5-29CF-4F64-BB48-2633BE2EC3D9}" dt="2023-03-28T09:50:35.111" v="4013" actId="478"/>
          <ac:spMkLst>
            <pc:docMk/>
            <pc:sldMk cId="1202851494" sldId="2147479522"/>
            <ac:spMk id="74" creationId="{6F4152D1-0288-8325-CF4A-51A22EB0FF65}"/>
          </ac:spMkLst>
        </pc:spChg>
        <pc:spChg chg="del mod">
          <ac:chgData name="Ma, Mandy Hongyang" userId="c8c44b64-cf2b-42a5-ad81-5888bcc9e90b" providerId="ADAL" clId="{8D495FD5-29CF-4F64-BB48-2633BE2EC3D9}" dt="2023-03-28T09:50:35.111" v="4013" actId="478"/>
          <ac:spMkLst>
            <pc:docMk/>
            <pc:sldMk cId="1202851494" sldId="2147479522"/>
            <ac:spMk id="75" creationId="{D46ADB51-22EE-8624-5A7E-320531299F16}"/>
          </ac:spMkLst>
        </pc:spChg>
        <pc:spChg chg="del">
          <ac:chgData name="Ma, Mandy Hongyang" userId="c8c44b64-cf2b-42a5-ad81-5888bcc9e90b" providerId="ADAL" clId="{8D495FD5-29CF-4F64-BB48-2633BE2EC3D9}" dt="2023-03-28T09:51:00.857" v="4047" actId="478"/>
          <ac:spMkLst>
            <pc:docMk/>
            <pc:sldMk cId="1202851494" sldId="2147479522"/>
            <ac:spMk id="76" creationId="{4B57426E-2B60-3284-42BB-0E6A4D2DAE5E}"/>
          </ac:spMkLst>
        </pc:spChg>
        <pc:spChg chg="mod">
          <ac:chgData name="Ma, Mandy Hongyang" userId="c8c44b64-cf2b-42a5-ad81-5888bcc9e90b" providerId="ADAL" clId="{8D495FD5-29CF-4F64-BB48-2633BE2EC3D9}" dt="2023-03-28T09:51:15.849" v="4070" actId="20577"/>
          <ac:spMkLst>
            <pc:docMk/>
            <pc:sldMk cId="1202851494" sldId="2147479522"/>
            <ac:spMk id="78" creationId="{218ED13B-D766-06C6-8D4A-9507648698DA}"/>
          </ac:spMkLst>
        </pc:spChg>
        <pc:spChg chg="del">
          <ac:chgData name="Ma, Mandy Hongyang" userId="c8c44b64-cf2b-42a5-ad81-5888bcc9e90b" providerId="ADAL" clId="{8D495FD5-29CF-4F64-BB48-2633BE2EC3D9}" dt="2023-03-28T09:51:06.862" v="4049" actId="478"/>
          <ac:spMkLst>
            <pc:docMk/>
            <pc:sldMk cId="1202851494" sldId="2147479522"/>
            <ac:spMk id="79" creationId="{37058D31-41FA-26FF-2334-CFCC223396FC}"/>
          </ac:spMkLst>
        </pc:spChg>
        <pc:spChg chg="del">
          <ac:chgData name="Ma, Mandy Hongyang" userId="c8c44b64-cf2b-42a5-ad81-5888bcc9e90b" providerId="ADAL" clId="{8D495FD5-29CF-4F64-BB48-2633BE2EC3D9}" dt="2023-03-28T09:51:08.413" v="4050" actId="478"/>
          <ac:spMkLst>
            <pc:docMk/>
            <pc:sldMk cId="1202851494" sldId="2147479522"/>
            <ac:spMk id="80" creationId="{854F4D93-7A6D-5AE9-9138-E5CB0BDFB50D}"/>
          </ac:spMkLst>
        </pc:spChg>
      </pc:sldChg>
      <pc:sldChg chg="addSp delSp modSp add mod ord">
        <pc:chgData name="Ma, Mandy Hongyang" userId="c8c44b64-cf2b-42a5-ad81-5888bcc9e90b" providerId="ADAL" clId="{8D495FD5-29CF-4F64-BB48-2633BE2EC3D9}" dt="2023-03-29T05:52:40.446" v="4074" actId="14100"/>
        <pc:sldMkLst>
          <pc:docMk/>
          <pc:sldMk cId="228772253" sldId="2147479586"/>
        </pc:sldMkLst>
        <pc:spChg chg="mod">
          <ac:chgData name="Ma, Mandy Hongyang" userId="c8c44b64-cf2b-42a5-ad81-5888bcc9e90b" providerId="ADAL" clId="{8D495FD5-29CF-4F64-BB48-2633BE2EC3D9}" dt="2023-03-28T07:23:55.666" v="1812" actId="20577"/>
          <ac:spMkLst>
            <pc:docMk/>
            <pc:sldMk cId="228772253" sldId="2147479586"/>
            <ac:spMk id="3" creationId="{70FA95E4-14A9-A0D5-F0DF-339A223CE8A8}"/>
          </ac:spMkLst>
        </pc:spChg>
        <pc:spChg chg="del">
          <ac:chgData name="Ma, Mandy Hongyang" userId="c8c44b64-cf2b-42a5-ad81-5888bcc9e90b" providerId="ADAL" clId="{8D495FD5-29CF-4F64-BB48-2633BE2EC3D9}" dt="2023-03-28T06:44:55.172" v="1" actId="478"/>
          <ac:spMkLst>
            <pc:docMk/>
            <pc:sldMk cId="228772253" sldId="2147479586"/>
            <ac:spMk id="6" creationId="{49467AF0-7DE2-475A-BA33-EE3EF15DFF95}"/>
          </ac:spMkLst>
        </pc:spChg>
        <pc:spChg chg="del">
          <ac:chgData name="Ma, Mandy Hongyang" userId="c8c44b64-cf2b-42a5-ad81-5888bcc9e90b" providerId="ADAL" clId="{8D495FD5-29CF-4F64-BB48-2633BE2EC3D9}" dt="2023-03-28T06:44:55.172" v="1" actId="478"/>
          <ac:spMkLst>
            <pc:docMk/>
            <pc:sldMk cId="228772253" sldId="2147479586"/>
            <ac:spMk id="7" creationId="{6F019FBC-3DF3-6E16-03F3-FDFF7078CC06}"/>
          </ac:spMkLst>
        </pc:spChg>
        <pc:spChg chg="del">
          <ac:chgData name="Ma, Mandy Hongyang" userId="c8c44b64-cf2b-42a5-ad81-5888bcc9e90b" providerId="ADAL" clId="{8D495FD5-29CF-4F64-BB48-2633BE2EC3D9}" dt="2023-03-28T06:44:55.172" v="1" actId="478"/>
          <ac:spMkLst>
            <pc:docMk/>
            <pc:sldMk cId="228772253" sldId="2147479586"/>
            <ac:spMk id="8" creationId="{7D08560C-680D-4624-8444-1FCB0D88A9AD}"/>
          </ac:spMkLst>
        </pc:spChg>
        <pc:spChg chg="del">
          <ac:chgData name="Ma, Mandy Hongyang" userId="c8c44b64-cf2b-42a5-ad81-5888bcc9e90b" providerId="ADAL" clId="{8D495FD5-29CF-4F64-BB48-2633BE2EC3D9}" dt="2023-03-28T06:44:55.172" v="1" actId="478"/>
          <ac:spMkLst>
            <pc:docMk/>
            <pc:sldMk cId="228772253" sldId="2147479586"/>
            <ac:spMk id="9" creationId="{3CF1AEA4-A8EF-6306-8C78-DA96A62FCD52}"/>
          </ac:spMkLst>
        </pc:spChg>
        <pc:spChg chg="add mod">
          <ac:chgData name="Ma, Mandy Hongyang" userId="c8c44b64-cf2b-42a5-ad81-5888bcc9e90b" providerId="ADAL" clId="{8D495FD5-29CF-4F64-BB48-2633BE2EC3D9}" dt="2023-03-28T06:52:43.894" v="141" actId="14100"/>
          <ac:spMkLst>
            <pc:docMk/>
            <pc:sldMk cId="228772253" sldId="2147479586"/>
            <ac:spMk id="11" creationId="{2DBDE2F1-41A5-AAD8-8DE9-0F9090D8099C}"/>
          </ac:spMkLst>
        </pc:spChg>
        <pc:spChg chg="del">
          <ac:chgData name="Ma, Mandy Hongyang" userId="c8c44b64-cf2b-42a5-ad81-5888bcc9e90b" providerId="ADAL" clId="{8D495FD5-29CF-4F64-BB48-2633BE2EC3D9}" dt="2023-03-28T06:44:55.172" v="1" actId="478"/>
          <ac:spMkLst>
            <pc:docMk/>
            <pc:sldMk cId="228772253" sldId="2147479586"/>
            <ac:spMk id="12" creationId="{951067CE-B99A-4F8B-939E-EB6DB153D46E}"/>
          </ac:spMkLst>
        </pc:spChg>
        <pc:spChg chg="del">
          <ac:chgData name="Ma, Mandy Hongyang" userId="c8c44b64-cf2b-42a5-ad81-5888bcc9e90b" providerId="ADAL" clId="{8D495FD5-29CF-4F64-BB48-2633BE2EC3D9}" dt="2023-03-28T06:44:55.172" v="1" actId="478"/>
          <ac:spMkLst>
            <pc:docMk/>
            <pc:sldMk cId="228772253" sldId="2147479586"/>
            <ac:spMk id="13" creationId="{5F2F610C-1C8C-460E-89B4-C2CE99A78C5E}"/>
          </ac:spMkLst>
        </pc:spChg>
        <pc:spChg chg="del">
          <ac:chgData name="Ma, Mandy Hongyang" userId="c8c44b64-cf2b-42a5-ad81-5888bcc9e90b" providerId="ADAL" clId="{8D495FD5-29CF-4F64-BB48-2633BE2EC3D9}" dt="2023-03-28T06:44:55.172" v="1" actId="478"/>
          <ac:spMkLst>
            <pc:docMk/>
            <pc:sldMk cId="228772253" sldId="2147479586"/>
            <ac:spMk id="14" creationId="{D4EEB43C-0229-CC18-CE23-6DEFD8E7CB28}"/>
          </ac:spMkLst>
        </pc:spChg>
        <pc:spChg chg="add mod">
          <ac:chgData name="Ma, Mandy Hongyang" userId="c8c44b64-cf2b-42a5-ad81-5888bcc9e90b" providerId="ADAL" clId="{8D495FD5-29CF-4F64-BB48-2633BE2EC3D9}" dt="2023-03-28T06:54:17.786" v="169" actId="14100"/>
          <ac:spMkLst>
            <pc:docMk/>
            <pc:sldMk cId="228772253" sldId="2147479586"/>
            <ac:spMk id="15" creationId="{A2894AD1-530E-717F-45E5-594AEDBB9938}"/>
          </ac:spMkLst>
        </pc:spChg>
        <pc:spChg chg="del">
          <ac:chgData name="Ma, Mandy Hongyang" userId="c8c44b64-cf2b-42a5-ad81-5888bcc9e90b" providerId="ADAL" clId="{8D495FD5-29CF-4F64-BB48-2633BE2EC3D9}" dt="2023-03-28T06:44:57.121" v="2" actId="478"/>
          <ac:spMkLst>
            <pc:docMk/>
            <pc:sldMk cId="228772253" sldId="2147479586"/>
            <ac:spMk id="16" creationId="{8A234C7A-562B-A04D-9253-D108D2426E95}"/>
          </ac:spMkLst>
        </pc:spChg>
        <pc:spChg chg="add mod">
          <ac:chgData name="Ma, Mandy Hongyang" userId="c8c44b64-cf2b-42a5-ad81-5888bcc9e90b" providerId="ADAL" clId="{8D495FD5-29CF-4F64-BB48-2633BE2EC3D9}" dt="2023-03-28T06:56:57.857" v="190" actId="14100"/>
          <ac:spMkLst>
            <pc:docMk/>
            <pc:sldMk cId="228772253" sldId="2147479586"/>
            <ac:spMk id="20" creationId="{9AEA2231-01C4-2015-65B3-34B73C82B7F1}"/>
          </ac:spMkLst>
        </pc:spChg>
        <pc:spChg chg="add mod">
          <ac:chgData name="Ma, Mandy Hongyang" userId="c8c44b64-cf2b-42a5-ad81-5888bcc9e90b" providerId="ADAL" clId="{8D495FD5-29CF-4F64-BB48-2633BE2EC3D9}" dt="2023-03-28T06:56:52.360" v="188" actId="1076"/>
          <ac:spMkLst>
            <pc:docMk/>
            <pc:sldMk cId="228772253" sldId="2147479586"/>
            <ac:spMk id="21" creationId="{494EAE41-0B03-4413-CECA-7916584BF648}"/>
          </ac:spMkLst>
        </pc:spChg>
        <pc:spChg chg="add mod">
          <ac:chgData name="Ma, Mandy Hongyang" userId="c8c44b64-cf2b-42a5-ad81-5888bcc9e90b" providerId="ADAL" clId="{8D495FD5-29CF-4F64-BB48-2633BE2EC3D9}" dt="2023-03-28T06:53:33.546" v="160" actId="1076"/>
          <ac:spMkLst>
            <pc:docMk/>
            <pc:sldMk cId="228772253" sldId="2147479586"/>
            <ac:spMk id="22" creationId="{71233AB5-B7BD-A085-9D8D-9C4CD8C8D9FE}"/>
          </ac:spMkLst>
        </pc:spChg>
        <pc:spChg chg="add mod">
          <ac:chgData name="Ma, Mandy Hongyang" userId="c8c44b64-cf2b-42a5-ad81-5888bcc9e90b" providerId="ADAL" clId="{8D495FD5-29CF-4F64-BB48-2633BE2EC3D9}" dt="2023-03-28T06:57:03.219" v="191" actId="14100"/>
          <ac:spMkLst>
            <pc:docMk/>
            <pc:sldMk cId="228772253" sldId="2147479586"/>
            <ac:spMk id="23" creationId="{DCCC8711-C792-B2E6-9330-2A186F818324}"/>
          </ac:spMkLst>
        </pc:spChg>
        <pc:spChg chg="add del mod">
          <ac:chgData name="Ma, Mandy Hongyang" userId="c8c44b64-cf2b-42a5-ad81-5888bcc9e90b" providerId="ADAL" clId="{8D495FD5-29CF-4F64-BB48-2633BE2EC3D9}" dt="2023-03-28T06:57:48.245" v="380" actId="478"/>
          <ac:spMkLst>
            <pc:docMk/>
            <pc:sldMk cId="228772253" sldId="2147479586"/>
            <ac:spMk id="24" creationId="{831FA614-DEC3-A0EE-4F03-A95F570AC03F}"/>
          </ac:spMkLst>
        </pc:spChg>
        <pc:spChg chg="add mod">
          <ac:chgData name="Ma, Mandy Hongyang" userId="c8c44b64-cf2b-42a5-ad81-5888bcc9e90b" providerId="ADAL" clId="{8D495FD5-29CF-4F64-BB48-2633BE2EC3D9}" dt="2023-03-28T07:24:05.551" v="1813" actId="20578"/>
          <ac:spMkLst>
            <pc:docMk/>
            <pc:sldMk cId="228772253" sldId="2147479586"/>
            <ac:spMk id="25" creationId="{B824FA69-6F3B-A3DB-BA78-4E12D47B6747}"/>
          </ac:spMkLst>
        </pc:spChg>
        <pc:spChg chg="add mod">
          <ac:chgData name="Ma, Mandy Hongyang" userId="c8c44b64-cf2b-42a5-ad81-5888bcc9e90b" providerId="ADAL" clId="{8D495FD5-29CF-4F64-BB48-2633BE2EC3D9}" dt="2023-03-28T07:01:05.423" v="850" actId="208"/>
          <ac:spMkLst>
            <pc:docMk/>
            <pc:sldMk cId="228772253" sldId="2147479586"/>
            <ac:spMk id="26" creationId="{17F323F5-0CC4-BBAE-1D2E-31F41292CEF8}"/>
          </ac:spMkLst>
        </pc:spChg>
        <pc:graphicFrameChg chg="add mod modGraphic">
          <ac:chgData name="Ma, Mandy Hongyang" userId="c8c44b64-cf2b-42a5-ad81-5888bcc9e90b" providerId="ADAL" clId="{8D495FD5-29CF-4F64-BB48-2633BE2EC3D9}" dt="2023-03-29T05:52:40.446" v="4074" actId="14100"/>
          <ac:graphicFrameMkLst>
            <pc:docMk/>
            <pc:sldMk cId="228772253" sldId="2147479586"/>
            <ac:graphicFrameMk id="17" creationId="{98286A7B-A899-A30A-F56C-573400038B2D}"/>
          </ac:graphicFrameMkLst>
        </pc:graphicFrameChg>
        <pc:picChg chg="add mod">
          <ac:chgData name="Ma, Mandy Hongyang" userId="c8c44b64-cf2b-42a5-ad81-5888bcc9e90b" providerId="ADAL" clId="{8D495FD5-29CF-4F64-BB48-2633BE2EC3D9}" dt="2023-03-28T06:56:50.495" v="187" actId="14100"/>
          <ac:picMkLst>
            <pc:docMk/>
            <pc:sldMk cId="228772253" sldId="2147479586"/>
            <ac:picMk id="10" creationId="{D103F156-91C7-E89C-341A-237DCA19425D}"/>
          </ac:picMkLst>
        </pc:picChg>
        <pc:picChg chg="add mod">
          <ac:chgData name="Ma, Mandy Hongyang" userId="c8c44b64-cf2b-42a5-ad81-5888bcc9e90b" providerId="ADAL" clId="{8D495FD5-29CF-4F64-BB48-2633BE2EC3D9}" dt="2023-03-28T06:53:42.332" v="163" actId="108"/>
          <ac:picMkLst>
            <pc:docMk/>
            <pc:sldMk cId="228772253" sldId="2147479586"/>
            <ac:picMk id="19" creationId="{B94B0EAE-5D1E-5156-0CB2-EB117DB042FE}"/>
          </ac:picMkLst>
        </pc:picChg>
      </pc:sldChg>
      <pc:sldChg chg="addSp delSp modSp mod">
        <pc:chgData name="Ma, Mandy Hongyang" userId="c8c44b64-cf2b-42a5-ad81-5888bcc9e90b" providerId="ADAL" clId="{8D495FD5-29CF-4F64-BB48-2633BE2EC3D9}" dt="2023-03-29T05:54:11.689" v="4086" actId="20577"/>
        <pc:sldMkLst>
          <pc:docMk/>
          <pc:sldMk cId="2873784161" sldId="2147479587"/>
        </pc:sldMkLst>
        <pc:spChg chg="mod">
          <ac:chgData name="Ma, Mandy Hongyang" userId="c8c44b64-cf2b-42a5-ad81-5888bcc9e90b" providerId="ADAL" clId="{8D495FD5-29CF-4F64-BB48-2633BE2EC3D9}" dt="2023-03-28T08:36:33.892" v="3510" actId="20577"/>
          <ac:spMkLst>
            <pc:docMk/>
            <pc:sldMk cId="2873784161" sldId="2147479587"/>
            <ac:spMk id="2" creationId="{BC490A35-1DC8-9744-73AA-9460F2D0B0A7}"/>
          </ac:spMkLst>
        </pc:spChg>
        <pc:spChg chg="add mod">
          <ac:chgData name="Ma, Mandy Hongyang" userId="c8c44b64-cf2b-42a5-ad81-5888bcc9e90b" providerId="ADAL" clId="{8D495FD5-29CF-4F64-BB48-2633BE2EC3D9}" dt="2023-03-28T08:02:39.359" v="2616" actId="1076"/>
          <ac:spMkLst>
            <pc:docMk/>
            <pc:sldMk cId="2873784161" sldId="2147479587"/>
            <ac:spMk id="6" creationId="{BB66D4D3-2964-533F-FFE0-B444952E7FC8}"/>
          </ac:spMkLst>
        </pc:spChg>
        <pc:spChg chg="add mod">
          <ac:chgData name="Ma, Mandy Hongyang" userId="c8c44b64-cf2b-42a5-ad81-5888bcc9e90b" providerId="ADAL" clId="{8D495FD5-29CF-4F64-BB48-2633BE2EC3D9}" dt="2023-03-28T08:03:53.682" v="2875" actId="20577"/>
          <ac:spMkLst>
            <pc:docMk/>
            <pc:sldMk cId="2873784161" sldId="2147479587"/>
            <ac:spMk id="7" creationId="{379A5AB2-E984-7CE5-3CBC-5D72F63BC156}"/>
          </ac:spMkLst>
        </pc:spChg>
        <pc:spChg chg="add mod">
          <ac:chgData name="Ma, Mandy Hongyang" userId="c8c44b64-cf2b-42a5-ad81-5888bcc9e90b" providerId="ADAL" clId="{8D495FD5-29CF-4F64-BB48-2633BE2EC3D9}" dt="2023-03-28T08:06:26.284" v="2966" actId="1076"/>
          <ac:spMkLst>
            <pc:docMk/>
            <pc:sldMk cId="2873784161" sldId="2147479587"/>
            <ac:spMk id="8" creationId="{7DEDF191-891E-E251-CD2C-777181A1501C}"/>
          </ac:spMkLst>
        </pc:spChg>
        <pc:spChg chg="add del mod">
          <ac:chgData name="Ma, Mandy Hongyang" userId="c8c44b64-cf2b-42a5-ad81-5888bcc9e90b" providerId="ADAL" clId="{8D495FD5-29CF-4F64-BB48-2633BE2EC3D9}" dt="2023-03-29T05:52:56.934" v="4075" actId="478"/>
          <ac:spMkLst>
            <pc:docMk/>
            <pc:sldMk cId="2873784161" sldId="2147479587"/>
            <ac:spMk id="10" creationId="{53203307-8DA3-6D23-F58A-763D5C21317C}"/>
          </ac:spMkLst>
        </pc:spChg>
        <pc:spChg chg="mod">
          <ac:chgData name="Ma, Mandy Hongyang" userId="c8c44b64-cf2b-42a5-ad81-5888bcc9e90b" providerId="ADAL" clId="{8D495FD5-29CF-4F64-BB48-2633BE2EC3D9}" dt="2023-03-28T08:04:54.950" v="2881" actId="207"/>
          <ac:spMkLst>
            <pc:docMk/>
            <pc:sldMk cId="2873784161" sldId="2147479587"/>
            <ac:spMk id="16" creationId="{8C17EFF0-CFD9-FA4B-C8C5-6A9CFF7956D0}"/>
          </ac:spMkLst>
        </pc:spChg>
        <pc:spChg chg="mod">
          <ac:chgData name="Ma, Mandy Hongyang" userId="c8c44b64-cf2b-42a5-ad81-5888bcc9e90b" providerId="ADAL" clId="{8D495FD5-29CF-4F64-BB48-2633BE2EC3D9}" dt="2023-03-28T08:04:57.821" v="2882" actId="207"/>
          <ac:spMkLst>
            <pc:docMk/>
            <pc:sldMk cId="2873784161" sldId="2147479587"/>
            <ac:spMk id="17" creationId="{706AC868-DD21-D3B7-6835-9CD944CC6D63}"/>
          </ac:spMkLst>
        </pc:spChg>
        <pc:spChg chg="add mod">
          <ac:chgData name="Ma, Mandy Hongyang" userId="c8c44b64-cf2b-42a5-ad81-5888bcc9e90b" providerId="ADAL" clId="{8D495FD5-29CF-4F64-BB48-2633BE2EC3D9}" dt="2023-03-28T08:06:20.874" v="2964" actId="20577"/>
          <ac:spMkLst>
            <pc:docMk/>
            <pc:sldMk cId="2873784161" sldId="2147479587"/>
            <ac:spMk id="18" creationId="{E9370A7B-7FA6-289F-3FB6-82DB5CE627D3}"/>
          </ac:spMkLst>
        </pc:spChg>
        <pc:spChg chg="add del mod">
          <ac:chgData name="Ma, Mandy Hongyang" userId="c8c44b64-cf2b-42a5-ad81-5888bcc9e90b" providerId="ADAL" clId="{8D495FD5-29CF-4F64-BB48-2633BE2EC3D9}" dt="2023-03-28T08:06:28.483" v="2968" actId="478"/>
          <ac:spMkLst>
            <pc:docMk/>
            <pc:sldMk cId="2873784161" sldId="2147479587"/>
            <ac:spMk id="20" creationId="{8F04A4EB-EBC5-58E5-B582-7FE230DC2EA8}"/>
          </ac:spMkLst>
        </pc:spChg>
        <pc:spChg chg="del">
          <ac:chgData name="Ma, Mandy Hongyang" userId="c8c44b64-cf2b-42a5-ad81-5888bcc9e90b" providerId="ADAL" clId="{8D495FD5-29CF-4F64-BB48-2633BE2EC3D9}" dt="2023-03-28T08:02:19.426" v="2612" actId="478"/>
          <ac:spMkLst>
            <pc:docMk/>
            <pc:sldMk cId="2873784161" sldId="2147479587"/>
            <ac:spMk id="23" creationId="{6E2A71FF-8D45-44C5-8A49-496CDABBBA8C}"/>
          </ac:spMkLst>
        </pc:spChg>
        <pc:spChg chg="add mod">
          <ac:chgData name="Ma, Mandy Hongyang" userId="c8c44b64-cf2b-42a5-ad81-5888bcc9e90b" providerId="ADAL" clId="{8D495FD5-29CF-4F64-BB48-2633BE2EC3D9}" dt="2023-03-28T08:07:11.863" v="3147" actId="20577"/>
          <ac:spMkLst>
            <pc:docMk/>
            <pc:sldMk cId="2873784161" sldId="2147479587"/>
            <ac:spMk id="25" creationId="{EF0B6AB1-AC63-8AA3-165D-4FE7875FF401}"/>
          </ac:spMkLst>
        </pc:spChg>
        <pc:spChg chg="add mod">
          <ac:chgData name="Ma, Mandy Hongyang" userId="c8c44b64-cf2b-42a5-ad81-5888bcc9e90b" providerId="ADAL" clId="{8D495FD5-29CF-4F64-BB48-2633BE2EC3D9}" dt="2023-03-28T08:08:00.844" v="3159" actId="2085"/>
          <ac:spMkLst>
            <pc:docMk/>
            <pc:sldMk cId="2873784161" sldId="2147479587"/>
            <ac:spMk id="28" creationId="{306642F4-5699-4872-436B-1C2794AADB9F}"/>
          </ac:spMkLst>
        </pc:spChg>
        <pc:spChg chg="mod">
          <ac:chgData name="Ma, Mandy Hongyang" userId="c8c44b64-cf2b-42a5-ad81-5888bcc9e90b" providerId="ADAL" clId="{8D495FD5-29CF-4F64-BB48-2633BE2EC3D9}" dt="2023-03-29T05:54:11.689" v="4086" actId="20577"/>
          <ac:spMkLst>
            <pc:docMk/>
            <pc:sldMk cId="2873784161" sldId="2147479587"/>
            <ac:spMk id="30" creationId="{7E5DEF78-6C94-D3E2-E651-C4BE8001383F}"/>
          </ac:spMkLst>
        </pc:spChg>
        <pc:spChg chg="add mod">
          <ac:chgData name="Ma, Mandy Hongyang" userId="c8c44b64-cf2b-42a5-ad81-5888bcc9e90b" providerId="ADAL" clId="{8D495FD5-29CF-4F64-BB48-2633BE2EC3D9}" dt="2023-03-28T08:10:33.789" v="3298" actId="1076"/>
          <ac:spMkLst>
            <pc:docMk/>
            <pc:sldMk cId="2873784161" sldId="2147479587"/>
            <ac:spMk id="31" creationId="{AE30DFBA-5182-5A57-EEA9-EE1503355B22}"/>
          </ac:spMkLst>
        </pc:spChg>
        <pc:spChg chg="add mod">
          <ac:chgData name="Ma, Mandy Hongyang" userId="c8c44b64-cf2b-42a5-ad81-5888bcc9e90b" providerId="ADAL" clId="{8D495FD5-29CF-4F64-BB48-2633BE2EC3D9}" dt="2023-03-28T08:32:21.694" v="3472" actId="20577"/>
          <ac:spMkLst>
            <pc:docMk/>
            <pc:sldMk cId="2873784161" sldId="2147479587"/>
            <ac:spMk id="32" creationId="{8CEAF265-3E65-86E6-8FC6-75C4EE8276A5}"/>
          </ac:spMkLst>
        </pc:spChg>
        <pc:grpChg chg="mod">
          <ac:chgData name="Ma, Mandy Hongyang" userId="c8c44b64-cf2b-42a5-ad81-5888bcc9e90b" providerId="ADAL" clId="{8D495FD5-29CF-4F64-BB48-2633BE2EC3D9}" dt="2023-03-28T08:04:54.950" v="2881" actId="207"/>
          <ac:grpSpMkLst>
            <pc:docMk/>
            <pc:sldMk cId="2873784161" sldId="2147479587"/>
            <ac:grpSpMk id="22" creationId="{BF978599-CD15-100E-450E-46D4379B1710}"/>
          </ac:grpSpMkLst>
        </pc:grpChg>
        <pc:graphicFrameChg chg="add mod modGraphic">
          <ac:chgData name="Ma, Mandy Hongyang" userId="c8c44b64-cf2b-42a5-ad81-5888bcc9e90b" providerId="ADAL" clId="{8D495FD5-29CF-4F64-BB48-2633BE2EC3D9}" dt="2023-03-28T08:07:36.584" v="3153" actId="20577"/>
          <ac:graphicFrameMkLst>
            <pc:docMk/>
            <pc:sldMk cId="2873784161" sldId="2147479587"/>
            <ac:graphicFrameMk id="27" creationId="{5BDC1D4D-065A-3046-117C-667656156DDB}"/>
          </ac:graphicFrameMkLst>
        </pc:graphicFrameChg>
        <pc:cxnChg chg="del mod">
          <ac:chgData name="Ma, Mandy Hongyang" userId="c8c44b64-cf2b-42a5-ad81-5888bcc9e90b" providerId="ADAL" clId="{8D495FD5-29CF-4F64-BB48-2633BE2EC3D9}" dt="2023-03-28T08:03:58.729" v="2876" actId="478"/>
          <ac:cxnSpMkLst>
            <pc:docMk/>
            <pc:sldMk cId="2873784161" sldId="2147479587"/>
            <ac:cxnSpMk id="26" creationId="{53F78E04-E2D4-1CDC-1176-3FA130404CF3}"/>
          </ac:cxnSpMkLst>
        </pc:cxnChg>
      </pc:sldChg>
      <pc:sldChg chg="modSp mod ord">
        <pc:chgData name="Ma, Mandy Hongyang" userId="c8c44b64-cf2b-42a5-ad81-5888bcc9e90b" providerId="ADAL" clId="{8D495FD5-29CF-4F64-BB48-2633BE2EC3D9}" dt="2023-03-28T07:46:56.607" v="2600" actId="20577"/>
        <pc:sldMkLst>
          <pc:docMk/>
          <pc:sldMk cId="435103073" sldId="2147479588"/>
        </pc:sldMkLst>
        <pc:spChg chg="mod">
          <ac:chgData name="Ma, Mandy Hongyang" userId="c8c44b64-cf2b-42a5-ad81-5888bcc9e90b" providerId="ADAL" clId="{8D495FD5-29CF-4F64-BB48-2633BE2EC3D9}" dt="2023-03-28T07:33:53.867" v="2183" actId="6549"/>
          <ac:spMkLst>
            <pc:docMk/>
            <pc:sldMk cId="435103073" sldId="2147479588"/>
            <ac:spMk id="2" creationId="{BC490A35-1DC8-9744-73AA-9460F2D0B0A7}"/>
          </ac:spMkLst>
        </pc:spChg>
        <pc:spChg chg="mod">
          <ac:chgData name="Ma, Mandy Hongyang" userId="c8c44b64-cf2b-42a5-ad81-5888bcc9e90b" providerId="ADAL" clId="{8D495FD5-29CF-4F64-BB48-2633BE2EC3D9}" dt="2023-03-28T07:46:56.607" v="2600" actId="20577"/>
          <ac:spMkLst>
            <pc:docMk/>
            <pc:sldMk cId="435103073" sldId="2147479588"/>
            <ac:spMk id="5" creationId="{24CF1438-BD00-0DC0-5825-D8E137AC727B}"/>
          </ac:spMkLst>
        </pc:spChg>
        <pc:picChg chg="mod">
          <ac:chgData name="Ma, Mandy Hongyang" userId="c8c44b64-cf2b-42a5-ad81-5888bcc9e90b" providerId="ADAL" clId="{8D495FD5-29CF-4F64-BB48-2633BE2EC3D9}" dt="2023-03-28T07:33:59.551" v="2185" actId="1076"/>
          <ac:picMkLst>
            <pc:docMk/>
            <pc:sldMk cId="435103073" sldId="2147479588"/>
            <ac:picMk id="4" creationId="{B0D0FEC2-7CBD-4D56-B9A1-65430E61B2E3}"/>
          </ac:picMkLst>
        </pc:picChg>
      </pc:sldChg>
      <pc:sldChg chg="addSp delSp modSp add mod">
        <pc:chgData name="Ma, Mandy Hongyang" userId="c8c44b64-cf2b-42a5-ad81-5888bcc9e90b" providerId="ADAL" clId="{8D495FD5-29CF-4F64-BB48-2633BE2EC3D9}" dt="2023-03-28T07:31:38.684" v="2074" actId="20577"/>
        <pc:sldMkLst>
          <pc:docMk/>
          <pc:sldMk cId="2548611513" sldId="2147479589"/>
        </pc:sldMkLst>
        <pc:spChg chg="mod">
          <ac:chgData name="Ma, Mandy Hongyang" userId="c8c44b64-cf2b-42a5-ad81-5888bcc9e90b" providerId="ADAL" clId="{8D495FD5-29CF-4F64-BB48-2633BE2EC3D9}" dt="2023-03-28T07:12:30.670" v="1528" actId="20577"/>
          <ac:spMkLst>
            <pc:docMk/>
            <pc:sldMk cId="2548611513" sldId="2147479589"/>
            <ac:spMk id="3" creationId="{70FA95E4-14A9-A0D5-F0DF-339A223CE8A8}"/>
          </ac:spMkLst>
        </pc:spChg>
        <pc:spChg chg="add mod">
          <ac:chgData name="Ma, Mandy Hongyang" userId="c8c44b64-cf2b-42a5-ad81-5888bcc9e90b" providerId="ADAL" clId="{8D495FD5-29CF-4F64-BB48-2633BE2EC3D9}" dt="2023-03-28T07:29:19.738" v="1948" actId="1076"/>
          <ac:spMkLst>
            <pc:docMk/>
            <pc:sldMk cId="2548611513" sldId="2147479589"/>
            <ac:spMk id="7" creationId="{E577686F-D9E7-AFC1-C077-F11FB9E9CECE}"/>
          </ac:spMkLst>
        </pc:spChg>
        <pc:spChg chg="del">
          <ac:chgData name="Ma, Mandy Hongyang" userId="c8c44b64-cf2b-42a5-ad81-5888bcc9e90b" providerId="ADAL" clId="{8D495FD5-29CF-4F64-BB48-2633BE2EC3D9}" dt="2023-03-28T07:12:14.668" v="1519" actId="478"/>
          <ac:spMkLst>
            <pc:docMk/>
            <pc:sldMk cId="2548611513" sldId="2147479589"/>
            <ac:spMk id="11" creationId="{2DBDE2F1-41A5-AAD8-8DE9-0F9090D8099C}"/>
          </ac:spMkLst>
        </pc:spChg>
        <pc:spChg chg="add del mod">
          <ac:chgData name="Ma, Mandy Hongyang" userId="c8c44b64-cf2b-42a5-ad81-5888bcc9e90b" providerId="ADAL" clId="{8D495FD5-29CF-4F64-BB48-2633BE2EC3D9}" dt="2023-03-28T07:13:48.637" v="1547" actId="478"/>
          <ac:spMkLst>
            <pc:docMk/>
            <pc:sldMk cId="2548611513" sldId="2147479589"/>
            <ac:spMk id="13" creationId="{24630E07-0CF0-7462-C581-A28D6C3787AC}"/>
          </ac:spMkLst>
        </pc:spChg>
        <pc:spChg chg="add del mod">
          <ac:chgData name="Ma, Mandy Hongyang" userId="c8c44b64-cf2b-42a5-ad81-5888bcc9e90b" providerId="ADAL" clId="{8D495FD5-29CF-4F64-BB48-2633BE2EC3D9}" dt="2023-03-28T07:13:46.393" v="1544" actId="478"/>
          <ac:spMkLst>
            <pc:docMk/>
            <pc:sldMk cId="2548611513" sldId="2147479589"/>
            <ac:spMk id="14" creationId="{A08EE6FD-15B6-6664-D567-3B75FFE6C860}"/>
          </ac:spMkLst>
        </pc:spChg>
        <pc:spChg chg="del">
          <ac:chgData name="Ma, Mandy Hongyang" userId="c8c44b64-cf2b-42a5-ad81-5888bcc9e90b" providerId="ADAL" clId="{8D495FD5-29CF-4F64-BB48-2633BE2EC3D9}" dt="2023-03-28T07:12:18.073" v="1521" actId="478"/>
          <ac:spMkLst>
            <pc:docMk/>
            <pc:sldMk cId="2548611513" sldId="2147479589"/>
            <ac:spMk id="15" creationId="{A2894AD1-530E-717F-45E5-594AEDBB9938}"/>
          </ac:spMkLst>
        </pc:spChg>
        <pc:spChg chg="del">
          <ac:chgData name="Ma, Mandy Hongyang" userId="c8c44b64-cf2b-42a5-ad81-5888bcc9e90b" providerId="ADAL" clId="{8D495FD5-29CF-4F64-BB48-2633BE2EC3D9}" dt="2023-03-28T07:12:14.668" v="1519" actId="478"/>
          <ac:spMkLst>
            <pc:docMk/>
            <pc:sldMk cId="2548611513" sldId="2147479589"/>
            <ac:spMk id="20" creationId="{9AEA2231-01C4-2015-65B3-34B73C82B7F1}"/>
          </ac:spMkLst>
        </pc:spChg>
        <pc:spChg chg="del">
          <ac:chgData name="Ma, Mandy Hongyang" userId="c8c44b64-cf2b-42a5-ad81-5888bcc9e90b" providerId="ADAL" clId="{8D495FD5-29CF-4F64-BB48-2633BE2EC3D9}" dt="2023-03-28T07:12:14.668" v="1519" actId="478"/>
          <ac:spMkLst>
            <pc:docMk/>
            <pc:sldMk cId="2548611513" sldId="2147479589"/>
            <ac:spMk id="21" creationId="{494EAE41-0B03-4413-CECA-7916584BF648}"/>
          </ac:spMkLst>
        </pc:spChg>
        <pc:spChg chg="del">
          <ac:chgData name="Ma, Mandy Hongyang" userId="c8c44b64-cf2b-42a5-ad81-5888bcc9e90b" providerId="ADAL" clId="{8D495FD5-29CF-4F64-BB48-2633BE2EC3D9}" dt="2023-03-28T07:12:14.668" v="1519" actId="478"/>
          <ac:spMkLst>
            <pc:docMk/>
            <pc:sldMk cId="2548611513" sldId="2147479589"/>
            <ac:spMk id="22" creationId="{71233AB5-B7BD-A085-9D8D-9C4CD8C8D9FE}"/>
          </ac:spMkLst>
        </pc:spChg>
        <pc:spChg chg="del">
          <ac:chgData name="Ma, Mandy Hongyang" userId="c8c44b64-cf2b-42a5-ad81-5888bcc9e90b" providerId="ADAL" clId="{8D495FD5-29CF-4F64-BB48-2633BE2EC3D9}" dt="2023-03-28T07:12:16.432" v="1520" actId="478"/>
          <ac:spMkLst>
            <pc:docMk/>
            <pc:sldMk cId="2548611513" sldId="2147479589"/>
            <ac:spMk id="23" creationId="{DCCC8711-C792-B2E6-9330-2A186F818324}"/>
          </ac:spMkLst>
        </pc:spChg>
        <pc:spChg chg="add del mod">
          <ac:chgData name="Ma, Mandy Hongyang" userId="c8c44b64-cf2b-42a5-ad81-5888bcc9e90b" providerId="ADAL" clId="{8D495FD5-29CF-4F64-BB48-2633BE2EC3D9}" dt="2023-03-28T07:15:19.311" v="1567" actId="478"/>
          <ac:spMkLst>
            <pc:docMk/>
            <pc:sldMk cId="2548611513" sldId="2147479589"/>
            <ac:spMk id="24" creationId="{C7F19D04-2AD4-F849-C35D-36ADA1B32FBE}"/>
          </ac:spMkLst>
        </pc:spChg>
        <pc:spChg chg="del">
          <ac:chgData name="Ma, Mandy Hongyang" userId="c8c44b64-cf2b-42a5-ad81-5888bcc9e90b" providerId="ADAL" clId="{8D495FD5-29CF-4F64-BB48-2633BE2EC3D9}" dt="2023-03-28T07:12:14.668" v="1519" actId="478"/>
          <ac:spMkLst>
            <pc:docMk/>
            <pc:sldMk cId="2548611513" sldId="2147479589"/>
            <ac:spMk id="25" creationId="{B824FA69-6F3B-A3DB-BA78-4E12D47B6747}"/>
          </ac:spMkLst>
        </pc:spChg>
        <pc:spChg chg="del">
          <ac:chgData name="Ma, Mandy Hongyang" userId="c8c44b64-cf2b-42a5-ad81-5888bcc9e90b" providerId="ADAL" clId="{8D495FD5-29CF-4F64-BB48-2633BE2EC3D9}" dt="2023-03-28T07:12:14.668" v="1519" actId="478"/>
          <ac:spMkLst>
            <pc:docMk/>
            <pc:sldMk cId="2548611513" sldId="2147479589"/>
            <ac:spMk id="26" creationId="{17F323F5-0CC4-BBAE-1D2E-31F41292CEF8}"/>
          </ac:spMkLst>
        </pc:spChg>
        <pc:spChg chg="add mod">
          <ac:chgData name="Ma, Mandy Hongyang" userId="c8c44b64-cf2b-42a5-ad81-5888bcc9e90b" providerId="ADAL" clId="{8D495FD5-29CF-4F64-BB48-2633BE2EC3D9}" dt="2023-03-28T07:15:55.081" v="1631" actId="1076"/>
          <ac:spMkLst>
            <pc:docMk/>
            <pc:sldMk cId="2548611513" sldId="2147479589"/>
            <ac:spMk id="27" creationId="{1754ED64-1193-A0D8-5C20-EF98582C9AC1}"/>
          </ac:spMkLst>
        </pc:spChg>
        <pc:spChg chg="add mod ord">
          <ac:chgData name="Ma, Mandy Hongyang" userId="c8c44b64-cf2b-42a5-ad81-5888bcc9e90b" providerId="ADAL" clId="{8D495FD5-29CF-4F64-BB48-2633BE2EC3D9}" dt="2023-03-28T07:16:27.103" v="1646" actId="207"/>
          <ac:spMkLst>
            <pc:docMk/>
            <pc:sldMk cId="2548611513" sldId="2147479589"/>
            <ac:spMk id="28" creationId="{83315A34-BC8D-CFFB-F59F-A5C16277B908}"/>
          </ac:spMkLst>
        </pc:spChg>
        <pc:spChg chg="add mod">
          <ac:chgData name="Ma, Mandy Hongyang" userId="c8c44b64-cf2b-42a5-ad81-5888bcc9e90b" providerId="ADAL" clId="{8D495FD5-29CF-4F64-BB48-2633BE2EC3D9}" dt="2023-03-28T07:17:22.038" v="1763" actId="20577"/>
          <ac:spMkLst>
            <pc:docMk/>
            <pc:sldMk cId="2548611513" sldId="2147479589"/>
            <ac:spMk id="29" creationId="{FCEB6405-AB12-208A-A31F-EB43B22D9E53}"/>
          </ac:spMkLst>
        </pc:spChg>
        <pc:spChg chg="add mod ord">
          <ac:chgData name="Ma, Mandy Hongyang" userId="c8c44b64-cf2b-42a5-ad81-5888bcc9e90b" providerId="ADAL" clId="{8D495FD5-29CF-4F64-BB48-2633BE2EC3D9}" dt="2023-03-28T07:29:33.758" v="1955" actId="14100"/>
          <ac:spMkLst>
            <pc:docMk/>
            <pc:sldMk cId="2548611513" sldId="2147479589"/>
            <ac:spMk id="31" creationId="{FCB57675-E093-7E65-9C20-9FD25903A91E}"/>
          </ac:spMkLst>
        </pc:spChg>
        <pc:spChg chg="add mod">
          <ac:chgData name="Ma, Mandy Hongyang" userId="c8c44b64-cf2b-42a5-ad81-5888bcc9e90b" providerId="ADAL" clId="{8D495FD5-29CF-4F64-BB48-2633BE2EC3D9}" dt="2023-03-28T07:30:52.667" v="2065" actId="1076"/>
          <ac:spMkLst>
            <pc:docMk/>
            <pc:sldMk cId="2548611513" sldId="2147479589"/>
            <ac:spMk id="32" creationId="{F804B218-DA30-96DE-B84C-544AF84F4A03}"/>
          </ac:spMkLst>
        </pc:spChg>
        <pc:spChg chg="add mod">
          <ac:chgData name="Ma, Mandy Hongyang" userId="c8c44b64-cf2b-42a5-ad81-5888bcc9e90b" providerId="ADAL" clId="{8D495FD5-29CF-4F64-BB48-2633BE2EC3D9}" dt="2023-03-28T07:30:46.698" v="2064" actId="208"/>
          <ac:spMkLst>
            <pc:docMk/>
            <pc:sldMk cId="2548611513" sldId="2147479589"/>
            <ac:spMk id="35" creationId="{66BB4B11-1F1F-DAD1-1922-1CAED7E239B1}"/>
          </ac:spMkLst>
        </pc:spChg>
        <pc:spChg chg="add mod">
          <ac:chgData name="Ma, Mandy Hongyang" userId="c8c44b64-cf2b-42a5-ad81-5888bcc9e90b" providerId="ADAL" clId="{8D495FD5-29CF-4F64-BB48-2633BE2EC3D9}" dt="2023-03-28T07:31:29.250" v="2071" actId="255"/>
          <ac:spMkLst>
            <pc:docMk/>
            <pc:sldMk cId="2548611513" sldId="2147479589"/>
            <ac:spMk id="36" creationId="{80F8035A-5D83-F173-FA86-0BD166FC47AA}"/>
          </ac:spMkLst>
        </pc:spChg>
        <pc:spChg chg="add mod">
          <ac:chgData name="Ma, Mandy Hongyang" userId="c8c44b64-cf2b-42a5-ad81-5888bcc9e90b" providerId="ADAL" clId="{8D495FD5-29CF-4F64-BB48-2633BE2EC3D9}" dt="2023-03-28T07:31:38.684" v="2074" actId="20577"/>
          <ac:spMkLst>
            <pc:docMk/>
            <pc:sldMk cId="2548611513" sldId="2147479589"/>
            <ac:spMk id="37" creationId="{0DD57251-3395-A37A-7905-81280874CE31}"/>
          </ac:spMkLst>
        </pc:spChg>
        <pc:graphicFrameChg chg="add mod modGraphic">
          <ac:chgData name="Ma, Mandy Hongyang" userId="c8c44b64-cf2b-42a5-ad81-5888bcc9e90b" providerId="ADAL" clId="{8D495FD5-29CF-4F64-BB48-2633BE2EC3D9}" dt="2023-03-28T07:15:38.153" v="1589" actId="20577"/>
          <ac:graphicFrameMkLst>
            <pc:docMk/>
            <pc:sldMk cId="2548611513" sldId="2147479589"/>
            <ac:graphicFrameMk id="4" creationId="{69E6BDDA-2083-49A5-2535-404BBB2F3686}"/>
          </ac:graphicFrameMkLst>
        </pc:graphicFrameChg>
        <pc:graphicFrameChg chg="add del mod">
          <ac:chgData name="Ma, Mandy Hongyang" userId="c8c44b64-cf2b-42a5-ad81-5888bcc9e90b" providerId="ADAL" clId="{8D495FD5-29CF-4F64-BB48-2633BE2EC3D9}" dt="2023-03-28T07:29:15.842" v="1947" actId="478"/>
          <ac:graphicFrameMkLst>
            <pc:docMk/>
            <pc:sldMk cId="2548611513" sldId="2147479589"/>
            <ac:graphicFrameMk id="6" creationId="{70EBC970-FC4B-E191-3DC7-C3BB2641EB59}"/>
          </ac:graphicFrameMkLst>
        </pc:graphicFrameChg>
        <pc:graphicFrameChg chg="del">
          <ac:chgData name="Ma, Mandy Hongyang" userId="c8c44b64-cf2b-42a5-ad81-5888bcc9e90b" providerId="ADAL" clId="{8D495FD5-29CF-4F64-BB48-2633BE2EC3D9}" dt="2023-03-28T07:12:14.668" v="1519" actId="478"/>
          <ac:graphicFrameMkLst>
            <pc:docMk/>
            <pc:sldMk cId="2548611513" sldId="2147479589"/>
            <ac:graphicFrameMk id="17" creationId="{98286A7B-A899-A30A-F56C-573400038B2D}"/>
          </ac:graphicFrameMkLst>
        </pc:graphicFrameChg>
        <pc:picChg chg="add del mod">
          <ac:chgData name="Ma, Mandy Hongyang" userId="c8c44b64-cf2b-42a5-ad81-5888bcc9e90b" providerId="ADAL" clId="{8D495FD5-29CF-4F64-BB48-2633BE2EC3D9}" dt="2023-03-28T07:13:45.684" v="1543" actId="478"/>
          <ac:picMkLst>
            <pc:docMk/>
            <pc:sldMk cId="2548611513" sldId="2147479589"/>
            <ac:picMk id="8" creationId="{6A94D605-ED36-7B2F-10E1-42FED70C6866}"/>
          </ac:picMkLst>
        </pc:picChg>
        <pc:picChg chg="add del mod">
          <ac:chgData name="Ma, Mandy Hongyang" userId="c8c44b64-cf2b-42a5-ad81-5888bcc9e90b" providerId="ADAL" clId="{8D495FD5-29CF-4F64-BB48-2633BE2EC3D9}" dt="2023-03-28T07:13:46.969" v="1545" actId="478"/>
          <ac:picMkLst>
            <pc:docMk/>
            <pc:sldMk cId="2548611513" sldId="2147479589"/>
            <ac:picMk id="9" creationId="{A592FCA7-621B-768A-A0C6-AD2E4F320EE4}"/>
          </ac:picMkLst>
        </pc:picChg>
        <pc:picChg chg="del">
          <ac:chgData name="Ma, Mandy Hongyang" userId="c8c44b64-cf2b-42a5-ad81-5888bcc9e90b" providerId="ADAL" clId="{8D495FD5-29CF-4F64-BB48-2633BE2EC3D9}" dt="2023-03-28T07:12:14.668" v="1519" actId="478"/>
          <ac:picMkLst>
            <pc:docMk/>
            <pc:sldMk cId="2548611513" sldId="2147479589"/>
            <ac:picMk id="10" creationId="{D103F156-91C7-E89C-341A-237DCA19425D}"/>
          </ac:picMkLst>
        </pc:picChg>
        <pc:picChg chg="add del mod">
          <ac:chgData name="Ma, Mandy Hongyang" userId="c8c44b64-cf2b-42a5-ad81-5888bcc9e90b" providerId="ADAL" clId="{8D495FD5-29CF-4F64-BB48-2633BE2EC3D9}" dt="2023-03-28T07:13:47.373" v="1546" actId="478"/>
          <ac:picMkLst>
            <pc:docMk/>
            <pc:sldMk cId="2548611513" sldId="2147479589"/>
            <ac:picMk id="12" creationId="{07061CD6-0F1C-3E6D-0013-66D0A6C88133}"/>
          </ac:picMkLst>
        </pc:picChg>
        <pc:picChg chg="add mod">
          <ac:chgData name="Ma, Mandy Hongyang" userId="c8c44b64-cf2b-42a5-ad81-5888bcc9e90b" providerId="ADAL" clId="{8D495FD5-29CF-4F64-BB48-2633BE2EC3D9}" dt="2023-03-28T07:15:52.451" v="1630" actId="1076"/>
          <ac:picMkLst>
            <pc:docMk/>
            <pc:sldMk cId="2548611513" sldId="2147479589"/>
            <ac:picMk id="18" creationId="{86A8A741-1346-FEA5-F123-290A66A47CA0}"/>
          </ac:picMkLst>
        </pc:picChg>
        <pc:picChg chg="del">
          <ac:chgData name="Ma, Mandy Hongyang" userId="c8c44b64-cf2b-42a5-ad81-5888bcc9e90b" providerId="ADAL" clId="{8D495FD5-29CF-4F64-BB48-2633BE2EC3D9}" dt="2023-03-28T07:12:14.668" v="1519" actId="478"/>
          <ac:picMkLst>
            <pc:docMk/>
            <pc:sldMk cId="2548611513" sldId="2147479589"/>
            <ac:picMk id="19" creationId="{B94B0EAE-5D1E-5156-0CB2-EB117DB042FE}"/>
          </ac:picMkLst>
        </pc:picChg>
        <pc:picChg chg="add del mod">
          <ac:chgData name="Ma, Mandy Hongyang" userId="c8c44b64-cf2b-42a5-ad81-5888bcc9e90b" providerId="ADAL" clId="{8D495FD5-29CF-4F64-BB48-2633BE2EC3D9}" dt="2023-03-28T07:30:22.283" v="2056" actId="478"/>
          <ac:picMkLst>
            <pc:docMk/>
            <pc:sldMk cId="2548611513" sldId="2147479589"/>
            <ac:picMk id="30" creationId="{D96A60E5-CF05-8143-B833-7318375EAA34}"/>
          </ac:picMkLst>
        </pc:picChg>
        <pc:picChg chg="add mod">
          <ac:chgData name="Ma, Mandy Hongyang" userId="c8c44b64-cf2b-42a5-ad81-5888bcc9e90b" providerId="ADAL" clId="{8D495FD5-29CF-4F64-BB48-2633BE2EC3D9}" dt="2023-03-28T07:30:25.639" v="2058" actId="1076"/>
          <ac:picMkLst>
            <pc:docMk/>
            <pc:sldMk cId="2548611513" sldId="2147479589"/>
            <ac:picMk id="34" creationId="{285A4210-0A38-8644-2BC3-87447FFCCF25}"/>
          </ac:picMkLst>
        </pc:picChg>
      </pc:sldChg>
    </pc:docChg>
  </pc:docChgLst>
  <pc:docChgLst>
    <pc:chgData name="Wu, James Jie" userId="c24f6387-5cb0-4e93-9a06-05e9483fece5" providerId="ADAL" clId="{A1A4D2A7-2B2A-428B-9579-BA4E89C8E1C2}"/>
    <pc:docChg chg="addSld delSld modSld">
      <pc:chgData name="Wu, James Jie" userId="c24f6387-5cb0-4e93-9a06-05e9483fece5" providerId="ADAL" clId="{A1A4D2A7-2B2A-428B-9579-BA4E89C8E1C2}" dt="2023-04-27T08:15:16.272" v="2" actId="729"/>
      <pc:docMkLst>
        <pc:docMk/>
      </pc:docMkLst>
      <pc:sldChg chg="mod modShow">
        <pc:chgData name="Wu, James Jie" userId="c24f6387-5cb0-4e93-9a06-05e9483fece5" providerId="ADAL" clId="{A1A4D2A7-2B2A-428B-9579-BA4E89C8E1C2}" dt="2023-04-27T08:15:16.272" v="2" actId="729"/>
        <pc:sldMkLst>
          <pc:docMk/>
          <pc:sldMk cId="3194468333" sldId="2147479732"/>
        </pc:sldMkLst>
      </pc:sldChg>
      <pc:sldChg chg="add del">
        <pc:chgData name="Wu, James Jie" userId="c24f6387-5cb0-4e93-9a06-05e9483fece5" providerId="ADAL" clId="{A1A4D2A7-2B2A-428B-9579-BA4E89C8E1C2}" dt="2023-04-27T03:54:32.963" v="1"/>
        <pc:sldMkLst>
          <pc:docMk/>
          <pc:sldMk cId="2664517759" sldId="2147479733"/>
        </pc:sldMkLst>
      </pc:sldChg>
    </pc:docChg>
  </pc:docChgLst>
  <pc:docChgLst>
    <pc:chgData name="Hu, Frank" userId="d3ad470f-91d8-4bd6-b171-9c10023cc60b" providerId="ADAL" clId="{82700928-24A2-4606-8247-B4B67B74545A}"/>
    <pc:docChg chg="undo custSel addSld delSld modSld sldOrd">
      <pc:chgData name="Hu, Frank" userId="d3ad470f-91d8-4bd6-b171-9c10023cc60b" providerId="ADAL" clId="{82700928-24A2-4606-8247-B4B67B74545A}" dt="2023-03-29T05:44:49.008" v="2028" actId="14100"/>
      <pc:docMkLst>
        <pc:docMk/>
      </pc:docMkLst>
      <pc:sldChg chg="modSp mod ord">
        <pc:chgData name="Hu, Frank" userId="d3ad470f-91d8-4bd6-b171-9c10023cc60b" providerId="ADAL" clId="{82700928-24A2-4606-8247-B4B67B74545A}" dt="2023-03-29T05:43:14.123" v="2021" actId="6549"/>
        <pc:sldMkLst>
          <pc:docMk/>
          <pc:sldMk cId="1401306855" sldId="2147474143"/>
        </pc:sldMkLst>
        <pc:spChg chg="mod">
          <ac:chgData name="Hu, Frank" userId="d3ad470f-91d8-4bd6-b171-9c10023cc60b" providerId="ADAL" clId="{82700928-24A2-4606-8247-B4B67B74545A}" dt="2023-03-28T02:52:37.106" v="318" actId="20577"/>
          <ac:spMkLst>
            <pc:docMk/>
            <pc:sldMk cId="1401306855" sldId="2147474143"/>
            <ac:spMk id="7" creationId="{6F019FBC-3DF3-6E16-03F3-FDFF7078CC06}"/>
          </ac:spMkLst>
        </pc:spChg>
        <pc:spChg chg="mod">
          <ac:chgData name="Hu, Frank" userId="d3ad470f-91d8-4bd6-b171-9c10023cc60b" providerId="ADAL" clId="{82700928-24A2-4606-8247-B4B67B74545A}" dt="2023-03-28T02:50:02.758" v="291" actId="14100"/>
          <ac:spMkLst>
            <pc:docMk/>
            <pc:sldMk cId="1401306855" sldId="2147474143"/>
            <ac:spMk id="8" creationId="{7D08560C-680D-4624-8444-1FCB0D88A9AD}"/>
          </ac:spMkLst>
        </pc:spChg>
        <pc:spChg chg="mod">
          <ac:chgData name="Hu, Frank" userId="d3ad470f-91d8-4bd6-b171-9c10023cc60b" providerId="ADAL" clId="{82700928-24A2-4606-8247-B4B67B74545A}" dt="2023-03-29T05:43:14.123" v="2021" actId="6549"/>
          <ac:spMkLst>
            <pc:docMk/>
            <pc:sldMk cId="1401306855" sldId="2147474143"/>
            <ac:spMk id="14" creationId="{D4EEB43C-0229-CC18-CE23-6DEFD8E7CB28}"/>
          </ac:spMkLst>
        </pc:spChg>
      </pc:sldChg>
      <pc:sldChg chg="modSp mod">
        <pc:chgData name="Hu, Frank" userId="d3ad470f-91d8-4bd6-b171-9c10023cc60b" providerId="ADAL" clId="{82700928-24A2-4606-8247-B4B67B74545A}" dt="2023-03-29T05:43:38.643" v="2025" actId="20577"/>
        <pc:sldMkLst>
          <pc:docMk/>
          <pc:sldMk cId="1739901954" sldId="2147479199"/>
        </pc:sldMkLst>
        <pc:graphicFrameChg chg="mod modGraphic">
          <ac:chgData name="Hu, Frank" userId="d3ad470f-91d8-4bd6-b171-9c10023cc60b" providerId="ADAL" clId="{82700928-24A2-4606-8247-B4B67B74545A}" dt="2023-03-29T05:43:38.643" v="2025" actId="20577"/>
          <ac:graphicFrameMkLst>
            <pc:docMk/>
            <pc:sldMk cId="1739901954" sldId="2147479199"/>
            <ac:graphicFrameMk id="5" creationId="{AC3AAA03-45B4-A976-9A3F-E8F1CDCFDCA2}"/>
          </ac:graphicFrameMkLst>
        </pc:graphicFrameChg>
      </pc:sldChg>
      <pc:sldChg chg="modSp mod">
        <pc:chgData name="Hu, Frank" userId="d3ad470f-91d8-4bd6-b171-9c10023cc60b" providerId="ADAL" clId="{82700928-24A2-4606-8247-B4B67B74545A}" dt="2023-03-28T09:27:27.828" v="1814" actId="20577"/>
        <pc:sldMkLst>
          <pc:docMk/>
          <pc:sldMk cId="3201368661" sldId="2147479201"/>
        </pc:sldMkLst>
        <pc:spChg chg="mod">
          <ac:chgData name="Hu, Frank" userId="d3ad470f-91d8-4bd6-b171-9c10023cc60b" providerId="ADAL" clId="{82700928-24A2-4606-8247-B4B67B74545A}" dt="2023-03-28T09:27:27.828" v="1814" actId="20577"/>
          <ac:spMkLst>
            <pc:docMk/>
            <pc:sldMk cId="3201368661" sldId="2147479201"/>
            <ac:spMk id="6" creationId="{45D886EF-11D6-4B98-BEB6-CE2B64677DDE}"/>
          </ac:spMkLst>
        </pc:spChg>
        <pc:graphicFrameChg chg="mod modGraphic">
          <ac:chgData name="Hu, Frank" userId="d3ad470f-91d8-4bd6-b171-9c10023cc60b" providerId="ADAL" clId="{82700928-24A2-4606-8247-B4B67B74545A}" dt="2023-03-28T08:35:59.802" v="1573" actId="20577"/>
          <ac:graphicFrameMkLst>
            <pc:docMk/>
            <pc:sldMk cId="3201368661" sldId="2147479201"/>
            <ac:graphicFrameMk id="5" creationId="{9E296B13-D1C2-B83C-7EB6-1EB33B5ADEF8}"/>
          </ac:graphicFrameMkLst>
        </pc:graphicFrameChg>
      </pc:sldChg>
      <pc:sldChg chg="modSp mod">
        <pc:chgData name="Hu, Frank" userId="d3ad470f-91d8-4bd6-b171-9c10023cc60b" providerId="ADAL" clId="{82700928-24A2-4606-8247-B4B67B74545A}" dt="2023-03-29T05:41:27.759" v="2009" actId="6549"/>
        <pc:sldMkLst>
          <pc:docMk/>
          <pc:sldMk cId="1629897296" sldId="2147479210"/>
        </pc:sldMkLst>
        <pc:spChg chg="mod">
          <ac:chgData name="Hu, Frank" userId="d3ad470f-91d8-4bd6-b171-9c10023cc60b" providerId="ADAL" clId="{82700928-24A2-4606-8247-B4B67B74545A}" dt="2023-03-29T05:41:27.759" v="2009" actId="6549"/>
          <ac:spMkLst>
            <pc:docMk/>
            <pc:sldMk cId="1629897296" sldId="2147479210"/>
            <ac:spMk id="39" creationId="{4AF68447-805F-80E5-5842-997856291AF1}"/>
          </ac:spMkLst>
        </pc:spChg>
        <pc:spChg chg="mod">
          <ac:chgData name="Hu, Frank" userId="d3ad470f-91d8-4bd6-b171-9c10023cc60b" providerId="ADAL" clId="{82700928-24A2-4606-8247-B4B67B74545A}" dt="2023-03-28T07:31:16.532" v="1162" actId="20577"/>
          <ac:spMkLst>
            <pc:docMk/>
            <pc:sldMk cId="1629897296" sldId="2147479210"/>
            <ac:spMk id="40" creationId="{BB381822-17F4-5CDF-2D5D-D70889045957}"/>
          </ac:spMkLst>
        </pc:spChg>
        <pc:spChg chg="mod">
          <ac:chgData name="Hu, Frank" userId="d3ad470f-91d8-4bd6-b171-9c10023cc60b" providerId="ADAL" clId="{82700928-24A2-4606-8247-B4B67B74545A}" dt="2023-03-28T09:24:05.129" v="1762" actId="20577"/>
          <ac:spMkLst>
            <pc:docMk/>
            <pc:sldMk cId="1629897296" sldId="2147479210"/>
            <ac:spMk id="63" creationId="{C198C1C9-C87F-2559-60B8-85FE736AB8CE}"/>
          </ac:spMkLst>
        </pc:spChg>
        <pc:spChg chg="mod">
          <ac:chgData name="Hu, Frank" userId="d3ad470f-91d8-4bd6-b171-9c10023cc60b" providerId="ADAL" clId="{82700928-24A2-4606-8247-B4B67B74545A}" dt="2023-03-28T09:24:39.097" v="1781" actId="1076"/>
          <ac:spMkLst>
            <pc:docMk/>
            <pc:sldMk cId="1629897296" sldId="2147479210"/>
            <ac:spMk id="69" creationId="{AF7D2739-F0AB-BACB-4055-DB52842C4B35}"/>
          </ac:spMkLst>
        </pc:spChg>
        <pc:spChg chg="mod">
          <ac:chgData name="Hu, Frank" userId="d3ad470f-91d8-4bd6-b171-9c10023cc60b" providerId="ADAL" clId="{82700928-24A2-4606-8247-B4B67B74545A}" dt="2023-03-28T09:24:30.580" v="1780" actId="20577"/>
          <ac:spMkLst>
            <pc:docMk/>
            <pc:sldMk cId="1629897296" sldId="2147479210"/>
            <ac:spMk id="70" creationId="{2D48B694-74AF-D18F-4262-2FACE35ABF8E}"/>
          </ac:spMkLst>
        </pc:spChg>
        <pc:spChg chg="mod">
          <ac:chgData name="Hu, Frank" userId="d3ad470f-91d8-4bd6-b171-9c10023cc60b" providerId="ADAL" clId="{82700928-24A2-4606-8247-B4B67B74545A}" dt="2023-03-28T07:31:20.878" v="1163"/>
          <ac:spMkLst>
            <pc:docMk/>
            <pc:sldMk cId="1629897296" sldId="2147479210"/>
            <ac:spMk id="71" creationId="{6F142DAC-53D7-A4C2-9D92-80D160C356FB}"/>
          </ac:spMkLst>
        </pc:spChg>
        <pc:spChg chg="mod">
          <ac:chgData name="Hu, Frank" userId="d3ad470f-91d8-4bd6-b171-9c10023cc60b" providerId="ADAL" clId="{82700928-24A2-4606-8247-B4B67B74545A}" dt="2023-03-28T07:34:04.047" v="1182" actId="20577"/>
          <ac:spMkLst>
            <pc:docMk/>
            <pc:sldMk cId="1629897296" sldId="2147479210"/>
            <ac:spMk id="95" creationId="{C338EB92-364C-3B4D-3F79-70CE7D154DE4}"/>
          </ac:spMkLst>
        </pc:spChg>
      </pc:sldChg>
      <pc:sldChg chg="delSp modSp mod">
        <pc:chgData name="Hu, Frank" userId="d3ad470f-91d8-4bd6-b171-9c10023cc60b" providerId="ADAL" clId="{82700928-24A2-4606-8247-B4B67B74545A}" dt="2023-03-28T09:14:39.957" v="1645" actId="1076"/>
        <pc:sldMkLst>
          <pc:docMk/>
          <pc:sldMk cId="524445388" sldId="2147479418"/>
        </pc:sldMkLst>
        <pc:spChg chg="mod">
          <ac:chgData name="Hu, Frank" userId="d3ad470f-91d8-4bd6-b171-9c10023cc60b" providerId="ADAL" clId="{82700928-24A2-4606-8247-B4B67B74545A}" dt="2023-03-28T09:12:55.251" v="1604" actId="1076"/>
          <ac:spMkLst>
            <pc:docMk/>
            <pc:sldMk cId="524445388" sldId="2147479418"/>
            <ac:spMk id="4" creationId="{CB29207A-D4DE-D56A-037A-3B1A1A1B6EB6}"/>
          </ac:spMkLst>
        </pc:spChg>
        <pc:spChg chg="mod">
          <ac:chgData name="Hu, Frank" userId="d3ad470f-91d8-4bd6-b171-9c10023cc60b" providerId="ADAL" clId="{82700928-24A2-4606-8247-B4B67B74545A}" dt="2023-03-28T09:12:55.251" v="1604" actId="1076"/>
          <ac:spMkLst>
            <pc:docMk/>
            <pc:sldMk cId="524445388" sldId="2147479418"/>
            <ac:spMk id="10" creationId="{C706D9D0-1EA2-9E6F-E611-BF379723544D}"/>
          </ac:spMkLst>
        </pc:spChg>
        <pc:spChg chg="mod">
          <ac:chgData name="Hu, Frank" userId="d3ad470f-91d8-4bd6-b171-9c10023cc60b" providerId="ADAL" clId="{82700928-24A2-4606-8247-B4B67B74545A}" dt="2023-03-28T09:12:55.251" v="1604" actId="1076"/>
          <ac:spMkLst>
            <pc:docMk/>
            <pc:sldMk cId="524445388" sldId="2147479418"/>
            <ac:spMk id="11" creationId="{A8D23218-2AE7-D9AE-25B0-10731E894661}"/>
          </ac:spMkLst>
        </pc:spChg>
        <pc:spChg chg="mod">
          <ac:chgData name="Hu, Frank" userId="d3ad470f-91d8-4bd6-b171-9c10023cc60b" providerId="ADAL" clId="{82700928-24A2-4606-8247-B4B67B74545A}" dt="2023-03-28T09:12:55.251" v="1604" actId="1076"/>
          <ac:spMkLst>
            <pc:docMk/>
            <pc:sldMk cId="524445388" sldId="2147479418"/>
            <ac:spMk id="14" creationId="{ACACAF81-18AD-A7FA-7406-CB76BB415982}"/>
          </ac:spMkLst>
        </pc:spChg>
        <pc:spChg chg="mod">
          <ac:chgData name="Hu, Frank" userId="d3ad470f-91d8-4bd6-b171-9c10023cc60b" providerId="ADAL" clId="{82700928-24A2-4606-8247-B4B67B74545A}" dt="2023-03-28T09:13:59.632" v="1623" actId="14100"/>
          <ac:spMkLst>
            <pc:docMk/>
            <pc:sldMk cId="524445388" sldId="2147479418"/>
            <ac:spMk id="17" creationId="{FCB4DD84-3FFB-D109-391A-E08D81AF6BE4}"/>
          </ac:spMkLst>
        </pc:spChg>
        <pc:spChg chg="mod">
          <ac:chgData name="Hu, Frank" userId="d3ad470f-91d8-4bd6-b171-9c10023cc60b" providerId="ADAL" clId="{82700928-24A2-4606-8247-B4B67B74545A}" dt="2023-03-28T09:12:55.251" v="1604" actId="1076"/>
          <ac:spMkLst>
            <pc:docMk/>
            <pc:sldMk cId="524445388" sldId="2147479418"/>
            <ac:spMk id="18" creationId="{74C93997-2870-46C7-E151-F8AC1436FCE2}"/>
          </ac:spMkLst>
        </pc:spChg>
        <pc:spChg chg="mod">
          <ac:chgData name="Hu, Frank" userId="d3ad470f-91d8-4bd6-b171-9c10023cc60b" providerId="ADAL" clId="{82700928-24A2-4606-8247-B4B67B74545A}" dt="2023-03-28T09:14:30.517" v="1644" actId="14100"/>
          <ac:spMkLst>
            <pc:docMk/>
            <pc:sldMk cId="524445388" sldId="2147479418"/>
            <ac:spMk id="19" creationId="{BC6F1160-2673-4B3F-D05B-D781659DA96A}"/>
          </ac:spMkLst>
        </pc:spChg>
        <pc:spChg chg="mod">
          <ac:chgData name="Hu, Frank" userId="d3ad470f-91d8-4bd6-b171-9c10023cc60b" providerId="ADAL" clId="{82700928-24A2-4606-8247-B4B67B74545A}" dt="2023-03-28T09:12:55.251" v="1604" actId="1076"/>
          <ac:spMkLst>
            <pc:docMk/>
            <pc:sldMk cId="524445388" sldId="2147479418"/>
            <ac:spMk id="28" creationId="{68D40BC5-7C2C-2502-041A-D34B2B9E904B}"/>
          </ac:spMkLst>
        </pc:spChg>
        <pc:spChg chg="del">
          <ac:chgData name="Hu, Frank" userId="d3ad470f-91d8-4bd6-b171-9c10023cc60b" providerId="ADAL" clId="{82700928-24A2-4606-8247-B4B67B74545A}" dt="2023-03-28T09:12:31.017" v="1602" actId="478"/>
          <ac:spMkLst>
            <pc:docMk/>
            <pc:sldMk cId="524445388" sldId="2147479418"/>
            <ac:spMk id="47" creationId="{E7CE233D-7E0D-636E-71C2-559E9432F343}"/>
          </ac:spMkLst>
        </pc:spChg>
        <pc:spChg chg="mod">
          <ac:chgData name="Hu, Frank" userId="d3ad470f-91d8-4bd6-b171-9c10023cc60b" providerId="ADAL" clId="{82700928-24A2-4606-8247-B4B67B74545A}" dt="2023-03-28T09:12:37.829" v="1603" actId="14100"/>
          <ac:spMkLst>
            <pc:docMk/>
            <pc:sldMk cId="524445388" sldId="2147479418"/>
            <ac:spMk id="51" creationId="{3A5922BE-AF84-4858-F98F-D3ADF5E9D782}"/>
          </ac:spMkLst>
        </pc:spChg>
        <pc:spChg chg="mod">
          <ac:chgData name="Hu, Frank" userId="d3ad470f-91d8-4bd6-b171-9c10023cc60b" providerId="ADAL" clId="{82700928-24A2-4606-8247-B4B67B74545A}" dt="2023-03-28T09:12:59.198" v="1620" actId="1036"/>
          <ac:spMkLst>
            <pc:docMk/>
            <pc:sldMk cId="524445388" sldId="2147479418"/>
            <ac:spMk id="53" creationId="{5DF59D4E-5AB9-B744-50C6-87AF873427AD}"/>
          </ac:spMkLst>
        </pc:spChg>
        <pc:spChg chg="mod">
          <ac:chgData name="Hu, Frank" userId="d3ad470f-91d8-4bd6-b171-9c10023cc60b" providerId="ADAL" clId="{82700928-24A2-4606-8247-B4B67B74545A}" dt="2023-03-28T09:12:59.198" v="1620" actId="1036"/>
          <ac:spMkLst>
            <pc:docMk/>
            <pc:sldMk cId="524445388" sldId="2147479418"/>
            <ac:spMk id="59" creationId="{917707B2-0001-BD8E-E073-C4530302A24E}"/>
          </ac:spMkLst>
        </pc:spChg>
        <pc:spChg chg="mod">
          <ac:chgData name="Hu, Frank" userId="d3ad470f-91d8-4bd6-b171-9c10023cc60b" providerId="ADAL" clId="{82700928-24A2-4606-8247-B4B67B74545A}" dt="2023-03-28T09:12:59.198" v="1620" actId="1036"/>
          <ac:spMkLst>
            <pc:docMk/>
            <pc:sldMk cId="524445388" sldId="2147479418"/>
            <ac:spMk id="63" creationId="{A9F87C13-C4E0-CA9B-670E-67F627D4923E}"/>
          </ac:spMkLst>
        </pc:spChg>
        <pc:spChg chg="mod">
          <ac:chgData name="Hu, Frank" userId="d3ad470f-91d8-4bd6-b171-9c10023cc60b" providerId="ADAL" clId="{82700928-24A2-4606-8247-B4B67B74545A}" dt="2023-03-28T09:12:59.198" v="1620" actId="1036"/>
          <ac:spMkLst>
            <pc:docMk/>
            <pc:sldMk cId="524445388" sldId="2147479418"/>
            <ac:spMk id="65" creationId="{007C421A-5AD6-C96F-2A6C-7ACDA5401A3C}"/>
          </ac:spMkLst>
        </pc:spChg>
        <pc:spChg chg="mod">
          <ac:chgData name="Hu, Frank" userId="d3ad470f-91d8-4bd6-b171-9c10023cc60b" providerId="ADAL" clId="{82700928-24A2-4606-8247-B4B67B74545A}" dt="2023-03-28T09:12:59.198" v="1620" actId="1036"/>
          <ac:spMkLst>
            <pc:docMk/>
            <pc:sldMk cId="524445388" sldId="2147479418"/>
            <ac:spMk id="66" creationId="{0E6F4DCC-2A8F-480E-6AB4-0F408EF6436F}"/>
          </ac:spMkLst>
        </pc:spChg>
        <pc:spChg chg="mod">
          <ac:chgData name="Hu, Frank" userId="d3ad470f-91d8-4bd6-b171-9c10023cc60b" providerId="ADAL" clId="{82700928-24A2-4606-8247-B4B67B74545A}" dt="2023-03-28T09:14:16.271" v="1639"/>
          <ac:spMkLst>
            <pc:docMk/>
            <pc:sldMk cId="524445388" sldId="2147479418"/>
            <ac:spMk id="67" creationId="{1073B2A1-DD3D-AEE1-3161-3E7C19D5A545}"/>
          </ac:spMkLst>
        </pc:spChg>
        <pc:spChg chg="mod">
          <ac:chgData name="Hu, Frank" userId="d3ad470f-91d8-4bd6-b171-9c10023cc60b" providerId="ADAL" clId="{82700928-24A2-4606-8247-B4B67B74545A}" dt="2023-03-28T09:12:55.251" v="1604" actId="1076"/>
          <ac:spMkLst>
            <pc:docMk/>
            <pc:sldMk cId="524445388" sldId="2147479418"/>
            <ac:spMk id="70" creationId="{C38DA1F5-78ED-FEA5-3C7C-F1FC0F58458A}"/>
          </ac:spMkLst>
        </pc:spChg>
        <pc:spChg chg="mod">
          <ac:chgData name="Hu, Frank" userId="d3ad470f-91d8-4bd6-b171-9c10023cc60b" providerId="ADAL" clId="{82700928-24A2-4606-8247-B4B67B74545A}" dt="2023-03-28T09:12:55.251" v="1604" actId="1076"/>
          <ac:spMkLst>
            <pc:docMk/>
            <pc:sldMk cId="524445388" sldId="2147479418"/>
            <ac:spMk id="79" creationId="{9FD3D70D-6FCB-8203-C8BC-3F5AEA4F7578}"/>
          </ac:spMkLst>
        </pc:spChg>
        <pc:spChg chg="mod">
          <ac:chgData name="Hu, Frank" userId="d3ad470f-91d8-4bd6-b171-9c10023cc60b" providerId="ADAL" clId="{82700928-24A2-4606-8247-B4B67B74545A}" dt="2023-03-28T09:12:59.198" v="1620" actId="1036"/>
          <ac:spMkLst>
            <pc:docMk/>
            <pc:sldMk cId="524445388" sldId="2147479418"/>
            <ac:spMk id="82" creationId="{31F57416-9915-B9F5-1CCF-FAD1CDB6E292}"/>
          </ac:spMkLst>
        </pc:spChg>
        <pc:spChg chg="mod">
          <ac:chgData name="Hu, Frank" userId="d3ad470f-91d8-4bd6-b171-9c10023cc60b" providerId="ADAL" clId="{82700928-24A2-4606-8247-B4B67B74545A}" dt="2023-03-28T09:12:59.198" v="1620" actId="1036"/>
          <ac:spMkLst>
            <pc:docMk/>
            <pc:sldMk cId="524445388" sldId="2147479418"/>
            <ac:spMk id="85" creationId="{36BA8F19-A4AF-712B-E567-3DF4B4E7CFDE}"/>
          </ac:spMkLst>
        </pc:spChg>
        <pc:spChg chg="mod">
          <ac:chgData name="Hu, Frank" userId="d3ad470f-91d8-4bd6-b171-9c10023cc60b" providerId="ADAL" clId="{82700928-24A2-4606-8247-B4B67B74545A}" dt="2023-03-28T09:12:59.198" v="1620" actId="1036"/>
          <ac:spMkLst>
            <pc:docMk/>
            <pc:sldMk cId="524445388" sldId="2147479418"/>
            <ac:spMk id="90" creationId="{42EC2725-D59C-33E1-CAEB-583FAB645EB1}"/>
          </ac:spMkLst>
        </pc:spChg>
        <pc:spChg chg="mod">
          <ac:chgData name="Hu, Frank" userId="d3ad470f-91d8-4bd6-b171-9c10023cc60b" providerId="ADAL" clId="{82700928-24A2-4606-8247-B4B67B74545A}" dt="2023-03-28T09:14:39.957" v="1645" actId="1076"/>
          <ac:spMkLst>
            <pc:docMk/>
            <pc:sldMk cId="524445388" sldId="2147479418"/>
            <ac:spMk id="91" creationId="{86E8598A-EB41-90C5-329F-7FBD4793845D}"/>
          </ac:spMkLst>
        </pc:spChg>
        <pc:picChg chg="mod">
          <ac:chgData name="Hu, Frank" userId="d3ad470f-91d8-4bd6-b171-9c10023cc60b" providerId="ADAL" clId="{82700928-24A2-4606-8247-B4B67B74545A}" dt="2023-03-28T09:13:38.071" v="1621" actId="1076"/>
          <ac:picMkLst>
            <pc:docMk/>
            <pc:sldMk cId="524445388" sldId="2147479418"/>
            <ac:picMk id="89" creationId="{54507192-5B65-C58D-585B-7F74C3CE990A}"/>
          </ac:picMkLst>
        </pc:picChg>
        <pc:cxnChg chg="mod">
          <ac:chgData name="Hu, Frank" userId="d3ad470f-91d8-4bd6-b171-9c10023cc60b" providerId="ADAL" clId="{82700928-24A2-4606-8247-B4B67B74545A}" dt="2023-03-28T09:12:55.251" v="1604" actId="1076"/>
          <ac:cxnSpMkLst>
            <pc:docMk/>
            <pc:sldMk cId="524445388" sldId="2147479418"/>
            <ac:cxnSpMk id="2" creationId="{804E2CC8-5717-CF3D-D871-EEA731C54D86}"/>
          </ac:cxnSpMkLst>
        </pc:cxnChg>
        <pc:cxnChg chg="mod">
          <ac:chgData name="Hu, Frank" userId="d3ad470f-91d8-4bd6-b171-9c10023cc60b" providerId="ADAL" clId="{82700928-24A2-4606-8247-B4B67B74545A}" dt="2023-03-28T09:12:55.251" v="1604" actId="1076"/>
          <ac:cxnSpMkLst>
            <pc:docMk/>
            <pc:sldMk cId="524445388" sldId="2147479418"/>
            <ac:cxnSpMk id="27" creationId="{CE837971-C2BD-F23A-9AFC-278F9894CA6A}"/>
          </ac:cxnSpMkLst>
        </pc:cxnChg>
        <pc:cxnChg chg="mod">
          <ac:chgData name="Hu, Frank" userId="d3ad470f-91d8-4bd6-b171-9c10023cc60b" providerId="ADAL" clId="{82700928-24A2-4606-8247-B4B67B74545A}" dt="2023-03-28T09:12:55.251" v="1604" actId="1076"/>
          <ac:cxnSpMkLst>
            <pc:docMk/>
            <pc:sldMk cId="524445388" sldId="2147479418"/>
            <ac:cxnSpMk id="31" creationId="{BE3BC2B0-4A8B-8820-203C-AB14DC3732DB}"/>
          </ac:cxnSpMkLst>
        </pc:cxnChg>
        <pc:cxnChg chg="mod">
          <ac:chgData name="Hu, Frank" userId="d3ad470f-91d8-4bd6-b171-9c10023cc60b" providerId="ADAL" clId="{82700928-24A2-4606-8247-B4B67B74545A}" dt="2023-03-28T09:12:59.198" v="1620" actId="1036"/>
          <ac:cxnSpMkLst>
            <pc:docMk/>
            <pc:sldMk cId="524445388" sldId="2147479418"/>
            <ac:cxnSpMk id="68" creationId="{D8A8F338-DB29-FB47-CFE0-D331FA7BFEAA}"/>
          </ac:cxnSpMkLst>
        </pc:cxnChg>
      </pc:sldChg>
      <pc:sldChg chg="addSp delSp modSp mod">
        <pc:chgData name="Hu, Frank" userId="d3ad470f-91d8-4bd6-b171-9c10023cc60b" providerId="ADAL" clId="{82700928-24A2-4606-8247-B4B67B74545A}" dt="2023-03-28T12:59:21.968" v="2005" actId="20577"/>
        <pc:sldMkLst>
          <pc:docMk/>
          <pc:sldMk cId="1202851494" sldId="2147479522"/>
        </pc:sldMkLst>
        <pc:spChg chg="mod">
          <ac:chgData name="Hu, Frank" userId="d3ad470f-91d8-4bd6-b171-9c10023cc60b" providerId="ADAL" clId="{82700928-24A2-4606-8247-B4B67B74545A}" dt="2023-03-28T09:18:55.365" v="1661" actId="1076"/>
          <ac:spMkLst>
            <pc:docMk/>
            <pc:sldMk cId="1202851494" sldId="2147479522"/>
            <ac:spMk id="8" creationId="{4006C696-B2BF-EBB6-34D6-A48F66088230}"/>
          </ac:spMkLst>
        </pc:spChg>
        <pc:spChg chg="mod">
          <ac:chgData name="Hu, Frank" userId="d3ad470f-91d8-4bd6-b171-9c10023cc60b" providerId="ADAL" clId="{82700928-24A2-4606-8247-B4B67B74545A}" dt="2023-03-28T09:19:38.327" v="1677" actId="1076"/>
          <ac:spMkLst>
            <pc:docMk/>
            <pc:sldMk cId="1202851494" sldId="2147479522"/>
            <ac:spMk id="9" creationId="{D8D405E5-2CE5-E3B0-C013-20ACEB2C5F3E}"/>
          </ac:spMkLst>
        </pc:spChg>
        <pc:spChg chg="mod">
          <ac:chgData name="Hu, Frank" userId="d3ad470f-91d8-4bd6-b171-9c10023cc60b" providerId="ADAL" clId="{82700928-24A2-4606-8247-B4B67B74545A}" dt="2023-03-28T09:19:20.247" v="1667" actId="1076"/>
          <ac:spMkLst>
            <pc:docMk/>
            <pc:sldMk cId="1202851494" sldId="2147479522"/>
            <ac:spMk id="10" creationId="{624C0160-30C6-56D0-504C-0F500AEBA9F8}"/>
          </ac:spMkLst>
        </pc:spChg>
        <pc:spChg chg="mod">
          <ac:chgData name="Hu, Frank" userId="d3ad470f-91d8-4bd6-b171-9c10023cc60b" providerId="ADAL" clId="{82700928-24A2-4606-8247-B4B67B74545A}" dt="2023-03-28T09:22:41.517" v="1688" actId="1076"/>
          <ac:spMkLst>
            <pc:docMk/>
            <pc:sldMk cId="1202851494" sldId="2147479522"/>
            <ac:spMk id="11" creationId="{D8FA2269-53F3-05A4-C243-32146B040DDE}"/>
          </ac:spMkLst>
        </pc:spChg>
        <pc:spChg chg="mod">
          <ac:chgData name="Hu, Frank" userId="d3ad470f-91d8-4bd6-b171-9c10023cc60b" providerId="ADAL" clId="{82700928-24A2-4606-8247-B4B67B74545A}" dt="2023-03-28T09:19:58.470" v="1681" actId="1076"/>
          <ac:spMkLst>
            <pc:docMk/>
            <pc:sldMk cId="1202851494" sldId="2147479522"/>
            <ac:spMk id="12" creationId="{B122236F-8374-86D6-A687-6721E67A7A1F}"/>
          </ac:spMkLst>
        </pc:spChg>
        <pc:spChg chg="add mod">
          <ac:chgData name="Hu, Frank" userId="d3ad470f-91d8-4bd6-b171-9c10023cc60b" providerId="ADAL" clId="{82700928-24A2-4606-8247-B4B67B74545A}" dt="2023-03-28T09:18:49.808" v="1660" actId="692"/>
          <ac:spMkLst>
            <pc:docMk/>
            <pc:sldMk cId="1202851494" sldId="2147479522"/>
            <ac:spMk id="13" creationId="{2423C592-7F49-4179-7154-14A9AE9F0173}"/>
          </ac:spMkLst>
        </pc:spChg>
        <pc:spChg chg="add mod">
          <ac:chgData name="Hu, Frank" userId="d3ad470f-91d8-4bd6-b171-9c10023cc60b" providerId="ADAL" clId="{82700928-24A2-4606-8247-B4B67B74545A}" dt="2023-03-28T09:19:32.327" v="1676" actId="1076"/>
          <ac:spMkLst>
            <pc:docMk/>
            <pc:sldMk cId="1202851494" sldId="2147479522"/>
            <ac:spMk id="14" creationId="{243548B2-AEED-D14E-7E14-E18D83BE1E37}"/>
          </ac:spMkLst>
        </pc:spChg>
        <pc:spChg chg="add mod">
          <ac:chgData name="Hu, Frank" userId="d3ad470f-91d8-4bd6-b171-9c10023cc60b" providerId="ADAL" clId="{82700928-24A2-4606-8247-B4B67B74545A}" dt="2023-03-28T09:22:33.870" v="1687" actId="14100"/>
          <ac:spMkLst>
            <pc:docMk/>
            <pc:sldMk cId="1202851494" sldId="2147479522"/>
            <ac:spMk id="15" creationId="{6C8752D7-7FAB-F79E-72EB-76D427A015D9}"/>
          </ac:spMkLst>
        </pc:spChg>
        <pc:spChg chg="mod">
          <ac:chgData name="Hu, Frank" userId="d3ad470f-91d8-4bd6-b171-9c10023cc60b" providerId="ADAL" clId="{82700928-24A2-4606-8247-B4B67B74545A}" dt="2023-03-28T12:59:21.968" v="2005" actId="20577"/>
          <ac:spMkLst>
            <pc:docMk/>
            <pc:sldMk cId="1202851494" sldId="2147479522"/>
            <ac:spMk id="182" creationId="{278D26E1-09E9-BCE9-280C-DD643470C382}"/>
          </ac:spMkLst>
        </pc:spChg>
        <pc:grpChg chg="mod">
          <ac:chgData name="Hu, Frank" userId="d3ad470f-91d8-4bd6-b171-9c10023cc60b" providerId="ADAL" clId="{82700928-24A2-4606-8247-B4B67B74545A}" dt="2023-03-28T09:22:10.551" v="1684" actId="1076"/>
          <ac:grpSpMkLst>
            <pc:docMk/>
            <pc:sldMk cId="1202851494" sldId="2147479522"/>
            <ac:grpSpMk id="7" creationId="{E19EEEBA-2D9C-F7A6-6571-AE1162D60129}"/>
          </ac:grpSpMkLst>
        </pc:grpChg>
        <pc:graphicFrameChg chg="del mod">
          <ac:chgData name="Hu, Frank" userId="d3ad470f-91d8-4bd6-b171-9c10023cc60b" providerId="ADAL" clId="{82700928-24A2-4606-8247-B4B67B74545A}" dt="2023-03-28T09:17:48.748" v="1655" actId="18245"/>
          <ac:graphicFrameMkLst>
            <pc:docMk/>
            <pc:sldMk cId="1202851494" sldId="2147479522"/>
            <ac:graphicFrameMk id="193" creationId="{7B7B7FD0-AE92-93D8-2A8C-CE8B020BB229}"/>
          </ac:graphicFrameMkLst>
        </pc:graphicFrameChg>
      </pc:sldChg>
      <pc:sldChg chg="delSp modSp mod">
        <pc:chgData name="Hu, Frank" userId="d3ad470f-91d8-4bd6-b171-9c10023cc60b" providerId="ADAL" clId="{82700928-24A2-4606-8247-B4B67B74545A}" dt="2023-03-29T05:44:49.008" v="2028" actId="14100"/>
        <pc:sldMkLst>
          <pc:docMk/>
          <pc:sldMk cId="1227745755" sldId="2147479585"/>
        </pc:sldMkLst>
        <pc:spChg chg="del mod">
          <ac:chgData name="Hu, Frank" userId="d3ad470f-91d8-4bd6-b171-9c10023cc60b" providerId="ADAL" clId="{82700928-24A2-4606-8247-B4B67B74545A}" dt="2023-03-29T05:44:41.924" v="2027" actId="478"/>
          <ac:spMkLst>
            <pc:docMk/>
            <pc:sldMk cId="1227745755" sldId="2147479585"/>
            <ac:spMk id="92" creationId="{21B584A7-9492-8F39-C7FD-B951E2115A83}"/>
          </ac:spMkLst>
        </pc:spChg>
        <pc:spChg chg="mod">
          <ac:chgData name="Hu, Frank" userId="d3ad470f-91d8-4bd6-b171-9c10023cc60b" providerId="ADAL" clId="{82700928-24A2-4606-8247-B4B67B74545A}" dt="2023-03-29T05:44:49.008" v="2028" actId="14100"/>
          <ac:spMkLst>
            <pc:docMk/>
            <pc:sldMk cId="1227745755" sldId="2147479585"/>
            <ac:spMk id="94" creationId="{3D68DA91-999E-AC87-6CE0-4B086500086F}"/>
          </ac:spMkLst>
        </pc:spChg>
      </pc:sldChg>
      <pc:sldChg chg="modSp mod">
        <pc:chgData name="Hu, Frank" userId="d3ad470f-91d8-4bd6-b171-9c10023cc60b" providerId="ADAL" clId="{82700928-24A2-4606-8247-B4B67B74545A}" dt="2023-03-29T05:41:18.416" v="2008" actId="14100"/>
        <pc:sldMkLst>
          <pc:docMk/>
          <pc:sldMk cId="228772253" sldId="2147479586"/>
        </pc:sldMkLst>
        <pc:graphicFrameChg chg="modGraphic">
          <ac:chgData name="Hu, Frank" userId="d3ad470f-91d8-4bd6-b171-9c10023cc60b" providerId="ADAL" clId="{82700928-24A2-4606-8247-B4B67B74545A}" dt="2023-03-29T05:41:18.416" v="2008" actId="14100"/>
          <ac:graphicFrameMkLst>
            <pc:docMk/>
            <pc:sldMk cId="228772253" sldId="2147479586"/>
            <ac:graphicFrameMk id="17" creationId="{98286A7B-A899-A30A-F56C-573400038B2D}"/>
          </ac:graphicFrameMkLst>
        </pc:graphicFrameChg>
      </pc:sldChg>
      <pc:sldChg chg="addSp delSp modSp new mod">
        <pc:chgData name="Hu, Frank" userId="d3ad470f-91d8-4bd6-b171-9c10023cc60b" providerId="ADAL" clId="{82700928-24A2-4606-8247-B4B67B74545A}" dt="2023-03-28T07:29:50.425" v="1091" actId="20577"/>
        <pc:sldMkLst>
          <pc:docMk/>
          <pc:sldMk cId="2873784161" sldId="2147479587"/>
        </pc:sldMkLst>
        <pc:spChg chg="mod">
          <ac:chgData name="Hu, Frank" userId="d3ad470f-91d8-4bd6-b171-9c10023cc60b" providerId="ADAL" clId="{82700928-24A2-4606-8247-B4B67B74545A}" dt="2023-03-28T06:54:02.835" v="417" actId="20577"/>
          <ac:spMkLst>
            <pc:docMk/>
            <pc:sldMk cId="2873784161" sldId="2147479587"/>
            <ac:spMk id="2" creationId="{BC490A35-1DC8-9744-73AA-9460F2D0B0A7}"/>
          </ac:spMkLst>
        </pc:spChg>
        <pc:spChg chg="add del">
          <ac:chgData name="Hu, Frank" userId="d3ad470f-91d8-4bd6-b171-9c10023cc60b" providerId="ADAL" clId="{82700928-24A2-4606-8247-B4B67B74545A}" dt="2023-03-28T06:52:26.146" v="346" actId="22"/>
          <ac:spMkLst>
            <pc:docMk/>
            <pc:sldMk cId="2873784161" sldId="2147479587"/>
            <ac:spMk id="11" creationId="{DD33D3E7-045B-E6A8-D189-A274A99F7E09}"/>
          </ac:spMkLst>
        </pc:spChg>
        <pc:spChg chg="add mod">
          <ac:chgData name="Hu, Frank" userId="d3ad470f-91d8-4bd6-b171-9c10023cc60b" providerId="ADAL" clId="{82700928-24A2-4606-8247-B4B67B74545A}" dt="2023-03-28T06:52:30.225" v="347"/>
          <ac:spMkLst>
            <pc:docMk/>
            <pc:sldMk cId="2873784161" sldId="2147479587"/>
            <ac:spMk id="12" creationId="{6805438A-39FD-E742-4214-D39DC16A347A}"/>
          </ac:spMkLst>
        </pc:spChg>
        <pc:spChg chg="add del mod">
          <ac:chgData name="Hu, Frank" userId="d3ad470f-91d8-4bd6-b171-9c10023cc60b" providerId="ADAL" clId="{82700928-24A2-4606-8247-B4B67B74545A}" dt="2023-03-28T06:54:14.580" v="420"/>
          <ac:spMkLst>
            <pc:docMk/>
            <pc:sldMk cId="2873784161" sldId="2147479587"/>
            <ac:spMk id="13" creationId="{6DF8C3B3-B541-B6CC-8EC4-E173B1C3B2CE}"/>
          </ac:spMkLst>
        </pc:spChg>
        <pc:spChg chg="add del mod">
          <ac:chgData name="Hu, Frank" userId="d3ad470f-91d8-4bd6-b171-9c10023cc60b" providerId="ADAL" clId="{82700928-24A2-4606-8247-B4B67B74545A}" dt="2023-03-28T06:54:27.516" v="423" actId="478"/>
          <ac:spMkLst>
            <pc:docMk/>
            <pc:sldMk cId="2873784161" sldId="2147479587"/>
            <ac:spMk id="14" creationId="{0C494A87-CD5B-5D66-BD58-16CC05C77052}"/>
          </ac:spMkLst>
        </pc:spChg>
        <pc:spChg chg="add del mod">
          <ac:chgData name="Hu, Frank" userId="d3ad470f-91d8-4bd6-b171-9c10023cc60b" providerId="ADAL" clId="{82700928-24A2-4606-8247-B4B67B74545A}" dt="2023-03-28T06:55:35.013" v="444" actId="478"/>
          <ac:spMkLst>
            <pc:docMk/>
            <pc:sldMk cId="2873784161" sldId="2147479587"/>
            <ac:spMk id="15" creationId="{F3B4B97C-509B-B5E8-4FB8-8F5A124B810B}"/>
          </ac:spMkLst>
        </pc:spChg>
        <pc:spChg chg="add mod ord">
          <ac:chgData name="Hu, Frank" userId="d3ad470f-91d8-4bd6-b171-9c10023cc60b" providerId="ADAL" clId="{82700928-24A2-4606-8247-B4B67B74545A}" dt="2023-03-28T06:58:53.565" v="468" actId="164"/>
          <ac:spMkLst>
            <pc:docMk/>
            <pc:sldMk cId="2873784161" sldId="2147479587"/>
            <ac:spMk id="16" creationId="{8C17EFF0-CFD9-FA4B-C8C5-6A9CFF7956D0}"/>
          </ac:spMkLst>
        </pc:spChg>
        <pc:spChg chg="add mod">
          <ac:chgData name="Hu, Frank" userId="d3ad470f-91d8-4bd6-b171-9c10023cc60b" providerId="ADAL" clId="{82700928-24A2-4606-8247-B4B67B74545A}" dt="2023-03-28T06:58:53.565" v="468" actId="164"/>
          <ac:spMkLst>
            <pc:docMk/>
            <pc:sldMk cId="2873784161" sldId="2147479587"/>
            <ac:spMk id="17" creationId="{706AC868-DD21-D3B7-6835-9CD944CC6D63}"/>
          </ac:spMkLst>
        </pc:spChg>
        <pc:spChg chg="add mod ord">
          <ac:chgData name="Hu, Frank" userId="d3ad470f-91d8-4bd6-b171-9c10023cc60b" providerId="ADAL" clId="{82700928-24A2-4606-8247-B4B67B74545A}" dt="2023-03-28T07:03:20.369" v="521" actId="1076"/>
          <ac:spMkLst>
            <pc:docMk/>
            <pc:sldMk cId="2873784161" sldId="2147479587"/>
            <ac:spMk id="23" creationId="{6E2A71FF-8D45-44C5-8A49-496CDABBBA8C}"/>
          </ac:spMkLst>
        </pc:spChg>
        <pc:spChg chg="add del mod">
          <ac:chgData name="Hu, Frank" userId="d3ad470f-91d8-4bd6-b171-9c10023cc60b" providerId="ADAL" clId="{82700928-24A2-4606-8247-B4B67B74545A}" dt="2023-03-28T07:01:47.372" v="499" actId="478"/>
          <ac:spMkLst>
            <pc:docMk/>
            <pc:sldMk cId="2873784161" sldId="2147479587"/>
            <ac:spMk id="24" creationId="{13DD2286-3ED4-7B0A-689D-C72E9EFA607E}"/>
          </ac:spMkLst>
        </pc:spChg>
        <pc:spChg chg="add del mod">
          <ac:chgData name="Hu, Frank" userId="d3ad470f-91d8-4bd6-b171-9c10023cc60b" providerId="ADAL" clId="{82700928-24A2-4606-8247-B4B67B74545A}" dt="2023-03-28T07:17:51.047" v="854" actId="478"/>
          <ac:spMkLst>
            <pc:docMk/>
            <pc:sldMk cId="2873784161" sldId="2147479587"/>
            <ac:spMk id="29" creationId="{72280650-2E23-8E16-A262-9EC31E70E9A9}"/>
          </ac:spMkLst>
        </pc:spChg>
        <pc:spChg chg="add mod">
          <ac:chgData name="Hu, Frank" userId="d3ad470f-91d8-4bd6-b171-9c10023cc60b" providerId="ADAL" clId="{82700928-24A2-4606-8247-B4B67B74545A}" dt="2023-03-28T07:29:50.425" v="1091" actId="20577"/>
          <ac:spMkLst>
            <pc:docMk/>
            <pc:sldMk cId="2873784161" sldId="2147479587"/>
            <ac:spMk id="30" creationId="{7E5DEF78-6C94-D3E2-E651-C4BE8001383F}"/>
          </ac:spMkLst>
        </pc:spChg>
        <pc:grpChg chg="add mod">
          <ac:chgData name="Hu, Frank" userId="d3ad470f-91d8-4bd6-b171-9c10023cc60b" providerId="ADAL" clId="{82700928-24A2-4606-8247-B4B67B74545A}" dt="2023-03-28T06:59:53.567" v="483" actId="1076"/>
          <ac:grpSpMkLst>
            <pc:docMk/>
            <pc:sldMk cId="2873784161" sldId="2147479587"/>
            <ac:grpSpMk id="22" creationId="{BF978599-CD15-100E-450E-46D4379B1710}"/>
          </ac:grpSpMkLst>
        </pc:grpChg>
        <pc:picChg chg="add del mod">
          <ac:chgData name="Hu, Frank" userId="d3ad470f-91d8-4bd6-b171-9c10023cc60b" providerId="ADAL" clId="{82700928-24A2-4606-8247-B4B67B74545A}" dt="2023-03-28T06:51:47.119" v="331" actId="478"/>
          <ac:picMkLst>
            <pc:docMk/>
            <pc:sldMk cId="2873784161" sldId="2147479587"/>
            <ac:picMk id="5" creationId="{94106197-8785-92A5-3D76-4E20114A7EF6}"/>
          </ac:picMkLst>
        </pc:picChg>
        <pc:picChg chg="add del">
          <ac:chgData name="Hu, Frank" userId="d3ad470f-91d8-4bd6-b171-9c10023cc60b" providerId="ADAL" clId="{82700928-24A2-4606-8247-B4B67B74545A}" dt="2023-03-28T06:51:49.438" v="333" actId="22"/>
          <ac:picMkLst>
            <pc:docMk/>
            <pc:sldMk cId="2873784161" sldId="2147479587"/>
            <ac:picMk id="7" creationId="{BB5D012B-5BC8-D3FA-B24F-654CA19525F5}"/>
          </ac:picMkLst>
        </pc:picChg>
        <pc:picChg chg="add mod">
          <ac:chgData name="Hu, Frank" userId="d3ad470f-91d8-4bd6-b171-9c10023cc60b" providerId="ADAL" clId="{82700928-24A2-4606-8247-B4B67B74545A}" dt="2023-03-28T07:03:15.382" v="520" actId="1076"/>
          <ac:picMkLst>
            <pc:docMk/>
            <pc:sldMk cId="2873784161" sldId="2147479587"/>
            <ac:picMk id="9" creationId="{9B67CC98-FDA8-04F6-4FD2-426F57A25258}"/>
          </ac:picMkLst>
        </pc:picChg>
        <pc:picChg chg="add del mod">
          <ac:chgData name="Hu, Frank" userId="d3ad470f-91d8-4bd6-b171-9c10023cc60b" providerId="ADAL" clId="{82700928-24A2-4606-8247-B4B67B74545A}" dt="2023-03-28T06:58:10.419" v="461" actId="478"/>
          <ac:picMkLst>
            <pc:docMk/>
            <pc:sldMk cId="2873784161" sldId="2147479587"/>
            <ac:picMk id="19" creationId="{947DC235-01D6-92AE-1F40-AE5534C2EA0D}"/>
          </ac:picMkLst>
        </pc:picChg>
        <pc:picChg chg="add mod">
          <ac:chgData name="Hu, Frank" userId="d3ad470f-91d8-4bd6-b171-9c10023cc60b" providerId="ADAL" clId="{82700928-24A2-4606-8247-B4B67B74545A}" dt="2023-03-28T07:01:08.702" v="492" actId="1076"/>
          <ac:picMkLst>
            <pc:docMk/>
            <pc:sldMk cId="2873784161" sldId="2147479587"/>
            <ac:picMk id="21" creationId="{260A1E88-8799-E5D9-C630-91BE16EF1C5C}"/>
          </ac:picMkLst>
        </pc:picChg>
        <pc:cxnChg chg="add mod">
          <ac:chgData name="Hu, Frank" userId="d3ad470f-91d8-4bd6-b171-9c10023cc60b" providerId="ADAL" clId="{82700928-24A2-4606-8247-B4B67B74545A}" dt="2023-03-28T07:03:25.831" v="522" actId="14100"/>
          <ac:cxnSpMkLst>
            <pc:docMk/>
            <pc:sldMk cId="2873784161" sldId="2147479587"/>
            <ac:cxnSpMk id="26" creationId="{53F78E04-E2D4-1CDC-1176-3FA130404CF3}"/>
          </ac:cxnSpMkLst>
        </pc:cxnChg>
      </pc:sldChg>
      <pc:sldChg chg="addSp delSp modSp add mod">
        <pc:chgData name="Hu, Frank" userId="d3ad470f-91d8-4bd6-b171-9c10023cc60b" providerId="ADAL" clId="{82700928-24A2-4606-8247-B4B67B74545A}" dt="2023-03-28T07:29:38.760" v="1084" actId="1076"/>
        <pc:sldMkLst>
          <pc:docMk/>
          <pc:sldMk cId="435103073" sldId="2147479588"/>
        </pc:sldMkLst>
        <pc:spChg chg="mod">
          <ac:chgData name="Hu, Frank" userId="d3ad470f-91d8-4bd6-b171-9c10023cc60b" providerId="ADAL" clId="{82700928-24A2-4606-8247-B4B67B74545A}" dt="2023-03-28T07:17:59.985" v="860" actId="20577"/>
          <ac:spMkLst>
            <pc:docMk/>
            <pc:sldMk cId="435103073" sldId="2147479588"/>
            <ac:spMk id="2" creationId="{BC490A35-1DC8-9744-73AA-9460F2D0B0A7}"/>
          </ac:spMkLst>
        </pc:spChg>
        <pc:spChg chg="add mod">
          <ac:chgData name="Hu, Frank" userId="d3ad470f-91d8-4bd6-b171-9c10023cc60b" providerId="ADAL" clId="{82700928-24A2-4606-8247-B4B67B74545A}" dt="2023-03-28T07:29:33.881" v="1082" actId="14100"/>
          <ac:spMkLst>
            <pc:docMk/>
            <pc:sldMk cId="435103073" sldId="2147479588"/>
            <ac:spMk id="5" creationId="{24CF1438-BD00-0DC0-5825-D8E137AC727B}"/>
          </ac:spMkLst>
        </pc:spChg>
        <pc:spChg chg="del">
          <ac:chgData name="Hu, Frank" userId="d3ad470f-91d8-4bd6-b171-9c10023cc60b" providerId="ADAL" clId="{82700928-24A2-4606-8247-B4B67B74545A}" dt="2023-03-28T07:18:49.425" v="865" actId="478"/>
          <ac:spMkLst>
            <pc:docMk/>
            <pc:sldMk cId="435103073" sldId="2147479588"/>
            <ac:spMk id="23" creationId="{6E2A71FF-8D45-44C5-8A49-496CDABBBA8C}"/>
          </ac:spMkLst>
        </pc:spChg>
        <pc:spChg chg="del mod">
          <ac:chgData name="Hu, Frank" userId="d3ad470f-91d8-4bd6-b171-9c10023cc60b" providerId="ADAL" clId="{82700928-24A2-4606-8247-B4B67B74545A}" dt="2023-03-28T07:18:50.618" v="866" actId="478"/>
          <ac:spMkLst>
            <pc:docMk/>
            <pc:sldMk cId="435103073" sldId="2147479588"/>
            <ac:spMk id="29" creationId="{72280650-2E23-8E16-A262-9EC31E70E9A9}"/>
          </ac:spMkLst>
        </pc:spChg>
        <pc:grpChg chg="del">
          <ac:chgData name="Hu, Frank" userId="d3ad470f-91d8-4bd6-b171-9c10023cc60b" providerId="ADAL" clId="{82700928-24A2-4606-8247-B4B67B74545A}" dt="2023-03-28T07:18:44.380" v="862" actId="478"/>
          <ac:grpSpMkLst>
            <pc:docMk/>
            <pc:sldMk cId="435103073" sldId="2147479588"/>
            <ac:grpSpMk id="22" creationId="{BF978599-CD15-100E-450E-46D4379B1710}"/>
          </ac:grpSpMkLst>
        </pc:grpChg>
        <pc:picChg chg="add mod">
          <ac:chgData name="Hu, Frank" userId="d3ad470f-91d8-4bd6-b171-9c10023cc60b" providerId="ADAL" clId="{82700928-24A2-4606-8247-B4B67B74545A}" dt="2023-03-28T07:29:38.760" v="1084" actId="1076"/>
          <ac:picMkLst>
            <pc:docMk/>
            <pc:sldMk cId="435103073" sldId="2147479588"/>
            <ac:picMk id="4" creationId="{B0D0FEC2-7CBD-4D56-B9A1-65430E61B2E3}"/>
          </ac:picMkLst>
        </pc:picChg>
        <pc:picChg chg="del">
          <ac:chgData name="Hu, Frank" userId="d3ad470f-91d8-4bd6-b171-9c10023cc60b" providerId="ADAL" clId="{82700928-24A2-4606-8247-B4B67B74545A}" dt="2023-03-28T07:18:03.515" v="861" actId="478"/>
          <ac:picMkLst>
            <pc:docMk/>
            <pc:sldMk cId="435103073" sldId="2147479588"/>
            <ac:picMk id="9" creationId="{9B67CC98-FDA8-04F6-4FD2-426F57A25258}"/>
          </ac:picMkLst>
        </pc:picChg>
        <pc:picChg chg="del">
          <ac:chgData name="Hu, Frank" userId="d3ad470f-91d8-4bd6-b171-9c10023cc60b" providerId="ADAL" clId="{82700928-24A2-4606-8247-B4B67B74545A}" dt="2023-03-28T07:18:46.876" v="863" actId="478"/>
          <ac:picMkLst>
            <pc:docMk/>
            <pc:sldMk cId="435103073" sldId="2147479588"/>
            <ac:picMk id="21" creationId="{260A1E88-8799-E5D9-C630-91BE16EF1C5C}"/>
          </ac:picMkLst>
        </pc:picChg>
        <pc:cxnChg chg="del mod">
          <ac:chgData name="Hu, Frank" userId="d3ad470f-91d8-4bd6-b171-9c10023cc60b" providerId="ADAL" clId="{82700928-24A2-4606-8247-B4B67B74545A}" dt="2023-03-28T07:18:48.182" v="864" actId="478"/>
          <ac:cxnSpMkLst>
            <pc:docMk/>
            <pc:sldMk cId="435103073" sldId="2147479588"/>
            <ac:cxnSpMk id="26" creationId="{53F78E04-E2D4-1CDC-1176-3FA130404CF3}"/>
          </ac:cxnSpMkLst>
        </pc:cxnChg>
      </pc:sldChg>
      <pc:sldChg chg="modSp add del">
        <pc:chgData name="Hu, Frank" userId="d3ad470f-91d8-4bd6-b171-9c10023cc60b" providerId="ADAL" clId="{82700928-24A2-4606-8247-B4B67B74545A}" dt="2023-03-28T07:18:53.212" v="868"/>
        <pc:sldMkLst>
          <pc:docMk/>
          <pc:sldMk cId="3751211805" sldId="2147479590"/>
        </pc:sldMkLst>
        <pc:spChg chg="mod">
          <ac:chgData name="Hu, Frank" userId="d3ad470f-91d8-4bd6-b171-9c10023cc60b" providerId="ADAL" clId="{82700928-24A2-4606-8247-B4B67B74545A}" dt="2023-03-28T07:18:51.806" v="867"/>
          <ac:spMkLst>
            <pc:docMk/>
            <pc:sldMk cId="3751211805" sldId="2147479590"/>
            <ac:spMk id="2" creationId="{F1D91D5C-B54B-17A2-28A9-A31674B734FF}"/>
          </ac:spMkLst>
        </pc:spChg>
      </pc:sldChg>
    </pc:docChg>
  </pc:docChgLst>
  <pc:docChgLst>
    <pc:chgData name="Hu, Frank" userId="d3ad470f-91d8-4bd6-b171-9c10023cc60b" providerId="ADAL" clId="{4318B471-A1F0-4F65-94FE-F3B7A4C701AA}"/>
    <pc:docChg chg="undo custSel addSld delSld modSld sldOrd">
      <pc:chgData name="Hu, Frank" userId="d3ad470f-91d8-4bd6-b171-9c10023cc60b" providerId="ADAL" clId="{4318B471-A1F0-4F65-94FE-F3B7A4C701AA}" dt="2023-03-27T07:50:08.721" v="4242" actId="20577"/>
      <pc:docMkLst>
        <pc:docMk/>
      </pc:docMkLst>
      <pc:sldChg chg="addSp delSp modSp add mod">
        <pc:chgData name="Hu, Frank" userId="d3ad470f-91d8-4bd6-b171-9c10023cc60b" providerId="ADAL" clId="{4318B471-A1F0-4F65-94FE-F3B7A4C701AA}" dt="2023-03-27T07:24:17.260" v="3971" actId="14100"/>
        <pc:sldMkLst>
          <pc:docMk/>
          <pc:sldMk cId="1401306855" sldId="2147474143"/>
        </pc:sldMkLst>
        <pc:spChg chg="mod">
          <ac:chgData name="Hu, Frank" userId="d3ad470f-91d8-4bd6-b171-9c10023cc60b" providerId="ADAL" clId="{4318B471-A1F0-4F65-94FE-F3B7A4C701AA}" dt="2023-03-22T12:02:13.232" v="58"/>
          <ac:spMkLst>
            <pc:docMk/>
            <pc:sldMk cId="1401306855" sldId="2147474143"/>
            <ac:spMk id="2" creationId="{5772FA23-052F-EDA0-D08F-AEA00568E9A0}"/>
          </ac:spMkLst>
        </pc:spChg>
        <pc:spChg chg="mod">
          <ac:chgData name="Hu, Frank" userId="d3ad470f-91d8-4bd6-b171-9c10023cc60b" providerId="ADAL" clId="{4318B471-A1F0-4F65-94FE-F3B7A4C701AA}" dt="2023-03-22T12:17:37.405" v="610" actId="6549"/>
          <ac:spMkLst>
            <pc:docMk/>
            <pc:sldMk cId="1401306855" sldId="2147474143"/>
            <ac:spMk id="3" creationId="{70FA95E4-14A9-A0D5-F0DF-339A223CE8A8}"/>
          </ac:spMkLst>
        </pc:spChg>
        <pc:spChg chg="del mod">
          <ac:chgData name="Hu, Frank" userId="d3ad470f-91d8-4bd6-b171-9c10023cc60b" providerId="ADAL" clId="{4318B471-A1F0-4F65-94FE-F3B7A4C701AA}" dt="2023-03-27T06:07:10.020" v="3497" actId="478"/>
          <ac:spMkLst>
            <pc:docMk/>
            <pc:sldMk cId="1401306855" sldId="2147474143"/>
            <ac:spMk id="4" creationId="{DF317090-53B9-AE26-2086-326121BC63CD}"/>
          </ac:spMkLst>
        </pc:spChg>
        <pc:spChg chg="del">
          <ac:chgData name="Hu, Frank" userId="d3ad470f-91d8-4bd6-b171-9c10023cc60b" providerId="ADAL" clId="{4318B471-A1F0-4F65-94FE-F3B7A4C701AA}" dt="2023-03-22T12:10:02.031" v="360" actId="478"/>
          <ac:spMkLst>
            <pc:docMk/>
            <pc:sldMk cId="1401306855" sldId="2147474143"/>
            <ac:spMk id="5" creationId="{1B273BBE-E1FE-BCA7-6D80-736A2E93585A}"/>
          </ac:spMkLst>
        </pc:spChg>
        <pc:spChg chg="add mod">
          <ac:chgData name="Hu, Frank" userId="d3ad470f-91d8-4bd6-b171-9c10023cc60b" providerId="ADAL" clId="{4318B471-A1F0-4F65-94FE-F3B7A4C701AA}" dt="2023-03-27T06:07:10.468" v="3498"/>
          <ac:spMkLst>
            <pc:docMk/>
            <pc:sldMk cId="1401306855" sldId="2147474143"/>
            <ac:spMk id="5" creationId="{C002A8CC-9B0D-F7CA-4011-65381DF884A9}"/>
          </ac:spMkLst>
        </pc:spChg>
        <pc:spChg chg="mod">
          <ac:chgData name="Hu, Frank" userId="d3ad470f-91d8-4bd6-b171-9c10023cc60b" providerId="ADAL" clId="{4318B471-A1F0-4F65-94FE-F3B7A4C701AA}" dt="2023-03-22T12:36:23.558" v="1278" actId="554"/>
          <ac:spMkLst>
            <pc:docMk/>
            <pc:sldMk cId="1401306855" sldId="2147474143"/>
            <ac:spMk id="6" creationId="{49467AF0-7DE2-475A-BA33-EE3EF15DFF95}"/>
          </ac:spMkLst>
        </pc:spChg>
        <pc:spChg chg="add mod">
          <ac:chgData name="Hu, Frank" userId="d3ad470f-91d8-4bd6-b171-9c10023cc60b" providerId="ADAL" clId="{4318B471-A1F0-4F65-94FE-F3B7A4C701AA}" dt="2023-03-27T07:24:13.011" v="3969" actId="14100"/>
          <ac:spMkLst>
            <pc:docMk/>
            <pc:sldMk cId="1401306855" sldId="2147474143"/>
            <ac:spMk id="7" creationId="{6F019FBC-3DF3-6E16-03F3-FDFF7078CC06}"/>
          </ac:spMkLst>
        </pc:spChg>
        <pc:spChg chg="mod">
          <ac:chgData name="Hu, Frank" userId="d3ad470f-91d8-4bd6-b171-9c10023cc60b" providerId="ADAL" clId="{4318B471-A1F0-4F65-94FE-F3B7A4C701AA}" dt="2023-03-27T07:24:17.260" v="3971" actId="14100"/>
          <ac:spMkLst>
            <pc:docMk/>
            <pc:sldMk cId="1401306855" sldId="2147474143"/>
            <ac:spMk id="8" creationId="{7D08560C-680D-4624-8444-1FCB0D88A9AD}"/>
          </ac:spMkLst>
        </pc:spChg>
        <pc:spChg chg="add mod">
          <ac:chgData name="Hu, Frank" userId="d3ad470f-91d8-4bd6-b171-9c10023cc60b" providerId="ADAL" clId="{4318B471-A1F0-4F65-94FE-F3B7A4C701AA}" dt="2023-03-22T12:36:31.373" v="1280" actId="554"/>
          <ac:spMkLst>
            <pc:docMk/>
            <pc:sldMk cId="1401306855" sldId="2147474143"/>
            <ac:spMk id="9" creationId="{3CF1AEA4-A8EF-6306-8C78-DA96A62FCD52}"/>
          </ac:spMkLst>
        </pc:spChg>
        <pc:spChg chg="del mod">
          <ac:chgData name="Hu, Frank" userId="d3ad470f-91d8-4bd6-b171-9c10023cc60b" providerId="ADAL" clId="{4318B471-A1F0-4F65-94FE-F3B7A4C701AA}" dt="2023-03-22T12:03:59.319" v="157" actId="478"/>
          <ac:spMkLst>
            <pc:docMk/>
            <pc:sldMk cId="1401306855" sldId="2147474143"/>
            <ac:spMk id="10" creationId="{2EF74CA9-F07E-4449-AC10-0ABCFBFDEE83}"/>
          </ac:spMkLst>
        </pc:spChg>
        <pc:spChg chg="del">
          <ac:chgData name="Hu, Frank" userId="d3ad470f-91d8-4bd6-b171-9c10023cc60b" providerId="ADAL" clId="{4318B471-A1F0-4F65-94FE-F3B7A4C701AA}" dt="2023-03-22T12:03:17.549" v="118" actId="478"/>
          <ac:spMkLst>
            <pc:docMk/>
            <pc:sldMk cId="1401306855" sldId="2147474143"/>
            <ac:spMk id="11" creationId="{11B02C02-9B92-4CA8-B3A3-68ACBAAE7A47}"/>
          </ac:spMkLst>
        </pc:spChg>
        <pc:spChg chg="mod">
          <ac:chgData name="Hu, Frank" userId="d3ad470f-91d8-4bd6-b171-9c10023cc60b" providerId="ADAL" clId="{4318B471-A1F0-4F65-94FE-F3B7A4C701AA}" dt="2023-03-27T07:22:48.845" v="3901" actId="20577"/>
          <ac:spMkLst>
            <pc:docMk/>
            <pc:sldMk cId="1401306855" sldId="2147474143"/>
            <ac:spMk id="12" creationId="{951067CE-B99A-4F8B-939E-EB6DB153D46E}"/>
          </ac:spMkLst>
        </pc:spChg>
        <pc:spChg chg="mod">
          <ac:chgData name="Hu, Frank" userId="d3ad470f-91d8-4bd6-b171-9c10023cc60b" providerId="ADAL" clId="{4318B471-A1F0-4F65-94FE-F3B7A4C701AA}" dt="2023-03-22T12:17:43.530" v="625" actId="20577"/>
          <ac:spMkLst>
            <pc:docMk/>
            <pc:sldMk cId="1401306855" sldId="2147474143"/>
            <ac:spMk id="13" creationId="{5F2F610C-1C8C-460E-89B4-C2CE99A78C5E}"/>
          </ac:spMkLst>
        </pc:spChg>
        <pc:spChg chg="add mod">
          <ac:chgData name="Hu, Frank" userId="d3ad470f-91d8-4bd6-b171-9c10023cc60b" providerId="ADAL" clId="{4318B471-A1F0-4F65-94FE-F3B7A4C701AA}" dt="2023-03-23T11:12:49.962" v="1785" actId="20577"/>
          <ac:spMkLst>
            <pc:docMk/>
            <pc:sldMk cId="1401306855" sldId="2147474143"/>
            <ac:spMk id="14" creationId="{D4EEB43C-0229-CC18-CE23-6DEFD8E7CB28}"/>
          </ac:spMkLst>
        </pc:spChg>
        <pc:spChg chg="add mod">
          <ac:chgData name="Hu, Frank" userId="d3ad470f-91d8-4bd6-b171-9c10023cc60b" providerId="ADAL" clId="{4318B471-A1F0-4F65-94FE-F3B7A4C701AA}" dt="2023-03-22T12:16:57.004" v="585" actId="1076"/>
          <ac:spMkLst>
            <pc:docMk/>
            <pc:sldMk cId="1401306855" sldId="2147474143"/>
            <ac:spMk id="16" creationId="{8A234C7A-562B-A04D-9253-D108D2426E95}"/>
          </ac:spMkLst>
        </pc:spChg>
        <pc:spChg chg="del">
          <ac:chgData name="Hu, Frank" userId="d3ad470f-91d8-4bd6-b171-9c10023cc60b" providerId="ADAL" clId="{4318B471-A1F0-4F65-94FE-F3B7A4C701AA}" dt="2023-03-22T12:36:15.998" v="1277" actId="478"/>
          <ac:spMkLst>
            <pc:docMk/>
            <pc:sldMk cId="1401306855" sldId="2147474143"/>
            <ac:spMk id="20" creationId="{AE461BD7-33FA-47E5-A421-8393EFB49045}"/>
          </ac:spMkLst>
        </pc:spChg>
        <pc:spChg chg="del">
          <ac:chgData name="Hu, Frank" userId="d3ad470f-91d8-4bd6-b171-9c10023cc60b" providerId="ADAL" clId="{4318B471-A1F0-4F65-94FE-F3B7A4C701AA}" dt="2023-03-22T12:03:59.319" v="157" actId="478"/>
          <ac:spMkLst>
            <pc:docMk/>
            <pc:sldMk cId="1401306855" sldId="2147474143"/>
            <ac:spMk id="21" creationId="{9E3DF8BE-F2F1-442C-8C61-2FCC14BF2AE9}"/>
          </ac:spMkLst>
        </pc:spChg>
        <pc:spChg chg="del">
          <ac:chgData name="Hu, Frank" userId="d3ad470f-91d8-4bd6-b171-9c10023cc60b" providerId="ADAL" clId="{4318B471-A1F0-4F65-94FE-F3B7A4C701AA}" dt="2023-03-22T12:36:15.006" v="1276" actId="478"/>
          <ac:spMkLst>
            <pc:docMk/>
            <pc:sldMk cId="1401306855" sldId="2147474143"/>
            <ac:spMk id="22" creationId="{3D481EA8-7AF4-493D-9C37-25B498FB5797}"/>
          </ac:spMkLst>
        </pc:spChg>
        <pc:spChg chg="del">
          <ac:chgData name="Hu, Frank" userId="d3ad470f-91d8-4bd6-b171-9c10023cc60b" providerId="ADAL" clId="{4318B471-A1F0-4F65-94FE-F3B7A4C701AA}" dt="2023-03-22T12:03:18.730" v="119" actId="478"/>
          <ac:spMkLst>
            <pc:docMk/>
            <pc:sldMk cId="1401306855" sldId="2147474143"/>
            <ac:spMk id="23" creationId="{C436B4EF-A78A-42D9-BA93-7F64D6876EE8}"/>
          </ac:spMkLst>
        </pc:spChg>
        <pc:spChg chg="del">
          <ac:chgData name="Hu, Frank" userId="d3ad470f-91d8-4bd6-b171-9c10023cc60b" providerId="ADAL" clId="{4318B471-A1F0-4F65-94FE-F3B7A4C701AA}" dt="2023-03-22T12:03:47.864" v="145" actId="478"/>
          <ac:spMkLst>
            <pc:docMk/>
            <pc:sldMk cId="1401306855" sldId="2147474143"/>
            <ac:spMk id="25" creationId="{1B57D950-BFA1-4233-B239-DC5555749DDD}"/>
          </ac:spMkLst>
        </pc:spChg>
        <pc:spChg chg="del">
          <ac:chgData name="Hu, Frank" userId="d3ad470f-91d8-4bd6-b171-9c10023cc60b" providerId="ADAL" clId="{4318B471-A1F0-4F65-94FE-F3B7A4C701AA}" dt="2023-03-22T12:03:59.319" v="157" actId="478"/>
          <ac:spMkLst>
            <pc:docMk/>
            <pc:sldMk cId="1401306855" sldId="2147474143"/>
            <ac:spMk id="26" creationId="{E66C2AA7-8982-4359-9B05-9FA079F40E1C}"/>
          </ac:spMkLst>
        </pc:spChg>
        <pc:spChg chg="del">
          <ac:chgData name="Hu, Frank" userId="d3ad470f-91d8-4bd6-b171-9c10023cc60b" providerId="ADAL" clId="{4318B471-A1F0-4F65-94FE-F3B7A4C701AA}" dt="2023-03-22T12:03:17.549" v="118" actId="478"/>
          <ac:spMkLst>
            <pc:docMk/>
            <pc:sldMk cId="1401306855" sldId="2147474143"/>
            <ac:spMk id="27" creationId="{EA850430-8304-4292-82D1-FAC9CFB18D9D}"/>
          </ac:spMkLst>
        </pc:spChg>
      </pc:sldChg>
      <pc:sldChg chg="addSp delSp modSp mod">
        <pc:chgData name="Hu, Frank" userId="d3ad470f-91d8-4bd6-b171-9c10023cc60b" providerId="ADAL" clId="{4318B471-A1F0-4F65-94FE-F3B7A4C701AA}" dt="2023-03-27T06:07:15.050" v="3500"/>
        <pc:sldMkLst>
          <pc:docMk/>
          <pc:sldMk cId="3872608267" sldId="2147479198"/>
        </pc:sldMkLst>
        <pc:spChg chg="del">
          <ac:chgData name="Hu, Frank" userId="d3ad470f-91d8-4bd6-b171-9c10023cc60b" providerId="ADAL" clId="{4318B471-A1F0-4F65-94FE-F3B7A4C701AA}" dt="2023-03-27T06:07:14.625" v="3499" actId="478"/>
          <ac:spMkLst>
            <pc:docMk/>
            <pc:sldMk cId="3872608267" sldId="2147479198"/>
            <ac:spMk id="4" creationId="{215F9DB9-1EC7-07B1-448F-A83F22A41C9B}"/>
          </ac:spMkLst>
        </pc:spChg>
        <pc:spChg chg="add mod">
          <ac:chgData name="Hu, Frank" userId="d3ad470f-91d8-4bd6-b171-9c10023cc60b" providerId="ADAL" clId="{4318B471-A1F0-4F65-94FE-F3B7A4C701AA}" dt="2023-03-27T06:07:15.050" v="3500"/>
          <ac:spMkLst>
            <pc:docMk/>
            <pc:sldMk cId="3872608267" sldId="2147479198"/>
            <ac:spMk id="8" creationId="{10DD0205-2DB5-D68D-52BD-E3710C226DDB}"/>
          </ac:spMkLst>
        </pc:spChg>
        <pc:graphicFrameChg chg="mod modGraphic">
          <ac:chgData name="Hu, Frank" userId="d3ad470f-91d8-4bd6-b171-9c10023cc60b" providerId="ADAL" clId="{4318B471-A1F0-4F65-94FE-F3B7A4C701AA}" dt="2023-03-23T11:32:32.482" v="2012" actId="20577"/>
          <ac:graphicFrameMkLst>
            <pc:docMk/>
            <pc:sldMk cId="3872608267" sldId="2147479198"/>
            <ac:graphicFrameMk id="6" creationId="{91A767DE-3033-7506-C44C-D9D640121202}"/>
          </ac:graphicFrameMkLst>
        </pc:graphicFrameChg>
      </pc:sldChg>
      <pc:sldChg chg="addSp delSp modSp mod">
        <pc:chgData name="Hu, Frank" userId="d3ad470f-91d8-4bd6-b171-9c10023cc60b" providerId="ADAL" clId="{4318B471-A1F0-4F65-94FE-F3B7A4C701AA}" dt="2023-03-27T07:50:08.721" v="4242" actId="20577"/>
        <pc:sldMkLst>
          <pc:docMk/>
          <pc:sldMk cId="1739901954" sldId="2147479199"/>
        </pc:sldMkLst>
        <pc:spChg chg="del">
          <ac:chgData name="Hu, Frank" userId="d3ad470f-91d8-4bd6-b171-9c10023cc60b" providerId="ADAL" clId="{4318B471-A1F0-4F65-94FE-F3B7A4C701AA}" dt="2023-03-27T06:07:18.738" v="3501" actId="478"/>
          <ac:spMkLst>
            <pc:docMk/>
            <pc:sldMk cId="1739901954" sldId="2147479199"/>
            <ac:spMk id="4" creationId="{215F9DB9-1EC7-07B1-448F-A83F22A41C9B}"/>
          </ac:spMkLst>
        </pc:spChg>
        <pc:spChg chg="add mod">
          <ac:chgData name="Hu, Frank" userId="d3ad470f-91d8-4bd6-b171-9c10023cc60b" providerId="ADAL" clId="{4318B471-A1F0-4F65-94FE-F3B7A4C701AA}" dt="2023-03-27T06:07:19.149" v="3502"/>
          <ac:spMkLst>
            <pc:docMk/>
            <pc:sldMk cId="1739901954" sldId="2147479199"/>
            <ac:spMk id="6" creationId="{A3A68D73-F6F2-FD70-2535-A49DE7C429F6}"/>
          </ac:spMkLst>
        </pc:spChg>
        <pc:graphicFrameChg chg="mod modGraphic">
          <ac:chgData name="Hu, Frank" userId="d3ad470f-91d8-4bd6-b171-9c10023cc60b" providerId="ADAL" clId="{4318B471-A1F0-4F65-94FE-F3B7A4C701AA}" dt="2023-03-27T07:50:08.721" v="4242" actId="20577"/>
          <ac:graphicFrameMkLst>
            <pc:docMk/>
            <pc:sldMk cId="1739901954" sldId="2147479199"/>
            <ac:graphicFrameMk id="5" creationId="{AC3AAA03-45B4-A976-9A3F-E8F1CDCFDCA2}"/>
          </ac:graphicFrameMkLst>
        </pc:graphicFrameChg>
      </pc:sldChg>
      <pc:sldChg chg="addSp delSp modSp mod">
        <pc:chgData name="Hu, Frank" userId="d3ad470f-91d8-4bd6-b171-9c10023cc60b" providerId="ADAL" clId="{4318B471-A1F0-4F65-94FE-F3B7A4C701AA}" dt="2023-03-27T07:26:03.934" v="4081" actId="20577"/>
        <pc:sldMkLst>
          <pc:docMk/>
          <pc:sldMk cId="3201368661" sldId="2147479201"/>
        </pc:sldMkLst>
        <pc:spChg chg="del">
          <ac:chgData name="Hu, Frank" userId="d3ad470f-91d8-4bd6-b171-9c10023cc60b" providerId="ADAL" clId="{4318B471-A1F0-4F65-94FE-F3B7A4C701AA}" dt="2023-03-27T06:07:23.559" v="3503" actId="478"/>
          <ac:spMkLst>
            <pc:docMk/>
            <pc:sldMk cId="3201368661" sldId="2147479201"/>
            <ac:spMk id="4" creationId="{215F9DB9-1EC7-07B1-448F-A83F22A41C9B}"/>
          </ac:spMkLst>
        </pc:spChg>
        <pc:spChg chg="mod">
          <ac:chgData name="Hu, Frank" userId="d3ad470f-91d8-4bd6-b171-9c10023cc60b" providerId="ADAL" clId="{4318B471-A1F0-4F65-94FE-F3B7A4C701AA}" dt="2023-03-27T06:49:23.049" v="3651" actId="1076"/>
          <ac:spMkLst>
            <pc:docMk/>
            <pc:sldMk cId="3201368661" sldId="2147479201"/>
            <ac:spMk id="6" creationId="{45D886EF-11D6-4B98-BEB6-CE2B64677DDE}"/>
          </ac:spMkLst>
        </pc:spChg>
        <pc:spChg chg="add mod">
          <ac:chgData name="Hu, Frank" userId="d3ad470f-91d8-4bd6-b171-9c10023cc60b" providerId="ADAL" clId="{4318B471-A1F0-4F65-94FE-F3B7A4C701AA}" dt="2023-03-27T06:07:24.011" v="3504"/>
          <ac:spMkLst>
            <pc:docMk/>
            <pc:sldMk cId="3201368661" sldId="2147479201"/>
            <ac:spMk id="7" creationId="{57C13D0D-821E-1540-3C32-3FB239C9580F}"/>
          </ac:spMkLst>
        </pc:spChg>
        <pc:graphicFrameChg chg="mod modGraphic">
          <ac:chgData name="Hu, Frank" userId="d3ad470f-91d8-4bd6-b171-9c10023cc60b" providerId="ADAL" clId="{4318B471-A1F0-4F65-94FE-F3B7A4C701AA}" dt="2023-03-27T07:26:03.934" v="4081" actId="20577"/>
          <ac:graphicFrameMkLst>
            <pc:docMk/>
            <pc:sldMk cId="3201368661" sldId="2147479201"/>
            <ac:graphicFrameMk id="5" creationId="{9E296B13-D1C2-B83C-7EB6-1EB33B5ADEF8}"/>
          </ac:graphicFrameMkLst>
        </pc:graphicFrameChg>
      </pc:sldChg>
      <pc:sldChg chg="addSp delSp modSp add mod">
        <pc:chgData name="Hu, Frank" userId="d3ad470f-91d8-4bd6-b171-9c10023cc60b" providerId="ADAL" clId="{4318B471-A1F0-4F65-94FE-F3B7A4C701AA}" dt="2023-03-27T06:56:36.048" v="3733" actId="20577"/>
        <pc:sldMkLst>
          <pc:docMk/>
          <pc:sldMk cId="1629897296" sldId="2147479210"/>
        </pc:sldMkLst>
        <pc:spChg chg="mod">
          <ac:chgData name="Hu, Frank" userId="d3ad470f-91d8-4bd6-b171-9c10023cc60b" providerId="ADAL" clId="{4318B471-A1F0-4F65-94FE-F3B7A4C701AA}" dt="2023-03-27T01:53:53.880" v="2405" actId="20577"/>
          <ac:spMkLst>
            <pc:docMk/>
            <pc:sldMk cId="1629897296" sldId="2147479210"/>
            <ac:spMk id="2" creationId="{7756B8F4-874A-CFB5-B37C-9B912FD9E344}"/>
          </ac:spMkLst>
        </pc:spChg>
        <pc:spChg chg="del">
          <ac:chgData name="Hu, Frank" userId="d3ad470f-91d8-4bd6-b171-9c10023cc60b" providerId="ADAL" clId="{4318B471-A1F0-4F65-94FE-F3B7A4C701AA}" dt="2023-03-27T01:53:32.008" v="2381" actId="478"/>
          <ac:spMkLst>
            <pc:docMk/>
            <pc:sldMk cId="1629897296" sldId="2147479210"/>
            <ac:spMk id="4" creationId="{215F9DB9-1EC7-07B1-448F-A83F22A41C9B}"/>
          </ac:spMkLst>
        </pc:spChg>
        <pc:spChg chg="del">
          <ac:chgData name="Hu, Frank" userId="d3ad470f-91d8-4bd6-b171-9c10023cc60b" providerId="ADAL" clId="{4318B471-A1F0-4F65-94FE-F3B7A4C701AA}" dt="2023-03-27T04:01:28.939" v="3342" actId="478"/>
          <ac:spMkLst>
            <pc:docMk/>
            <pc:sldMk cId="1629897296" sldId="2147479210"/>
            <ac:spMk id="7" creationId="{0DCEFCC9-CBA1-2DAA-7C75-33C244EB065B}"/>
          </ac:spMkLst>
        </pc:spChg>
        <pc:spChg chg="del">
          <ac:chgData name="Hu, Frank" userId="d3ad470f-91d8-4bd6-b171-9c10023cc60b" providerId="ADAL" clId="{4318B471-A1F0-4F65-94FE-F3B7A4C701AA}" dt="2023-03-27T04:01:28.939" v="3342" actId="478"/>
          <ac:spMkLst>
            <pc:docMk/>
            <pc:sldMk cId="1629897296" sldId="2147479210"/>
            <ac:spMk id="8" creationId="{4DBC1384-3CE8-9828-865A-FBE10354BCD1}"/>
          </ac:spMkLst>
        </pc:spChg>
        <pc:spChg chg="del">
          <ac:chgData name="Hu, Frank" userId="d3ad470f-91d8-4bd6-b171-9c10023cc60b" providerId="ADAL" clId="{4318B471-A1F0-4F65-94FE-F3B7A4C701AA}" dt="2023-03-27T04:01:28.939" v="3342" actId="478"/>
          <ac:spMkLst>
            <pc:docMk/>
            <pc:sldMk cId="1629897296" sldId="2147479210"/>
            <ac:spMk id="9" creationId="{CC1FA178-DECC-5179-7847-51DCA90C2DFA}"/>
          </ac:spMkLst>
        </pc:spChg>
        <pc:spChg chg="del">
          <ac:chgData name="Hu, Frank" userId="d3ad470f-91d8-4bd6-b171-9c10023cc60b" providerId="ADAL" clId="{4318B471-A1F0-4F65-94FE-F3B7A4C701AA}" dt="2023-03-27T04:01:28.939" v="3342" actId="478"/>
          <ac:spMkLst>
            <pc:docMk/>
            <pc:sldMk cId="1629897296" sldId="2147479210"/>
            <ac:spMk id="10" creationId="{2BEA5844-38F5-D576-558F-BF731B67F335}"/>
          </ac:spMkLst>
        </pc:spChg>
        <pc:spChg chg="mod">
          <ac:chgData name="Hu, Frank" userId="d3ad470f-91d8-4bd6-b171-9c10023cc60b" providerId="ADAL" clId="{4318B471-A1F0-4F65-94FE-F3B7A4C701AA}" dt="2023-03-27T02:17:53.979" v="2906" actId="20577"/>
          <ac:spMkLst>
            <pc:docMk/>
            <pc:sldMk cId="1629897296" sldId="2147479210"/>
            <ac:spMk id="11" creationId="{0061EE3C-20A1-FA9D-3A0B-88B47BD31718}"/>
          </ac:spMkLst>
        </pc:spChg>
        <pc:spChg chg="add mod">
          <ac:chgData name="Hu, Frank" userId="d3ad470f-91d8-4bd6-b171-9c10023cc60b" providerId="ADAL" clId="{4318B471-A1F0-4F65-94FE-F3B7A4C701AA}" dt="2023-03-27T02:16:00.674" v="2835" actId="20577"/>
          <ac:spMkLst>
            <pc:docMk/>
            <pc:sldMk cId="1629897296" sldId="2147479210"/>
            <ac:spMk id="12" creationId="{D55090D2-0038-99C0-554D-3CEE0A68DA30}"/>
          </ac:spMkLst>
        </pc:spChg>
        <pc:spChg chg="add mod">
          <ac:chgData name="Hu, Frank" userId="d3ad470f-91d8-4bd6-b171-9c10023cc60b" providerId="ADAL" clId="{4318B471-A1F0-4F65-94FE-F3B7A4C701AA}" dt="2023-03-27T02:17:01.166" v="2846" actId="20577"/>
          <ac:spMkLst>
            <pc:docMk/>
            <pc:sldMk cId="1629897296" sldId="2147479210"/>
            <ac:spMk id="14" creationId="{1B968779-C7BB-6F78-DA63-4A6E9E8522D8}"/>
          </ac:spMkLst>
        </pc:spChg>
        <pc:spChg chg="mod">
          <ac:chgData name="Hu, Frank" userId="d3ad470f-91d8-4bd6-b171-9c10023cc60b" providerId="ADAL" clId="{4318B471-A1F0-4F65-94FE-F3B7A4C701AA}" dt="2023-03-27T05:41:26.974" v="3486" actId="20577"/>
          <ac:spMkLst>
            <pc:docMk/>
            <pc:sldMk cId="1629897296" sldId="2147479210"/>
            <ac:spMk id="15" creationId="{6C7D7972-7DDD-D4E1-F10D-2AE5779DA4E9}"/>
          </ac:spMkLst>
        </pc:spChg>
        <pc:spChg chg="del mod">
          <ac:chgData name="Hu, Frank" userId="d3ad470f-91d8-4bd6-b171-9c10023cc60b" providerId="ADAL" clId="{4318B471-A1F0-4F65-94FE-F3B7A4C701AA}" dt="2023-03-27T03:49:44.481" v="3217" actId="21"/>
          <ac:spMkLst>
            <pc:docMk/>
            <pc:sldMk cId="1629897296" sldId="2147479210"/>
            <ac:spMk id="17" creationId="{E9CE7478-3AF0-5147-ADCB-DADE9A13C3C5}"/>
          </ac:spMkLst>
        </pc:spChg>
        <pc:spChg chg="add del mod">
          <ac:chgData name="Hu, Frank" userId="d3ad470f-91d8-4bd6-b171-9c10023cc60b" providerId="ADAL" clId="{4318B471-A1F0-4F65-94FE-F3B7A4C701AA}" dt="2023-03-27T03:49:51.931" v="3220" actId="21"/>
          <ac:spMkLst>
            <pc:docMk/>
            <pc:sldMk cId="1629897296" sldId="2147479210"/>
            <ac:spMk id="18" creationId="{26F73733-D682-1DE5-4D99-4EAEC8E890F4}"/>
          </ac:spMkLst>
        </pc:spChg>
        <pc:spChg chg="mod">
          <ac:chgData name="Hu, Frank" userId="d3ad470f-91d8-4bd6-b171-9c10023cc60b" providerId="ADAL" clId="{4318B471-A1F0-4F65-94FE-F3B7A4C701AA}" dt="2023-03-27T03:52:46.217" v="3271" actId="1035"/>
          <ac:spMkLst>
            <pc:docMk/>
            <pc:sldMk cId="1629897296" sldId="2147479210"/>
            <ac:spMk id="19" creationId="{790D3F9E-E689-A183-7B24-EC8CAD4478DF}"/>
          </ac:spMkLst>
        </pc:spChg>
        <pc:spChg chg="del mod">
          <ac:chgData name="Hu, Frank" userId="d3ad470f-91d8-4bd6-b171-9c10023cc60b" providerId="ADAL" clId="{4318B471-A1F0-4F65-94FE-F3B7A4C701AA}" dt="2023-03-27T03:59:59.114" v="3275" actId="478"/>
          <ac:spMkLst>
            <pc:docMk/>
            <pc:sldMk cId="1629897296" sldId="2147479210"/>
            <ac:spMk id="22" creationId="{1140F188-47FD-35A3-AEFE-FD9C75E3220D}"/>
          </ac:spMkLst>
        </pc:spChg>
        <pc:spChg chg="del mod">
          <ac:chgData name="Hu, Frank" userId="d3ad470f-91d8-4bd6-b171-9c10023cc60b" providerId="ADAL" clId="{4318B471-A1F0-4F65-94FE-F3B7A4C701AA}" dt="2023-03-27T02:28:13.504" v="3136" actId="478"/>
          <ac:spMkLst>
            <pc:docMk/>
            <pc:sldMk cId="1629897296" sldId="2147479210"/>
            <ac:spMk id="23" creationId="{47D8700D-DE96-82F3-3966-AECFA27E9EB3}"/>
          </ac:spMkLst>
        </pc:spChg>
        <pc:spChg chg="add mod">
          <ac:chgData name="Hu, Frank" userId="d3ad470f-91d8-4bd6-b171-9c10023cc60b" providerId="ADAL" clId="{4318B471-A1F0-4F65-94FE-F3B7A4C701AA}" dt="2023-03-27T03:51:03.428" v="3243" actId="1076"/>
          <ac:spMkLst>
            <pc:docMk/>
            <pc:sldMk cId="1629897296" sldId="2147479210"/>
            <ac:spMk id="28" creationId="{A0423F39-CE34-7158-DCC1-E0CE45C274A9}"/>
          </ac:spMkLst>
        </pc:spChg>
        <pc:spChg chg="add del mod">
          <ac:chgData name="Hu, Frank" userId="d3ad470f-91d8-4bd6-b171-9c10023cc60b" providerId="ADAL" clId="{4318B471-A1F0-4F65-94FE-F3B7A4C701AA}" dt="2023-03-27T03:52:11.872" v="3256" actId="21"/>
          <ac:spMkLst>
            <pc:docMk/>
            <pc:sldMk cId="1629897296" sldId="2147479210"/>
            <ac:spMk id="30" creationId="{15488541-2CEB-E920-D639-34C2517772AC}"/>
          </ac:spMkLst>
        </pc:spChg>
        <pc:spChg chg="del">
          <ac:chgData name="Hu, Frank" userId="d3ad470f-91d8-4bd6-b171-9c10023cc60b" providerId="ADAL" clId="{4318B471-A1F0-4F65-94FE-F3B7A4C701AA}" dt="2023-03-27T04:01:28.939" v="3342" actId="478"/>
          <ac:spMkLst>
            <pc:docMk/>
            <pc:sldMk cId="1629897296" sldId="2147479210"/>
            <ac:spMk id="37" creationId="{D62C8377-9FA2-A96B-A20A-B9ED6F5ADB14}"/>
          </ac:spMkLst>
        </pc:spChg>
        <pc:spChg chg="del">
          <ac:chgData name="Hu, Frank" userId="d3ad470f-91d8-4bd6-b171-9c10023cc60b" providerId="ADAL" clId="{4318B471-A1F0-4F65-94FE-F3B7A4C701AA}" dt="2023-03-27T04:01:28.939" v="3342" actId="478"/>
          <ac:spMkLst>
            <pc:docMk/>
            <pc:sldMk cId="1629897296" sldId="2147479210"/>
            <ac:spMk id="38" creationId="{A24C46D2-DB19-506F-C0E6-A4386BCED086}"/>
          </ac:spMkLst>
        </pc:spChg>
        <pc:spChg chg="mod">
          <ac:chgData name="Hu, Frank" userId="d3ad470f-91d8-4bd6-b171-9c10023cc60b" providerId="ADAL" clId="{4318B471-A1F0-4F65-94FE-F3B7A4C701AA}" dt="2023-03-27T06:56:36.048" v="3733" actId="20577"/>
          <ac:spMkLst>
            <pc:docMk/>
            <pc:sldMk cId="1629897296" sldId="2147479210"/>
            <ac:spMk id="39" creationId="{4AF68447-805F-80E5-5842-997856291AF1}"/>
          </ac:spMkLst>
        </pc:spChg>
        <pc:spChg chg="add mod">
          <ac:chgData name="Hu, Frank" userId="d3ad470f-91d8-4bd6-b171-9c10023cc60b" providerId="ADAL" clId="{4318B471-A1F0-4F65-94FE-F3B7A4C701AA}" dt="2023-03-27T03:59:48.740" v="3272" actId="1076"/>
          <ac:spMkLst>
            <pc:docMk/>
            <pc:sldMk cId="1629897296" sldId="2147479210"/>
            <ac:spMk id="40" creationId="{BB381822-17F4-5CDF-2D5D-D70889045957}"/>
          </ac:spMkLst>
        </pc:spChg>
        <pc:spChg chg="del mod">
          <ac:chgData name="Hu, Frank" userId="d3ad470f-91d8-4bd6-b171-9c10023cc60b" providerId="ADAL" clId="{4318B471-A1F0-4F65-94FE-F3B7A4C701AA}" dt="2023-03-27T02:15:51.825" v="2818" actId="478"/>
          <ac:spMkLst>
            <pc:docMk/>
            <pc:sldMk cId="1629897296" sldId="2147479210"/>
            <ac:spMk id="43" creationId="{21D2AC2E-0F40-6025-1B9F-B63760DC46A9}"/>
          </ac:spMkLst>
        </pc:spChg>
        <pc:spChg chg="add mod">
          <ac:chgData name="Hu, Frank" userId="d3ad470f-91d8-4bd6-b171-9c10023cc60b" providerId="ADAL" clId="{4318B471-A1F0-4F65-94FE-F3B7A4C701AA}" dt="2023-03-27T03:50:45.470" v="3240" actId="1035"/>
          <ac:spMkLst>
            <pc:docMk/>
            <pc:sldMk cId="1629897296" sldId="2147479210"/>
            <ac:spMk id="45" creationId="{2B41B99D-13E9-238E-C92F-9C47C55869D9}"/>
          </ac:spMkLst>
        </pc:spChg>
        <pc:spChg chg="add mod">
          <ac:chgData name="Hu, Frank" userId="d3ad470f-91d8-4bd6-b171-9c10023cc60b" providerId="ADAL" clId="{4318B471-A1F0-4F65-94FE-F3B7A4C701AA}" dt="2023-03-27T03:50:06.924" v="3226" actId="20577"/>
          <ac:spMkLst>
            <pc:docMk/>
            <pc:sldMk cId="1629897296" sldId="2147479210"/>
            <ac:spMk id="46" creationId="{6252950F-ABB9-B13D-664B-ECF07613B3FF}"/>
          </ac:spMkLst>
        </pc:spChg>
        <pc:spChg chg="mod">
          <ac:chgData name="Hu, Frank" userId="d3ad470f-91d8-4bd6-b171-9c10023cc60b" providerId="ADAL" clId="{4318B471-A1F0-4F65-94FE-F3B7A4C701AA}" dt="2023-03-27T01:55:56.050" v="2415" actId="20577"/>
          <ac:spMkLst>
            <pc:docMk/>
            <pc:sldMk cId="1629897296" sldId="2147479210"/>
            <ac:spMk id="48" creationId="{1207B5B2-BBCB-A2EE-2813-51424B478729}"/>
          </ac:spMkLst>
        </pc:spChg>
        <pc:spChg chg="mod">
          <ac:chgData name="Hu, Frank" userId="d3ad470f-91d8-4bd6-b171-9c10023cc60b" providerId="ADAL" clId="{4318B471-A1F0-4F65-94FE-F3B7A4C701AA}" dt="2023-03-27T03:49:26.145" v="3211" actId="20577"/>
          <ac:spMkLst>
            <pc:docMk/>
            <pc:sldMk cId="1629897296" sldId="2147479210"/>
            <ac:spMk id="49" creationId="{B5EDC47C-31B5-651C-3FFB-D29A90E846D5}"/>
          </ac:spMkLst>
        </pc:spChg>
        <pc:spChg chg="mod">
          <ac:chgData name="Hu, Frank" userId="d3ad470f-91d8-4bd6-b171-9c10023cc60b" providerId="ADAL" clId="{4318B471-A1F0-4F65-94FE-F3B7A4C701AA}" dt="2023-03-27T03:49:29.908" v="3214" actId="20577"/>
          <ac:spMkLst>
            <pc:docMk/>
            <pc:sldMk cId="1629897296" sldId="2147479210"/>
            <ac:spMk id="50" creationId="{3F461411-FC1D-F4E3-8E9A-E61062708830}"/>
          </ac:spMkLst>
        </pc:spChg>
        <pc:spChg chg="add mod">
          <ac:chgData name="Hu, Frank" userId="d3ad470f-91d8-4bd6-b171-9c10023cc60b" providerId="ADAL" clId="{4318B471-A1F0-4F65-94FE-F3B7A4C701AA}" dt="2023-03-27T03:52:20.163" v="3259" actId="1076"/>
          <ac:spMkLst>
            <pc:docMk/>
            <pc:sldMk cId="1629897296" sldId="2147479210"/>
            <ac:spMk id="58" creationId="{1A26B2E7-E7AE-DBCA-A30E-D1DBB6EAD8CF}"/>
          </ac:spMkLst>
        </pc:spChg>
        <pc:spChg chg="add mod">
          <ac:chgData name="Hu, Frank" userId="d3ad470f-91d8-4bd6-b171-9c10023cc60b" providerId="ADAL" clId="{4318B471-A1F0-4F65-94FE-F3B7A4C701AA}" dt="2023-03-27T04:01:11.781" v="3337" actId="20577"/>
          <ac:spMkLst>
            <pc:docMk/>
            <pc:sldMk cId="1629897296" sldId="2147479210"/>
            <ac:spMk id="63" creationId="{C198C1C9-C87F-2559-60B8-85FE736AB8CE}"/>
          </ac:spMkLst>
        </pc:spChg>
        <pc:spChg chg="add mod">
          <ac:chgData name="Hu, Frank" userId="d3ad470f-91d8-4bd6-b171-9c10023cc60b" providerId="ADAL" clId="{4318B471-A1F0-4F65-94FE-F3B7A4C701AA}" dt="2023-03-27T04:03:34.536" v="3462" actId="20577"/>
          <ac:spMkLst>
            <pc:docMk/>
            <pc:sldMk cId="1629897296" sldId="2147479210"/>
            <ac:spMk id="64" creationId="{540AA7B0-3C99-9984-3208-88E8CCDCCFD9}"/>
          </ac:spMkLst>
        </pc:spChg>
        <pc:spChg chg="mod">
          <ac:chgData name="Hu, Frank" userId="d3ad470f-91d8-4bd6-b171-9c10023cc60b" providerId="ADAL" clId="{4318B471-A1F0-4F65-94FE-F3B7A4C701AA}" dt="2023-03-27T04:02:30.914" v="3422" actId="20577"/>
          <ac:spMkLst>
            <pc:docMk/>
            <pc:sldMk cId="1629897296" sldId="2147479210"/>
            <ac:spMk id="67" creationId="{15DC00CA-452C-0494-8FBD-7DD3B52DA164}"/>
          </ac:spMkLst>
        </pc:spChg>
        <pc:spChg chg="add mod">
          <ac:chgData name="Hu, Frank" userId="d3ad470f-91d8-4bd6-b171-9c10023cc60b" providerId="ADAL" clId="{4318B471-A1F0-4F65-94FE-F3B7A4C701AA}" dt="2023-03-27T04:03:29.532" v="3460" actId="20577"/>
          <ac:spMkLst>
            <pc:docMk/>
            <pc:sldMk cId="1629897296" sldId="2147479210"/>
            <ac:spMk id="69" creationId="{AF7D2739-F0AB-BACB-4055-DB52842C4B35}"/>
          </ac:spMkLst>
        </pc:spChg>
        <pc:spChg chg="add mod">
          <ac:chgData name="Hu, Frank" userId="d3ad470f-91d8-4bd6-b171-9c10023cc60b" providerId="ADAL" clId="{4318B471-A1F0-4F65-94FE-F3B7A4C701AA}" dt="2023-03-27T04:03:31.924" v="3461" actId="20577"/>
          <ac:spMkLst>
            <pc:docMk/>
            <pc:sldMk cId="1629897296" sldId="2147479210"/>
            <ac:spMk id="70" creationId="{2D48B694-74AF-D18F-4262-2FACE35ABF8E}"/>
          </ac:spMkLst>
        </pc:spChg>
        <pc:spChg chg="add mod">
          <ac:chgData name="Hu, Frank" userId="d3ad470f-91d8-4bd6-b171-9c10023cc60b" providerId="ADAL" clId="{4318B471-A1F0-4F65-94FE-F3B7A4C701AA}" dt="2023-03-27T04:03:56.316" v="3464" actId="1076"/>
          <ac:spMkLst>
            <pc:docMk/>
            <pc:sldMk cId="1629897296" sldId="2147479210"/>
            <ac:spMk id="71" creationId="{6F142DAC-53D7-A4C2-9D92-80D160C356FB}"/>
          </ac:spMkLst>
        </pc:spChg>
        <pc:spChg chg="del">
          <ac:chgData name="Hu, Frank" userId="d3ad470f-91d8-4bd6-b171-9c10023cc60b" providerId="ADAL" clId="{4318B471-A1F0-4F65-94FE-F3B7A4C701AA}" dt="2023-03-27T04:00:00.664" v="3276" actId="478"/>
          <ac:spMkLst>
            <pc:docMk/>
            <pc:sldMk cId="1629897296" sldId="2147479210"/>
            <ac:spMk id="72" creationId="{815DF277-1430-CFFB-78AC-B378B89AAC38}"/>
          </ac:spMkLst>
        </pc:spChg>
        <pc:spChg chg="add mod">
          <ac:chgData name="Hu, Frank" userId="d3ad470f-91d8-4bd6-b171-9c10023cc60b" providerId="ADAL" clId="{4318B471-A1F0-4F65-94FE-F3B7A4C701AA}" dt="2023-03-27T06:07:04.815" v="3496"/>
          <ac:spMkLst>
            <pc:docMk/>
            <pc:sldMk cId="1629897296" sldId="2147479210"/>
            <ac:spMk id="74" creationId="{7DE534CB-E9E9-5A7F-8B9B-936B3FD26C22}"/>
          </ac:spMkLst>
        </pc:spChg>
        <pc:spChg chg="del">
          <ac:chgData name="Hu, Frank" userId="d3ad470f-91d8-4bd6-b171-9c10023cc60b" providerId="ADAL" clId="{4318B471-A1F0-4F65-94FE-F3B7A4C701AA}" dt="2023-03-27T04:01:17.892" v="3339" actId="478"/>
          <ac:spMkLst>
            <pc:docMk/>
            <pc:sldMk cId="1629897296" sldId="2147479210"/>
            <ac:spMk id="78" creationId="{04B8046F-CC72-CCE4-CD17-C0EB7239D4AE}"/>
          </ac:spMkLst>
        </pc:spChg>
        <pc:spChg chg="mod">
          <ac:chgData name="Hu, Frank" userId="d3ad470f-91d8-4bd6-b171-9c10023cc60b" providerId="ADAL" clId="{4318B471-A1F0-4F65-94FE-F3B7A4C701AA}" dt="2023-03-27T02:22:33.957" v="3061" actId="1076"/>
          <ac:spMkLst>
            <pc:docMk/>
            <pc:sldMk cId="1629897296" sldId="2147479210"/>
            <ac:spMk id="87" creationId="{C046884F-896C-E705-5EE1-8B03A46ED71A}"/>
          </ac:spMkLst>
        </pc:spChg>
        <pc:spChg chg="del">
          <ac:chgData name="Hu, Frank" userId="d3ad470f-91d8-4bd6-b171-9c10023cc60b" providerId="ADAL" clId="{4318B471-A1F0-4F65-94FE-F3B7A4C701AA}" dt="2023-03-27T02:19:27.882" v="2984" actId="478"/>
          <ac:spMkLst>
            <pc:docMk/>
            <pc:sldMk cId="1629897296" sldId="2147479210"/>
            <ac:spMk id="93" creationId="{18C20B79-E3EA-AC11-4284-E7B2979A4A22}"/>
          </ac:spMkLst>
        </pc:spChg>
        <pc:spChg chg="mod">
          <ac:chgData name="Hu, Frank" userId="d3ad470f-91d8-4bd6-b171-9c10023cc60b" providerId="ADAL" clId="{4318B471-A1F0-4F65-94FE-F3B7A4C701AA}" dt="2023-03-27T03:50:58.427" v="3242" actId="1076"/>
          <ac:spMkLst>
            <pc:docMk/>
            <pc:sldMk cId="1629897296" sldId="2147479210"/>
            <ac:spMk id="95" creationId="{C338EB92-364C-3B4D-3F79-70CE7D154DE4}"/>
          </ac:spMkLst>
        </pc:spChg>
        <pc:spChg chg="del">
          <ac:chgData name="Hu, Frank" userId="d3ad470f-91d8-4bd6-b171-9c10023cc60b" providerId="ADAL" clId="{4318B471-A1F0-4F65-94FE-F3B7A4C701AA}" dt="2023-03-27T02:20:24.269" v="3016" actId="478"/>
          <ac:spMkLst>
            <pc:docMk/>
            <pc:sldMk cId="1629897296" sldId="2147479210"/>
            <ac:spMk id="96" creationId="{2E5C4631-8D32-C879-5752-10C5DEA011FE}"/>
          </ac:spMkLst>
        </pc:spChg>
        <pc:spChg chg="del">
          <ac:chgData name="Hu, Frank" userId="d3ad470f-91d8-4bd6-b171-9c10023cc60b" providerId="ADAL" clId="{4318B471-A1F0-4F65-94FE-F3B7A4C701AA}" dt="2023-03-27T04:01:19.770" v="3340" actId="478"/>
          <ac:spMkLst>
            <pc:docMk/>
            <pc:sldMk cId="1629897296" sldId="2147479210"/>
            <ac:spMk id="97" creationId="{5813E982-AE7F-79A1-5887-F616AB0055D2}"/>
          </ac:spMkLst>
        </pc:spChg>
        <pc:spChg chg="del">
          <ac:chgData name="Hu, Frank" userId="d3ad470f-91d8-4bd6-b171-9c10023cc60b" providerId="ADAL" clId="{4318B471-A1F0-4F65-94FE-F3B7A4C701AA}" dt="2023-03-27T04:00:02.678" v="3277" actId="478"/>
          <ac:spMkLst>
            <pc:docMk/>
            <pc:sldMk cId="1629897296" sldId="2147479210"/>
            <ac:spMk id="188" creationId="{B5187E98-CCE9-5AE3-6019-0DADC27EFB83}"/>
          </ac:spMkLst>
        </pc:spChg>
        <pc:cxnChg chg="del mod">
          <ac:chgData name="Hu, Frank" userId="d3ad470f-91d8-4bd6-b171-9c10023cc60b" providerId="ADAL" clId="{4318B471-A1F0-4F65-94FE-F3B7A4C701AA}" dt="2023-03-27T02:17:25.049" v="2847" actId="478"/>
          <ac:cxnSpMkLst>
            <pc:docMk/>
            <pc:sldMk cId="1629897296" sldId="2147479210"/>
            <ac:cxnSpMk id="16" creationId="{34B34185-7FEF-8C7C-3AE0-D20239F1C8F2}"/>
          </ac:cxnSpMkLst>
        </pc:cxnChg>
        <pc:cxnChg chg="del">
          <ac:chgData name="Hu, Frank" userId="d3ad470f-91d8-4bd6-b171-9c10023cc60b" providerId="ADAL" clId="{4318B471-A1F0-4F65-94FE-F3B7A4C701AA}" dt="2023-03-27T02:22:51.926" v="3069" actId="478"/>
          <ac:cxnSpMkLst>
            <pc:docMk/>
            <pc:sldMk cId="1629897296" sldId="2147479210"/>
            <ac:cxnSpMk id="20" creationId="{00E61855-D9E6-A011-ADDB-BA81139AD433}"/>
          </ac:cxnSpMkLst>
        </pc:cxnChg>
        <pc:cxnChg chg="add del mod">
          <ac:chgData name="Hu, Frank" userId="d3ad470f-91d8-4bd6-b171-9c10023cc60b" providerId="ADAL" clId="{4318B471-A1F0-4F65-94FE-F3B7A4C701AA}" dt="2023-03-27T03:50:32.945" v="3232" actId="21"/>
          <ac:cxnSpMkLst>
            <pc:docMk/>
            <pc:sldMk cId="1629897296" sldId="2147479210"/>
            <ac:cxnSpMk id="21" creationId="{46C88A19-5BF9-1FB4-2DDE-5EA62612DF69}"/>
          </ac:cxnSpMkLst>
        </pc:cxnChg>
        <pc:cxnChg chg="del mod">
          <ac:chgData name="Hu, Frank" userId="d3ad470f-91d8-4bd6-b171-9c10023cc60b" providerId="ADAL" clId="{4318B471-A1F0-4F65-94FE-F3B7A4C701AA}" dt="2023-03-27T03:50:51.830" v="3241" actId="478"/>
          <ac:cxnSpMkLst>
            <pc:docMk/>
            <pc:sldMk cId="1629897296" sldId="2147479210"/>
            <ac:cxnSpMk id="24" creationId="{316D343D-1E04-8263-E57A-410AB47D7E3E}"/>
          </ac:cxnSpMkLst>
        </pc:cxnChg>
        <pc:cxnChg chg="add del mod">
          <ac:chgData name="Hu, Frank" userId="d3ad470f-91d8-4bd6-b171-9c10023cc60b" providerId="ADAL" clId="{4318B471-A1F0-4F65-94FE-F3B7A4C701AA}" dt="2023-03-27T03:52:25.111" v="3261" actId="21"/>
          <ac:cxnSpMkLst>
            <pc:docMk/>
            <pc:sldMk cId="1629897296" sldId="2147479210"/>
            <ac:cxnSpMk id="33" creationId="{EA90BBF7-6E75-5DA2-AD8F-A5446C78A50E}"/>
          </ac:cxnSpMkLst>
        </pc:cxnChg>
        <pc:cxnChg chg="del mod">
          <ac:chgData name="Hu, Frank" userId="d3ad470f-91d8-4bd6-b171-9c10023cc60b" providerId="ADAL" clId="{4318B471-A1F0-4F65-94FE-F3B7A4C701AA}" dt="2023-03-27T02:19:43.091" v="2991" actId="478"/>
          <ac:cxnSpMkLst>
            <pc:docMk/>
            <pc:sldMk cId="1629897296" sldId="2147479210"/>
            <ac:cxnSpMk id="42" creationId="{255586F3-C6BC-259C-D5B0-11282803ADC2}"/>
          </ac:cxnSpMkLst>
        </pc:cxnChg>
        <pc:cxnChg chg="add mod">
          <ac:chgData name="Hu, Frank" userId="d3ad470f-91d8-4bd6-b171-9c10023cc60b" providerId="ADAL" clId="{4318B471-A1F0-4F65-94FE-F3B7A4C701AA}" dt="2023-03-27T03:50:45.470" v="3240" actId="1035"/>
          <ac:cxnSpMkLst>
            <pc:docMk/>
            <pc:sldMk cId="1629897296" sldId="2147479210"/>
            <ac:cxnSpMk id="51" creationId="{37498A5A-A1DF-F619-C99D-7E3D65DF636C}"/>
          </ac:cxnSpMkLst>
        </pc:cxnChg>
        <pc:cxnChg chg="add mod">
          <ac:chgData name="Hu, Frank" userId="d3ad470f-91d8-4bd6-b171-9c10023cc60b" providerId="ADAL" clId="{4318B471-A1F0-4F65-94FE-F3B7A4C701AA}" dt="2023-03-27T03:50:45.470" v="3240" actId="1035"/>
          <ac:cxnSpMkLst>
            <pc:docMk/>
            <pc:sldMk cId="1629897296" sldId="2147479210"/>
            <ac:cxnSpMk id="54" creationId="{910947D1-7475-49B2-655F-AE7A77AF9816}"/>
          </ac:cxnSpMkLst>
        </pc:cxnChg>
        <pc:cxnChg chg="add mod">
          <ac:chgData name="Hu, Frank" userId="d3ad470f-91d8-4bd6-b171-9c10023cc60b" providerId="ADAL" clId="{4318B471-A1F0-4F65-94FE-F3B7A4C701AA}" dt="2023-03-27T03:52:46.217" v="3271" actId="1035"/>
          <ac:cxnSpMkLst>
            <pc:docMk/>
            <pc:sldMk cId="1629897296" sldId="2147479210"/>
            <ac:cxnSpMk id="59" creationId="{DDAE7C77-740A-EB6F-EB81-1DFA6FD8EAB3}"/>
          </ac:cxnSpMkLst>
        </pc:cxnChg>
        <pc:cxnChg chg="add mod">
          <ac:chgData name="Hu, Frank" userId="d3ad470f-91d8-4bd6-b171-9c10023cc60b" providerId="ADAL" clId="{4318B471-A1F0-4F65-94FE-F3B7A4C701AA}" dt="2023-03-27T04:01:39.796" v="3347" actId="1036"/>
          <ac:cxnSpMkLst>
            <pc:docMk/>
            <pc:sldMk cId="1629897296" sldId="2147479210"/>
            <ac:cxnSpMk id="65" creationId="{5F6A8B9A-C4E6-4029-0ECA-CE95DC8AC39B}"/>
          </ac:cxnSpMkLst>
        </pc:cxnChg>
        <pc:cxnChg chg="del mod">
          <ac:chgData name="Hu, Frank" userId="d3ad470f-91d8-4bd6-b171-9c10023cc60b" providerId="ADAL" clId="{4318B471-A1F0-4F65-94FE-F3B7A4C701AA}" dt="2023-03-27T03:59:57.099" v="3274" actId="478"/>
          <ac:cxnSpMkLst>
            <pc:docMk/>
            <pc:sldMk cId="1629897296" sldId="2147479210"/>
            <ac:cxnSpMk id="73" creationId="{6C434DA1-BB41-DF71-D7D8-1FD8DC417537}"/>
          </ac:cxnSpMkLst>
        </pc:cxnChg>
        <pc:cxnChg chg="del mod">
          <ac:chgData name="Hu, Frank" userId="d3ad470f-91d8-4bd6-b171-9c10023cc60b" providerId="ADAL" clId="{4318B471-A1F0-4F65-94FE-F3B7A4C701AA}" dt="2023-03-27T04:01:22.734" v="3341" actId="21"/>
          <ac:cxnSpMkLst>
            <pc:docMk/>
            <pc:sldMk cId="1629897296" sldId="2147479210"/>
            <ac:cxnSpMk id="79" creationId="{EA90E842-E2B4-97E5-BFD7-509E1517E4B4}"/>
          </ac:cxnSpMkLst>
        </pc:cxnChg>
        <pc:cxnChg chg="del mod">
          <ac:chgData name="Hu, Frank" userId="d3ad470f-91d8-4bd6-b171-9c10023cc60b" providerId="ADAL" clId="{4318B471-A1F0-4F65-94FE-F3B7A4C701AA}" dt="2023-03-27T04:01:15.718" v="3338" actId="478"/>
          <ac:cxnSpMkLst>
            <pc:docMk/>
            <pc:sldMk cId="1629897296" sldId="2147479210"/>
            <ac:cxnSpMk id="83" creationId="{A498AE7F-134C-AD76-887A-8F2EAA789CFC}"/>
          </ac:cxnSpMkLst>
        </pc:cxnChg>
        <pc:cxnChg chg="del mod">
          <ac:chgData name="Hu, Frank" userId="d3ad470f-91d8-4bd6-b171-9c10023cc60b" providerId="ADAL" clId="{4318B471-A1F0-4F65-94FE-F3B7A4C701AA}" dt="2023-03-27T02:23:37.847" v="3080" actId="478"/>
          <ac:cxnSpMkLst>
            <pc:docMk/>
            <pc:sldMk cId="1629897296" sldId="2147479210"/>
            <ac:cxnSpMk id="91" creationId="{68B3E560-4CEC-5292-67F3-B4C9993EDE65}"/>
          </ac:cxnSpMkLst>
        </pc:cxnChg>
      </pc:sldChg>
      <pc:sldChg chg="addSp delSp modSp add del mod">
        <pc:chgData name="Hu, Frank" userId="d3ad470f-91d8-4bd6-b171-9c10023cc60b" providerId="ADAL" clId="{4318B471-A1F0-4F65-94FE-F3B7A4C701AA}" dt="2023-03-22T12:02:15.176" v="59" actId="47"/>
        <pc:sldMkLst>
          <pc:docMk/>
          <pc:sldMk cId="3966743872" sldId="2147479384"/>
        </pc:sldMkLst>
        <pc:spChg chg="mod">
          <ac:chgData name="Hu, Frank" userId="d3ad470f-91d8-4bd6-b171-9c10023cc60b" providerId="ADAL" clId="{4318B471-A1F0-4F65-94FE-F3B7A4C701AA}" dt="2023-03-22T11:56:22.181" v="43" actId="20577"/>
          <ac:spMkLst>
            <pc:docMk/>
            <pc:sldMk cId="3966743872" sldId="2147479384"/>
            <ac:spMk id="3" creationId="{928055D8-A0C5-B6E9-E373-4028FAA4C25D}"/>
          </ac:spMkLst>
        </pc:spChg>
        <pc:spChg chg="mod">
          <ac:chgData name="Hu, Frank" userId="d3ad470f-91d8-4bd6-b171-9c10023cc60b" providerId="ADAL" clId="{4318B471-A1F0-4F65-94FE-F3B7A4C701AA}" dt="2023-03-22T11:55:19.811" v="0"/>
          <ac:spMkLst>
            <pc:docMk/>
            <pc:sldMk cId="3966743872" sldId="2147479384"/>
            <ac:spMk id="4" creationId="{5CA3260C-DFB8-E6C6-B22D-DE795E598B25}"/>
          </ac:spMkLst>
        </pc:spChg>
        <pc:spChg chg="mod">
          <ac:chgData name="Hu, Frank" userId="d3ad470f-91d8-4bd6-b171-9c10023cc60b" providerId="ADAL" clId="{4318B471-A1F0-4F65-94FE-F3B7A4C701AA}" dt="2023-03-22T11:56:15.131" v="17" actId="20577"/>
          <ac:spMkLst>
            <pc:docMk/>
            <pc:sldMk cId="3966743872" sldId="2147479384"/>
            <ac:spMk id="8" creationId="{FA599E03-946F-71FE-A4D0-803B5600B5B7}"/>
          </ac:spMkLst>
        </pc:spChg>
        <pc:spChg chg="mod">
          <ac:chgData name="Hu, Frank" userId="d3ad470f-91d8-4bd6-b171-9c10023cc60b" providerId="ADAL" clId="{4318B471-A1F0-4F65-94FE-F3B7A4C701AA}" dt="2023-03-22T11:56:28.868" v="50" actId="20577"/>
          <ac:spMkLst>
            <pc:docMk/>
            <pc:sldMk cId="3966743872" sldId="2147479384"/>
            <ac:spMk id="9" creationId="{2140142F-78BC-C439-630E-26509398A287}"/>
          </ac:spMkLst>
        </pc:spChg>
        <pc:spChg chg="mod">
          <ac:chgData name="Hu, Frank" userId="d3ad470f-91d8-4bd6-b171-9c10023cc60b" providerId="ADAL" clId="{4318B471-A1F0-4F65-94FE-F3B7A4C701AA}" dt="2023-03-22T11:55:45.506" v="3" actId="1076"/>
          <ac:spMkLst>
            <pc:docMk/>
            <pc:sldMk cId="3966743872" sldId="2147479384"/>
            <ac:spMk id="10" creationId="{491695E1-928E-AAE9-E3DE-9C7504B56E7B}"/>
          </ac:spMkLst>
        </pc:spChg>
        <pc:spChg chg="mod">
          <ac:chgData name="Hu, Frank" userId="d3ad470f-91d8-4bd6-b171-9c10023cc60b" providerId="ADAL" clId="{4318B471-A1F0-4F65-94FE-F3B7A4C701AA}" dt="2023-03-22T11:56:34.125" v="53" actId="20577"/>
          <ac:spMkLst>
            <pc:docMk/>
            <pc:sldMk cId="3966743872" sldId="2147479384"/>
            <ac:spMk id="11" creationId="{765BF86F-00C5-1447-4178-73E453556809}"/>
          </ac:spMkLst>
        </pc:spChg>
        <pc:spChg chg="mod">
          <ac:chgData name="Hu, Frank" userId="d3ad470f-91d8-4bd6-b171-9c10023cc60b" providerId="ADAL" clId="{4318B471-A1F0-4F65-94FE-F3B7A4C701AA}" dt="2023-03-22T11:55:45.506" v="3" actId="1076"/>
          <ac:spMkLst>
            <pc:docMk/>
            <pc:sldMk cId="3966743872" sldId="2147479384"/>
            <ac:spMk id="12" creationId="{939A5862-88DE-BCDC-A5DC-FBA57A559FB3}"/>
          </ac:spMkLst>
        </pc:spChg>
        <pc:spChg chg="add del">
          <ac:chgData name="Hu, Frank" userId="d3ad470f-91d8-4bd6-b171-9c10023cc60b" providerId="ADAL" clId="{4318B471-A1F0-4F65-94FE-F3B7A4C701AA}" dt="2023-03-22T11:55:54.758" v="5" actId="478"/>
          <ac:spMkLst>
            <pc:docMk/>
            <pc:sldMk cId="3966743872" sldId="2147479384"/>
            <ac:spMk id="13" creationId="{8DADAC37-B4EF-D832-A380-1B06356910AB}"/>
          </ac:spMkLst>
        </pc:spChg>
        <pc:spChg chg="add del">
          <ac:chgData name="Hu, Frank" userId="d3ad470f-91d8-4bd6-b171-9c10023cc60b" providerId="ADAL" clId="{4318B471-A1F0-4F65-94FE-F3B7A4C701AA}" dt="2023-03-22T11:55:54.758" v="5" actId="478"/>
          <ac:spMkLst>
            <pc:docMk/>
            <pc:sldMk cId="3966743872" sldId="2147479384"/>
            <ac:spMk id="14" creationId="{CF195D4F-15FE-98B7-EAA2-E9ABA4BD0811}"/>
          </ac:spMkLst>
        </pc:spChg>
        <pc:spChg chg="add del">
          <ac:chgData name="Hu, Frank" userId="d3ad470f-91d8-4bd6-b171-9c10023cc60b" providerId="ADAL" clId="{4318B471-A1F0-4F65-94FE-F3B7A4C701AA}" dt="2023-03-22T11:55:54.758" v="5" actId="478"/>
          <ac:spMkLst>
            <pc:docMk/>
            <pc:sldMk cId="3966743872" sldId="2147479384"/>
            <ac:spMk id="15" creationId="{6A0D5A43-3A33-BEF5-2308-C872F2D1B2CF}"/>
          </ac:spMkLst>
        </pc:spChg>
        <pc:spChg chg="add del">
          <ac:chgData name="Hu, Frank" userId="d3ad470f-91d8-4bd6-b171-9c10023cc60b" providerId="ADAL" clId="{4318B471-A1F0-4F65-94FE-F3B7A4C701AA}" dt="2023-03-22T11:55:54.758" v="5" actId="478"/>
          <ac:spMkLst>
            <pc:docMk/>
            <pc:sldMk cId="3966743872" sldId="2147479384"/>
            <ac:spMk id="16" creationId="{2D796012-889B-37BC-9424-1292062480B5}"/>
          </ac:spMkLst>
        </pc:spChg>
        <pc:spChg chg="add del mod">
          <ac:chgData name="Hu, Frank" userId="d3ad470f-91d8-4bd6-b171-9c10023cc60b" providerId="ADAL" clId="{4318B471-A1F0-4F65-94FE-F3B7A4C701AA}" dt="2023-03-22T11:56:38.563" v="57" actId="20577"/>
          <ac:spMkLst>
            <pc:docMk/>
            <pc:sldMk cId="3966743872" sldId="2147479384"/>
            <ac:spMk id="19" creationId="{9303F777-ADB3-89D6-A7FF-DFB8F9CE8431}"/>
          </ac:spMkLst>
        </pc:spChg>
        <pc:spChg chg="add del">
          <ac:chgData name="Hu, Frank" userId="d3ad470f-91d8-4bd6-b171-9c10023cc60b" providerId="ADAL" clId="{4318B471-A1F0-4F65-94FE-F3B7A4C701AA}" dt="2023-03-22T11:55:54.758" v="5" actId="478"/>
          <ac:spMkLst>
            <pc:docMk/>
            <pc:sldMk cId="3966743872" sldId="2147479384"/>
            <ac:spMk id="20" creationId="{32218C87-A9BF-3B41-1787-54EB18E798F3}"/>
          </ac:spMkLst>
        </pc:spChg>
        <pc:spChg chg="del">
          <ac:chgData name="Hu, Frank" userId="d3ad470f-91d8-4bd6-b171-9c10023cc60b" providerId="ADAL" clId="{4318B471-A1F0-4F65-94FE-F3B7A4C701AA}" dt="2023-03-22T11:55:24.853" v="1" actId="478"/>
          <ac:spMkLst>
            <pc:docMk/>
            <pc:sldMk cId="3966743872" sldId="2147479384"/>
            <ac:spMk id="21" creationId="{FBAA6C8D-6A4F-C248-6ADD-B39225645D70}"/>
          </ac:spMkLst>
        </pc:spChg>
      </pc:sldChg>
      <pc:sldChg chg="addSp delSp modSp add mod ord">
        <pc:chgData name="Hu, Frank" userId="d3ad470f-91d8-4bd6-b171-9c10023cc60b" providerId="ADAL" clId="{4318B471-A1F0-4F65-94FE-F3B7A4C701AA}" dt="2023-03-27T06:06:49.435" v="3493"/>
        <pc:sldMkLst>
          <pc:docMk/>
          <pc:sldMk cId="524445388" sldId="2147479418"/>
        </pc:sldMkLst>
        <pc:spChg chg="mod">
          <ac:chgData name="Hu, Frank" userId="d3ad470f-91d8-4bd6-b171-9c10023cc60b" providerId="ADAL" clId="{4318B471-A1F0-4F65-94FE-F3B7A4C701AA}" dt="2023-03-24T06:54:54.298" v="2196" actId="1076"/>
          <ac:spMkLst>
            <pc:docMk/>
            <pc:sldMk cId="524445388" sldId="2147479418"/>
            <ac:spMk id="4" creationId="{CB29207A-D4DE-D56A-037A-3B1A1A1B6EB6}"/>
          </ac:spMkLst>
        </pc:spChg>
        <pc:spChg chg="add mod">
          <ac:chgData name="Hu, Frank" userId="d3ad470f-91d8-4bd6-b171-9c10023cc60b" providerId="ADAL" clId="{4318B471-A1F0-4F65-94FE-F3B7A4C701AA}" dt="2023-03-24T06:53:59.810" v="2190" actId="1076"/>
          <ac:spMkLst>
            <pc:docMk/>
            <pc:sldMk cId="524445388" sldId="2147479418"/>
            <ac:spMk id="5" creationId="{D4B88705-1AB0-32CF-2063-4176F3E75B11}"/>
          </ac:spMkLst>
        </pc:spChg>
        <pc:spChg chg="add mod">
          <ac:chgData name="Hu, Frank" userId="d3ad470f-91d8-4bd6-b171-9c10023cc60b" providerId="ADAL" clId="{4318B471-A1F0-4F65-94FE-F3B7A4C701AA}" dt="2023-03-24T06:53:59.810" v="2190" actId="1076"/>
          <ac:spMkLst>
            <pc:docMk/>
            <pc:sldMk cId="524445388" sldId="2147479418"/>
            <ac:spMk id="6" creationId="{573B1EB4-72E6-CF15-D7A6-FDBB92B6996A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7" creationId="{295D23EC-61D1-E858-645A-2BC530073C32}"/>
          </ac:spMkLst>
        </pc:spChg>
        <pc:spChg chg="mod">
          <ac:chgData name="Hu, Frank" userId="d3ad470f-91d8-4bd6-b171-9c10023cc60b" providerId="ADAL" clId="{4318B471-A1F0-4F65-94FE-F3B7A4C701AA}" dt="2023-03-24T06:53:59.810" v="2190" actId="1076"/>
          <ac:spMkLst>
            <pc:docMk/>
            <pc:sldMk cId="524445388" sldId="2147479418"/>
            <ac:spMk id="8" creationId="{11E57C2B-5DA0-B107-DCFE-6CCD117908D1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9" creationId="{25BF92A4-741A-709F-F0E2-4A5CD1BF25C6}"/>
          </ac:spMkLst>
        </pc:spChg>
        <pc:spChg chg="mod">
          <ac:chgData name="Hu, Frank" userId="d3ad470f-91d8-4bd6-b171-9c10023cc60b" providerId="ADAL" clId="{4318B471-A1F0-4F65-94FE-F3B7A4C701AA}" dt="2023-03-24T06:54:54.298" v="2196" actId="1076"/>
          <ac:spMkLst>
            <pc:docMk/>
            <pc:sldMk cId="524445388" sldId="2147479418"/>
            <ac:spMk id="10" creationId="{C706D9D0-1EA2-9E6F-E611-BF379723544D}"/>
          </ac:spMkLst>
        </pc:spChg>
        <pc:spChg chg="mod">
          <ac:chgData name="Hu, Frank" userId="d3ad470f-91d8-4bd6-b171-9c10023cc60b" providerId="ADAL" clId="{4318B471-A1F0-4F65-94FE-F3B7A4C701AA}" dt="2023-03-24T06:54:54.298" v="2196" actId="1076"/>
          <ac:spMkLst>
            <pc:docMk/>
            <pc:sldMk cId="524445388" sldId="2147479418"/>
            <ac:spMk id="11" creationId="{A8D23218-2AE7-D9AE-25B0-10731E894661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12" creationId="{3FB8ADB0-D5E6-8697-3583-B5069BF71724}"/>
          </ac:spMkLst>
        </pc:spChg>
        <pc:spChg chg="mod">
          <ac:chgData name="Hu, Frank" userId="d3ad470f-91d8-4bd6-b171-9c10023cc60b" providerId="ADAL" clId="{4318B471-A1F0-4F65-94FE-F3B7A4C701AA}" dt="2023-03-24T06:54:54.298" v="2196" actId="1076"/>
          <ac:spMkLst>
            <pc:docMk/>
            <pc:sldMk cId="524445388" sldId="2147479418"/>
            <ac:spMk id="14" creationId="{ACACAF81-18AD-A7FA-7406-CB76BB415982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15" creationId="{3752BC3E-B308-BF4D-71FB-923F2B4630A8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16" creationId="{5339BDFB-080F-5B1B-E933-DD0E40602FAC}"/>
          </ac:spMkLst>
        </pc:spChg>
        <pc:spChg chg="mod">
          <ac:chgData name="Hu, Frank" userId="d3ad470f-91d8-4bd6-b171-9c10023cc60b" providerId="ADAL" clId="{4318B471-A1F0-4F65-94FE-F3B7A4C701AA}" dt="2023-03-24T06:54:54.298" v="2196" actId="1076"/>
          <ac:spMkLst>
            <pc:docMk/>
            <pc:sldMk cId="524445388" sldId="2147479418"/>
            <ac:spMk id="17" creationId="{FCB4DD84-3FFB-D109-391A-E08D81AF6BE4}"/>
          </ac:spMkLst>
        </pc:spChg>
        <pc:spChg chg="mod">
          <ac:chgData name="Hu, Frank" userId="d3ad470f-91d8-4bd6-b171-9c10023cc60b" providerId="ADAL" clId="{4318B471-A1F0-4F65-94FE-F3B7A4C701AA}" dt="2023-03-24T06:54:54.298" v="2196" actId="1076"/>
          <ac:spMkLst>
            <pc:docMk/>
            <pc:sldMk cId="524445388" sldId="2147479418"/>
            <ac:spMk id="18" creationId="{74C93997-2870-46C7-E151-F8AC1436FCE2}"/>
          </ac:spMkLst>
        </pc:spChg>
        <pc:spChg chg="mod">
          <ac:chgData name="Hu, Frank" userId="d3ad470f-91d8-4bd6-b171-9c10023cc60b" providerId="ADAL" clId="{4318B471-A1F0-4F65-94FE-F3B7A4C701AA}" dt="2023-03-24T06:54:54.298" v="2196" actId="1076"/>
          <ac:spMkLst>
            <pc:docMk/>
            <pc:sldMk cId="524445388" sldId="2147479418"/>
            <ac:spMk id="19" creationId="{BC6F1160-2673-4B3F-D05B-D781659DA96A}"/>
          </ac:spMkLst>
        </pc:spChg>
        <pc:spChg chg="add mod">
          <ac:chgData name="Hu, Frank" userId="d3ad470f-91d8-4bd6-b171-9c10023cc60b" providerId="ADAL" clId="{4318B471-A1F0-4F65-94FE-F3B7A4C701AA}" dt="2023-03-24T06:53:59.810" v="2190" actId="1076"/>
          <ac:spMkLst>
            <pc:docMk/>
            <pc:sldMk cId="524445388" sldId="2147479418"/>
            <ac:spMk id="20" creationId="{0C36B269-D9BE-4F55-95FE-BE09F5F33865}"/>
          </ac:spMkLst>
        </pc:spChg>
        <pc:spChg chg="add mod">
          <ac:chgData name="Hu, Frank" userId="d3ad470f-91d8-4bd6-b171-9c10023cc60b" providerId="ADAL" clId="{4318B471-A1F0-4F65-94FE-F3B7A4C701AA}" dt="2023-03-24T06:53:59.810" v="2190" actId="1076"/>
          <ac:spMkLst>
            <pc:docMk/>
            <pc:sldMk cId="524445388" sldId="2147479418"/>
            <ac:spMk id="21" creationId="{A93B4DEC-74CB-1FCE-A866-0DAF62A8618A}"/>
          </ac:spMkLst>
        </pc:spChg>
        <pc:spChg chg="mod">
          <ac:chgData name="Hu, Frank" userId="d3ad470f-91d8-4bd6-b171-9c10023cc60b" providerId="ADAL" clId="{4318B471-A1F0-4F65-94FE-F3B7A4C701AA}" dt="2023-03-24T06:53:13.695" v="2184" actId="14100"/>
          <ac:spMkLst>
            <pc:docMk/>
            <pc:sldMk cId="524445388" sldId="2147479418"/>
            <ac:spMk id="22" creationId="{D1E0F493-99D7-EEE0-B073-690B3FEB6C24}"/>
          </ac:spMkLst>
        </pc:spChg>
        <pc:spChg chg="mod">
          <ac:chgData name="Hu, Frank" userId="d3ad470f-91d8-4bd6-b171-9c10023cc60b" providerId="ADAL" clId="{4318B471-A1F0-4F65-94FE-F3B7A4C701AA}" dt="2023-03-24T06:31:35.923" v="2180" actId="20577"/>
          <ac:spMkLst>
            <pc:docMk/>
            <pc:sldMk cId="524445388" sldId="2147479418"/>
            <ac:spMk id="23" creationId="{9F76C2F3-1E06-9B47-ADE3-9ED0A50A3BD7}"/>
          </ac:spMkLst>
        </pc:spChg>
        <pc:spChg chg="add mod">
          <ac:chgData name="Hu, Frank" userId="d3ad470f-91d8-4bd6-b171-9c10023cc60b" providerId="ADAL" clId="{4318B471-A1F0-4F65-94FE-F3B7A4C701AA}" dt="2023-03-24T06:53:59.810" v="2190" actId="1076"/>
          <ac:spMkLst>
            <pc:docMk/>
            <pc:sldMk cId="524445388" sldId="2147479418"/>
            <ac:spMk id="24" creationId="{F257CCAA-2D26-A1C1-A740-E94E4F2083A0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25" creationId="{3CF3E9F8-8816-822F-A2E0-11E3988BF6DE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26" creationId="{4BC9D570-A4BA-72AD-B409-8AEC17228239}"/>
          </ac:spMkLst>
        </pc:spChg>
        <pc:spChg chg="mod">
          <ac:chgData name="Hu, Frank" userId="d3ad470f-91d8-4bd6-b171-9c10023cc60b" providerId="ADAL" clId="{4318B471-A1F0-4F65-94FE-F3B7A4C701AA}" dt="2023-03-24T06:54:54.298" v="2196" actId="1076"/>
          <ac:spMkLst>
            <pc:docMk/>
            <pc:sldMk cId="524445388" sldId="2147479418"/>
            <ac:spMk id="28" creationId="{68D40BC5-7C2C-2502-041A-D34B2B9E904B}"/>
          </ac:spMkLst>
        </pc:spChg>
        <pc:spChg chg="add mod">
          <ac:chgData name="Hu, Frank" userId="d3ad470f-91d8-4bd6-b171-9c10023cc60b" providerId="ADAL" clId="{4318B471-A1F0-4F65-94FE-F3B7A4C701AA}" dt="2023-03-24T06:53:59.810" v="2190" actId="1076"/>
          <ac:spMkLst>
            <pc:docMk/>
            <pc:sldMk cId="524445388" sldId="2147479418"/>
            <ac:spMk id="29" creationId="{7D9BD232-DEAF-0423-DF79-B9F9C7177611}"/>
          </ac:spMkLst>
        </pc:spChg>
        <pc:spChg chg="add mod">
          <ac:chgData name="Hu, Frank" userId="d3ad470f-91d8-4bd6-b171-9c10023cc60b" providerId="ADAL" clId="{4318B471-A1F0-4F65-94FE-F3B7A4C701AA}" dt="2023-03-24T06:53:59.810" v="2190" actId="1076"/>
          <ac:spMkLst>
            <pc:docMk/>
            <pc:sldMk cId="524445388" sldId="2147479418"/>
            <ac:spMk id="33" creationId="{C6BDB858-FFA4-BBFC-62B8-7B2C20A1E568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34" creationId="{FDEEF97E-83DB-C0AE-A86B-E12D077D4B6C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35" creationId="{3E7B1473-6D44-B227-90E4-E37CFFD5817B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36" creationId="{FD30DB93-8E1C-FF65-9C15-D83338675723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37" creationId="{82436E58-0B09-7381-6D71-7B666D64EC30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38" creationId="{244F1763-7B3C-31F0-3EF9-5E9AE80954DD}"/>
          </ac:spMkLst>
        </pc:spChg>
        <pc:spChg chg="add mod">
          <ac:chgData name="Hu, Frank" userId="d3ad470f-91d8-4bd6-b171-9c10023cc60b" providerId="ADAL" clId="{4318B471-A1F0-4F65-94FE-F3B7A4C701AA}" dt="2023-03-24T06:53:59.810" v="2190" actId="1076"/>
          <ac:spMkLst>
            <pc:docMk/>
            <pc:sldMk cId="524445388" sldId="2147479418"/>
            <ac:spMk id="39" creationId="{EE6DE279-46B6-ACC5-0A80-9F5ADDC388EB}"/>
          </ac:spMkLst>
        </pc:spChg>
        <pc:spChg chg="add mod">
          <ac:chgData name="Hu, Frank" userId="d3ad470f-91d8-4bd6-b171-9c10023cc60b" providerId="ADAL" clId="{4318B471-A1F0-4F65-94FE-F3B7A4C701AA}" dt="2023-03-24T06:53:59.810" v="2190" actId="1076"/>
          <ac:spMkLst>
            <pc:docMk/>
            <pc:sldMk cId="524445388" sldId="2147479418"/>
            <ac:spMk id="40" creationId="{6B41DF32-3FB0-E930-8C3B-1840D1E612FD}"/>
          </ac:spMkLst>
        </pc:spChg>
        <pc:spChg chg="add del mod">
          <ac:chgData name="Hu, Frank" userId="d3ad470f-91d8-4bd6-b171-9c10023cc60b" providerId="ADAL" clId="{4318B471-A1F0-4F65-94FE-F3B7A4C701AA}" dt="2023-03-24T06:53:30.420" v="2186" actId="478"/>
          <ac:spMkLst>
            <pc:docMk/>
            <pc:sldMk cId="524445388" sldId="2147479418"/>
            <ac:spMk id="41" creationId="{CA3F720D-598C-9685-3876-F166913488B5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42" creationId="{055A187E-2777-C26C-C3BF-EFD6B7B02F98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43" creationId="{92F1F39D-AF34-E722-F3E4-0B423AD588F8}"/>
          </ac:spMkLst>
        </pc:spChg>
        <pc:spChg chg="add mod">
          <ac:chgData name="Hu, Frank" userId="d3ad470f-91d8-4bd6-b171-9c10023cc60b" providerId="ADAL" clId="{4318B471-A1F0-4F65-94FE-F3B7A4C701AA}" dt="2023-03-24T06:54:13.936" v="2191" actId="1076"/>
          <ac:spMkLst>
            <pc:docMk/>
            <pc:sldMk cId="524445388" sldId="2147479418"/>
            <ac:spMk id="44" creationId="{46D36AF5-8FD9-DD08-B219-865611645583}"/>
          </ac:spMkLst>
        </pc:spChg>
        <pc:spChg chg="add mod">
          <ac:chgData name="Hu, Frank" userId="d3ad470f-91d8-4bd6-b171-9c10023cc60b" providerId="ADAL" clId="{4318B471-A1F0-4F65-94FE-F3B7A4C701AA}" dt="2023-03-24T06:54:42.493" v="2195" actId="465"/>
          <ac:spMkLst>
            <pc:docMk/>
            <pc:sldMk cId="524445388" sldId="2147479418"/>
            <ac:spMk id="45" creationId="{4F5396AC-07C6-AFC3-23BF-6AD857B3E1B3}"/>
          </ac:spMkLst>
        </pc:spChg>
        <pc:spChg chg="add mod">
          <ac:chgData name="Hu, Frank" userId="d3ad470f-91d8-4bd6-b171-9c10023cc60b" providerId="ADAL" clId="{4318B471-A1F0-4F65-94FE-F3B7A4C701AA}" dt="2023-03-24T06:54:34.992" v="2194" actId="1076"/>
          <ac:spMkLst>
            <pc:docMk/>
            <pc:sldMk cId="524445388" sldId="2147479418"/>
            <ac:spMk id="46" creationId="{C23F53E6-74A4-0506-1F63-4DC73726D83A}"/>
          </ac:spMkLst>
        </pc:spChg>
        <pc:spChg chg="add mod">
          <ac:chgData name="Hu, Frank" userId="d3ad470f-91d8-4bd6-b171-9c10023cc60b" providerId="ADAL" clId="{4318B471-A1F0-4F65-94FE-F3B7A4C701AA}" dt="2023-03-24T06:54:29.158" v="2193" actId="14100"/>
          <ac:spMkLst>
            <pc:docMk/>
            <pc:sldMk cId="524445388" sldId="2147479418"/>
            <ac:spMk id="47" creationId="{E7CE233D-7E0D-636E-71C2-559E9432F343}"/>
          </ac:spMkLst>
        </pc:spChg>
        <pc:spChg chg="add mod">
          <ac:chgData name="Hu, Frank" userId="d3ad470f-91d8-4bd6-b171-9c10023cc60b" providerId="ADAL" clId="{4318B471-A1F0-4F65-94FE-F3B7A4C701AA}" dt="2023-03-24T06:53:59.810" v="2190" actId="1076"/>
          <ac:spMkLst>
            <pc:docMk/>
            <pc:sldMk cId="524445388" sldId="2147479418"/>
            <ac:spMk id="48" creationId="{2997D5DA-D608-575E-C55E-2719C3F52D24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49" creationId="{E21D2E21-15B1-53A6-F2E3-03E733A0326F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50" creationId="{0DA1E626-8152-62CA-8E01-CF9889B7C25A}"/>
          </ac:spMkLst>
        </pc:spChg>
        <pc:spChg chg="add mod">
          <ac:chgData name="Hu, Frank" userId="d3ad470f-91d8-4bd6-b171-9c10023cc60b" providerId="ADAL" clId="{4318B471-A1F0-4F65-94FE-F3B7A4C701AA}" dt="2023-03-24T06:55:10.807" v="2199" actId="14100"/>
          <ac:spMkLst>
            <pc:docMk/>
            <pc:sldMk cId="524445388" sldId="2147479418"/>
            <ac:spMk id="51" creationId="{3A5922BE-AF84-4858-F98F-D3ADF5E9D782}"/>
          </ac:spMkLst>
        </pc:spChg>
        <pc:spChg chg="add mod">
          <ac:chgData name="Hu, Frank" userId="d3ad470f-91d8-4bd6-b171-9c10023cc60b" providerId="ADAL" clId="{4318B471-A1F0-4F65-94FE-F3B7A4C701AA}" dt="2023-03-27T01:23:00.914" v="2373" actId="1076"/>
          <ac:spMkLst>
            <pc:docMk/>
            <pc:sldMk cId="524445388" sldId="2147479418"/>
            <ac:spMk id="53" creationId="{5DF59D4E-5AB9-B744-50C6-87AF873427AD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55" creationId="{D514885B-D4EE-9FF6-11F3-5EE7AA5AEB67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56" creationId="{42A2DD37-FF7D-CE87-9052-1360B314597E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57" creationId="{A6AD37DF-43DD-0C98-3E04-765F2D4D1C9C}"/>
          </ac:spMkLst>
        </pc:spChg>
        <pc:spChg chg="add mod">
          <ac:chgData name="Hu, Frank" userId="d3ad470f-91d8-4bd6-b171-9c10023cc60b" providerId="ADAL" clId="{4318B471-A1F0-4F65-94FE-F3B7A4C701AA}" dt="2023-03-27T01:23:00.914" v="2373" actId="1076"/>
          <ac:spMkLst>
            <pc:docMk/>
            <pc:sldMk cId="524445388" sldId="2147479418"/>
            <ac:spMk id="59" creationId="{917707B2-0001-BD8E-E073-C4530302A24E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60" creationId="{CD89BB57-223B-780D-C4E8-A52325DD5EC7}"/>
          </ac:spMkLst>
        </pc:spChg>
        <pc:spChg chg="add del mod">
          <ac:chgData name="Hu, Frank" userId="d3ad470f-91d8-4bd6-b171-9c10023cc60b" providerId="ADAL" clId="{4318B471-A1F0-4F65-94FE-F3B7A4C701AA}" dt="2023-03-24T06:56:26.018" v="2256" actId="478"/>
          <ac:spMkLst>
            <pc:docMk/>
            <pc:sldMk cId="524445388" sldId="2147479418"/>
            <ac:spMk id="61" creationId="{6437EC9D-748C-9E84-E14F-9BB65A3AFA3E}"/>
          </ac:spMkLst>
        </pc:spChg>
        <pc:spChg chg="add del mod">
          <ac:chgData name="Hu, Frank" userId="d3ad470f-91d8-4bd6-b171-9c10023cc60b" providerId="ADAL" clId="{4318B471-A1F0-4F65-94FE-F3B7A4C701AA}" dt="2023-03-24T06:56:26.018" v="2256" actId="478"/>
          <ac:spMkLst>
            <pc:docMk/>
            <pc:sldMk cId="524445388" sldId="2147479418"/>
            <ac:spMk id="62" creationId="{F48B12FD-3CE9-5A32-F5AD-89ECF51E2807}"/>
          </ac:spMkLst>
        </pc:spChg>
        <pc:spChg chg="add mod">
          <ac:chgData name="Hu, Frank" userId="d3ad470f-91d8-4bd6-b171-9c10023cc60b" providerId="ADAL" clId="{4318B471-A1F0-4F65-94FE-F3B7A4C701AA}" dt="2023-03-27T01:23:00.914" v="2373" actId="1076"/>
          <ac:spMkLst>
            <pc:docMk/>
            <pc:sldMk cId="524445388" sldId="2147479418"/>
            <ac:spMk id="63" creationId="{A9F87C13-C4E0-CA9B-670E-67F627D4923E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64" creationId="{CCD04949-F877-7870-DBEF-DD3A1E2297DE}"/>
          </ac:spMkLst>
        </pc:spChg>
        <pc:spChg chg="add mod">
          <ac:chgData name="Hu, Frank" userId="d3ad470f-91d8-4bd6-b171-9c10023cc60b" providerId="ADAL" clId="{4318B471-A1F0-4F65-94FE-F3B7A4C701AA}" dt="2023-03-27T01:23:00.914" v="2373" actId="1076"/>
          <ac:spMkLst>
            <pc:docMk/>
            <pc:sldMk cId="524445388" sldId="2147479418"/>
            <ac:spMk id="65" creationId="{007C421A-5AD6-C96F-2A6C-7ACDA5401A3C}"/>
          </ac:spMkLst>
        </pc:spChg>
        <pc:spChg chg="add mod">
          <ac:chgData name="Hu, Frank" userId="d3ad470f-91d8-4bd6-b171-9c10023cc60b" providerId="ADAL" clId="{4318B471-A1F0-4F65-94FE-F3B7A4C701AA}" dt="2023-03-27T01:23:00.914" v="2373" actId="1076"/>
          <ac:spMkLst>
            <pc:docMk/>
            <pc:sldMk cId="524445388" sldId="2147479418"/>
            <ac:spMk id="66" creationId="{0E6F4DCC-2A8F-480E-6AB4-0F408EF6436F}"/>
          </ac:spMkLst>
        </pc:spChg>
        <pc:spChg chg="add mod">
          <ac:chgData name="Hu, Frank" userId="d3ad470f-91d8-4bd6-b171-9c10023cc60b" providerId="ADAL" clId="{4318B471-A1F0-4F65-94FE-F3B7A4C701AA}" dt="2023-03-27T01:23:00.914" v="2373" actId="1076"/>
          <ac:spMkLst>
            <pc:docMk/>
            <pc:sldMk cId="524445388" sldId="2147479418"/>
            <ac:spMk id="67" creationId="{1073B2A1-DD3D-AEE1-3161-3E7C19D5A545}"/>
          </ac:spMkLst>
        </pc:spChg>
        <pc:spChg chg="add mod">
          <ac:chgData name="Hu, Frank" userId="d3ad470f-91d8-4bd6-b171-9c10023cc60b" providerId="ADAL" clId="{4318B471-A1F0-4F65-94FE-F3B7A4C701AA}" dt="2023-03-24T07:22:32.849" v="2290" actId="1076"/>
          <ac:spMkLst>
            <pc:docMk/>
            <pc:sldMk cId="524445388" sldId="2147479418"/>
            <ac:spMk id="70" creationId="{C38DA1F5-78ED-FEA5-3C7C-F1FC0F58458A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71" creationId="{1E19948D-0DD1-9E8A-2885-0103527E21F9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73" creationId="{26CD5F1F-B694-4328-2A0B-4335B78176EA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74" creationId="{7499B221-A9D8-8D35-6654-C8716BF0F43B}"/>
          </ac:spMkLst>
        </pc:spChg>
        <pc:spChg chg="del">
          <ac:chgData name="Hu, Frank" userId="d3ad470f-91d8-4bd6-b171-9c10023cc60b" providerId="ADAL" clId="{4318B471-A1F0-4F65-94FE-F3B7A4C701AA}" dt="2023-03-24T06:32:30.993" v="2181" actId="478"/>
          <ac:spMkLst>
            <pc:docMk/>
            <pc:sldMk cId="524445388" sldId="2147479418"/>
            <ac:spMk id="75" creationId="{94D5ABB9-9CB5-0C75-2CA4-6F0015470ACA}"/>
          </ac:spMkLst>
        </pc:spChg>
        <pc:spChg chg="add mod">
          <ac:chgData name="Hu, Frank" userId="d3ad470f-91d8-4bd6-b171-9c10023cc60b" providerId="ADAL" clId="{4318B471-A1F0-4F65-94FE-F3B7A4C701AA}" dt="2023-03-24T07:25:23.171" v="2299" actId="1076"/>
          <ac:spMkLst>
            <pc:docMk/>
            <pc:sldMk cId="524445388" sldId="2147479418"/>
            <ac:spMk id="79" creationId="{9FD3D70D-6FCB-8203-C8BC-3F5AEA4F7578}"/>
          </ac:spMkLst>
        </pc:spChg>
        <pc:spChg chg="add del">
          <ac:chgData name="Hu, Frank" userId="d3ad470f-91d8-4bd6-b171-9c10023cc60b" providerId="ADAL" clId="{4318B471-A1F0-4F65-94FE-F3B7A4C701AA}" dt="2023-03-24T10:09:25.309" v="2301" actId="11529"/>
          <ac:spMkLst>
            <pc:docMk/>
            <pc:sldMk cId="524445388" sldId="2147479418"/>
            <ac:spMk id="80" creationId="{A8A742C2-C927-C77F-4B84-D9BC7C0CD332}"/>
          </ac:spMkLst>
        </pc:spChg>
        <pc:spChg chg="add del">
          <ac:chgData name="Hu, Frank" userId="d3ad470f-91d8-4bd6-b171-9c10023cc60b" providerId="ADAL" clId="{4318B471-A1F0-4F65-94FE-F3B7A4C701AA}" dt="2023-03-24T10:09:55.827" v="2303" actId="11529"/>
          <ac:spMkLst>
            <pc:docMk/>
            <pc:sldMk cId="524445388" sldId="2147479418"/>
            <ac:spMk id="81" creationId="{5954393D-9F86-9C15-C610-B2A8B677F1E6}"/>
          </ac:spMkLst>
        </pc:spChg>
        <pc:spChg chg="add mod">
          <ac:chgData name="Hu, Frank" userId="d3ad470f-91d8-4bd6-b171-9c10023cc60b" providerId="ADAL" clId="{4318B471-A1F0-4F65-94FE-F3B7A4C701AA}" dt="2023-03-27T01:23:00.914" v="2373" actId="1076"/>
          <ac:spMkLst>
            <pc:docMk/>
            <pc:sldMk cId="524445388" sldId="2147479418"/>
            <ac:spMk id="82" creationId="{31F57416-9915-B9F5-1CCF-FAD1CDB6E292}"/>
          </ac:spMkLst>
        </pc:spChg>
        <pc:spChg chg="add del">
          <ac:chgData name="Hu, Frank" userId="d3ad470f-91d8-4bd6-b171-9c10023cc60b" providerId="ADAL" clId="{4318B471-A1F0-4F65-94FE-F3B7A4C701AA}" dt="2023-03-24T10:10:27.569" v="2307" actId="11529"/>
          <ac:spMkLst>
            <pc:docMk/>
            <pc:sldMk cId="524445388" sldId="2147479418"/>
            <ac:spMk id="83" creationId="{0A8FC585-0F0D-F912-1970-4E6088BDA2AA}"/>
          </ac:spMkLst>
        </pc:spChg>
        <pc:spChg chg="add del mod">
          <ac:chgData name="Hu, Frank" userId="d3ad470f-91d8-4bd6-b171-9c10023cc60b" providerId="ADAL" clId="{4318B471-A1F0-4F65-94FE-F3B7A4C701AA}" dt="2023-03-24T10:11:23.667" v="2319" actId="478"/>
          <ac:spMkLst>
            <pc:docMk/>
            <pc:sldMk cId="524445388" sldId="2147479418"/>
            <ac:spMk id="84" creationId="{C079CEE6-A7FF-466F-F1E3-77584960F0A1}"/>
          </ac:spMkLst>
        </pc:spChg>
        <pc:spChg chg="add mod">
          <ac:chgData name="Hu, Frank" userId="d3ad470f-91d8-4bd6-b171-9c10023cc60b" providerId="ADAL" clId="{4318B471-A1F0-4F65-94FE-F3B7A4C701AA}" dt="2023-03-27T01:23:00.914" v="2373" actId="1076"/>
          <ac:spMkLst>
            <pc:docMk/>
            <pc:sldMk cId="524445388" sldId="2147479418"/>
            <ac:spMk id="85" creationId="{36BA8F19-A4AF-712B-E567-3DF4B4E7CFDE}"/>
          </ac:spMkLst>
        </pc:spChg>
        <pc:spChg chg="add mod">
          <ac:chgData name="Hu, Frank" userId="d3ad470f-91d8-4bd6-b171-9c10023cc60b" providerId="ADAL" clId="{4318B471-A1F0-4F65-94FE-F3B7A4C701AA}" dt="2023-03-27T02:03:29.742" v="2417" actId="1076"/>
          <ac:spMkLst>
            <pc:docMk/>
            <pc:sldMk cId="524445388" sldId="2147479418"/>
            <ac:spMk id="90" creationId="{42EC2725-D59C-33E1-CAEB-583FAB645EB1}"/>
          </ac:spMkLst>
        </pc:spChg>
        <pc:spChg chg="add mod">
          <ac:chgData name="Hu, Frank" userId="d3ad470f-91d8-4bd6-b171-9c10023cc60b" providerId="ADAL" clId="{4318B471-A1F0-4F65-94FE-F3B7A4C701AA}" dt="2023-03-27T02:09:54.752" v="2647" actId="20577"/>
          <ac:spMkLst>
            <pc:docMk/>
            <pc:sldMk cId="524445388" sldId="2147479418"/>
            <ac:spMk id="91" creationId="{86E8598A-EB41-90C5-329F-7FBD4793845D}"/>
          </ac:spMkLst>
        </pc:spChg>
        <pc:spChg chg="add del">
          <ac:chgData name="Hu, Frank" userId="d3ad470f-91d8-4bd6-b171-9c10023cc60b" providerId="ADAL" clId="{4318B471-A1F0-4F65-94FE-F3B7A4C701AA}" dt="2023-03-27T06:06:43.728" v="3492" actId="22"/>
          <ac:spMkLst>
            <pc:docMk/>
            <pc:sldMk cId="524445388" sldId="2147479418"/>
            <ac:spMk id="93" creationId="{0F6A56DD-F29F-D369-F039-FA490830E5D1}"/>
          </ac:spMkLst>
        </pc:spChg>
        <pc:spChg chg="add mod">
          <ac:chgData name="Hu, Frank" userId="d3ad470f-91d8-4bd6-b171-9c10023cc60b" providerId="ADAL" clId="{4318B471-A1F0-4F65-94FE-F3B7A4C701AA}" dt="2023-03-27T06:06:49.435" v="3493"/>
          <ac:spMkLst>
            <pc:docMk/>
            <pc:sldMk cId="524445388" sldId="2147479418"/>
            <ac:spMk id="94" creationId="{6997523F-15A4-1E5F-3DC8-E30BF1A031D0}"/>
          </ac:spMkLst>
        </pc:spChg>
        <pc:picChg chg="add del mod">
          <ac:chgData name="Hu, Frank" userId="d3ad470f-91d8-4bd6-b171-9c10023cc60b" providerId="ADAL" clId="{4318B471-A1F0-4F65-94FE-F3B7A4C701AA}" dt="2023-03-24T07:25:02.205" v="2295" actId="478"/>
          <ac:picMkLst>
            <pc:docMk/>
            <pc:sldMk cId="524445388" sldId="2147479418"/>
            <ac:picMk id="76" creationId="{E0753A95-1B56-418F-00B4-65E1BA654EBE}"/>
          </ac:picMkLst>
        </pc:picChg>
        <pc:picChg chg="add mod">
          <ac:chgData name="Hu, Frank" userId="d3ad470f-91d8-4bd6-b171-9c10023cc60b" providerId="ADAL" clId="{4318B471-A1F0-4F65-94FE-F3B7A4C701AA}" dt="2023-03-24T10:12:59.934" v="2359" actId="1076"/>
          <ac:picMkLst>
            <pc:docMk/>
            <pc:sldMk cId="524445388" sldId="2147479418"/>
            <ac:picMk id="78" creationId="{52A862F6-A98F-D828-8606-B39326289C74}"/>
          </ac:picMkLst>
        </pc:picChg>
        <pc:picChg chg="add del mod">
          <ac:chgData name="Hu, Frank" userId="d3ad470f-91d8-4bd6-b171-9c10023cc60b" providerId="ADAL" clId="{4318B471-A1F0-4F65-94FE-F3B7A4C701AA}" dt="2023-03-27T01:31:13.392" v="2376" actId="478"/>
          <ac:picMkLst>
            <pc:docMk/>
            <pc:sldMk cId="524445388" sldId="2147479418"/>
            <ac:picMk id="87" creationId="{97A8C13E-F14B-31B6-13D5-FEC8C9774CE2}"/>
          </ac:picMkLst>
        </pc:picChg>
        <pc:picChg chg="add mod">
          <ac:chgData name="Hu, Frank" userId="d3ad470f-91d8-4bd6-b171-9c10023cc60b" providerId="ADAL" clId="{4318B471-A1F0-4F65-94FE-F3B7A4C701AA}" dt="2023-03-27T01:37:57.441" v="2379" actId="1036"/>
          <ac:picMkLst>
            <pc:docMk/>
            <pc:sldMk cId="524445388" sldId="2147479418"/>
            <ac:picMk id="89" creationId="{54507192-5B65-C58D-585B-7F74C3CE990A}"/>
          </ac:picMkLst>
        </pc:picChg>
        <pc:cxnChg chg="mod">
          <ac:chgData name="Hu, Frank" userId="d3ad470f-91d8-4bd6-b171-9c10023cc60b" providerId="ADAL" clId="{4318B471-A1F0-4F65-94FE-F3B7A4C701AA}" dt="2023-03-24T06:54:54.298" v="2196" actId="1076"/>
          <ac:cxnSpMkLst>
            <pc:docMk/>
            <pc:sldMk cId="524445388" sldId="2147479418"/>
            <ac:cxnSpMk id="2" creationId="{804E2CC8-5717-CF3D-D871-EEA731C54D86}"/>
          </ac:cxnSpMkLst>
        </pc:cxnChg>
        <pc:cxnChg chg="del">
          <ac:chgData name="Hu, Frank" userId="d3ad470f-91d8-4bd6-b171-9c10023cc60b" providerId="ADAL" clId="{4318B471-A1F0-4F65-94FE-F3B7A4C701AA}" dt="2023-03-24T06:32:30.993" v="2181" actId="478"/>
          <ac:cxnSpMkLst>
            <pc:docMk/>
            <pc:sldMk cId="524445388" sldId="2147479418"/>
            <ac:cxnSpMk id="13" creationId="{47AA93B4-AFB2-C52F-D9DB-08978B6837ED}"/>
          </ac:cxnSpMkLst>
        </pc:cxnChg>
        <pc:cxnChg chg="mod">
          <ac:chgData name="Hu, Frank" userId="d3ad470f-91d8-4bd6-b171-9c10023cc60b" providerId="ADAL" clId="{4318B471-A1F0-4F65-94FE-F3B7A4C701AA}" dt="2023-03-24T07:22:14.521" v="2285" actId="1076"/>
          <ac:cxnSpMkLst>
            <pc:docMk/>
            <pc:sldMk cId="524445388" sldId="2147479418"/>
            <ac:cxnSpMk id="27" creationId="{CE837971-C2BD-F23A-9AFC-278F9894CA6A}"/>
          </ac:cxnSpMkLst>
        </pc:cxnChg>
        <pc:cxnChg chg="del mod">
          <ac:chgData name="Hu, Frank" userId="d3ad470f-91d8-4bd6-b171-9c10023cc60b" providerId="ADAL" clId="{4318B471-A1F0-4F65-94FE-F3B7A4C701AA}" dt="2023-03-24T06:32:30.993" v="2181" actId="478"/>
          <ac:cxnSpMkLst>
            <pc:docMk/>
            <pc:sldMk cId="524445388" sldId="2147479418"/>
            <ac:cxnSpMk id="30" creationId="{100F0D05-8019-9384-D6C6-CF7C459C72E5}"/>
          </ac:cxnSpMkLst>
        </pc:cxnChg>
        <pc:cxnChg chg="mod">
          <ac:chgData name="Hu, Frank" userId="d3ad470f-91d8-4bd6-b171-9c10023cc60b" providerId="ADAL" clId="{4318B471-A1F0-4F65-94FE-F3B7A4C701AA}" dt="2023-03-24T06:54:54.298" v="2196" actId="1076"/>
          <ac:cxnSpMkLst>
            <pc:docMk/>
            <pc:sldMk cId="524445388" sldId="2147479418"/>
            <ac:cxnSpMk id="31" creationId="{BE3BC2B0-4A8B-8820-203C-AB14DC3732DB}"/>
          </ac:cxnSpMkLst>
        </pc:cxnChg>
        <pc:cxnChg chg="del mod">
          <ac:chgData name="Hu, Frank" userId="d3ad470f-91d8-4bd6-b171-9c10023cc60b" providerId="ADAL" clId="{4318B471-A1F0-4F65-94FE-F3B7A4C701AA}" dt="2023-03-24T06:32:30.993" v="2181" actId="478"/>
          <ac:cxnSpMkLst>
            <pc:docMk/>
            <pc:sldMk cId="524445388" sldId="2147479418"/>
            <ac:cxnSpMk id="32" creationId="{3E3089F3-6823-1BC8-8A56-7ADA802C1617}"/>
          </ac:cxnSpMkLst>
        </pc:cxnChg>
        <pc:cxnChg chg="del mod">
          <ac:chgData name="Hu, Frank" userId="d3ad470f-91d8-4bd6-b171-9c10023cc60b" providerId="ADAL" clId="{4318B471-A1F0-4F65-94FE-F3B7A4C701AA}" dt="2023-03-24T06:32:30.993" v="2181" actId="478"/>
          <ac:cxnSpMkLst>
            <pc:docMk/>
            <pc:sldMk cId="524445388" sldId="2147479418"/>
            <ac:cxnSpMk id="52" creationId="{26C8246C-446F-2FC7-3AA5-927F139F0071}"/>
          </ac:cxnSpMkLst>
        </pc:cxnChg>
        <pc:cxnChg chg="del">
          <ac:chgData name="Hu, Frank" userId="d3ad470f-91d8-4bd6-b171-9c10023cc60b" providerId="ADAL" clId="{4318B471-A1F0-4F65-94FE-F3B7A4C701AA}" dt="2023-03-24T06:32:30.993" v="2181" actId="478"/>
          <ac:cxnSpMkLst>
            <pc:docMk/>
            <pc:sldMk cId="524445388" sldId="2147479418"/>
            <ac:cxnSpMk id="54" creationId="{8B32835D-F0A1-2F49-9F80-2795B940FFF5}"/>
          </ac:cxnSpMkLst>
        </pc:cxnChg>
        <pc:cxnChg chg="del">
          <ac:chgData name="Hu, Frank" userId="d3ad470f-91d8-4bd6-b171-9c10023cc60b" providerId="ADAL" clId="{4318B471-A1F0-4F65-94FE-F3B7A4C701AA}" dt="2023-03-24T06:32:30.993" v="2181" actId="478"/>
          <ac:cxnSpMkLst>
            <pc:docMk/>
            <pc:sldMk cId="524445388" sldId="2147479418"/>
            <ac:cxnSpMk id="58" creationId="{C40869F2-7D74-AF40-B63D-211476F38998}"/>
          </ac:cxnSpMkLst>
        </pc:cxnChg>
        <pc:cxnChg chg="add mod">
          <ac:chgData name="Hu, Frank" userId="d3ad470f-91d8-4bd6-b171-9c10023cc60b" providerId="ADAL" clId="{4318B471-A1F0-4F65-94FE-F3B7A4C701AA}" dt="2023-03-27T01:23:00.914" v="2373" actId="1076"/>
          <ac:cxnSpMkLst>
            <pc:docMk/>
            <pc:sldMk cId="524445388" sldId="2147479418"/>
            <ac:cxnSpMk id="68" creationId="{D8A8F338-DB29-FB47-CFE0-D331FA7BFEAA}"/>
          </ac:cxnSpMkLst>
        </pc:cxnChg>
        <pc:cxnChg chg="add del mod">
          <ac:chgData name="Hu, Frank" userId="d3ad470f-91d8-4bd6-b171-9c10023cc60b" providerId="ADAL" clId="{4318B471-A1F0-4F65-94FE-F3B7A4C701AA}" dt="2023-03-24T10:10:50.109" v="2312" actId="478"/>
          <ac:cxnSpMkLst>
            <pc:docMk/>
            <pc:sldMk cId="524445388" sldId="2147479418"/>
            <ac:cxnSpMk id="69" creationId="{6825DE8A-CB21-67AA-8C5C-8C8161D0D088}"/>
          </ac:cxnSpMkLst>
        </pc:cxnChg>
      </pc:sldChg>
      <pc:sldChg chg="addSp delSp modSp add mod">
        <pc:chgData name="Hu, Frank" userId="d3ad470f-91d8-4bd6-b171-9c10023cc60b" providerId="ADAL" clId="{4318B471-A1F0-4F65-94FE-F3B7A4C701AA}" dt="2023-03-27T06:06:54.813" v="3495"/>
        <pc:sldMkLst>
          <pc:docMk/>
          <pc:sldMk cId="1202851494" sldId="2147479522"/>
        </pc:sldMkLst>
        <pc:spChg chg="add mod">
          <ac:chgData name="Hu, Frank" userId="d3ad470f-91d8-4bd6-b171-9c10023cc60b" providerId="ADAL" clId="{4318B471-A1F0-4F65-94FE-F3B7A4C701AA}" dt="2023-03-27T06:06:54.813" v="3495"/>
          <ac:spMkLst>
            <pc:docMk/>
            <pc:sldMk cId="1202851494" sldId="2147479522"/>
            <ac:spMk id="2" creationId="{18C60AA2-822B-3308-477D-1D39FD760845}"/>
          </ac:spMkLst>
        </pc:spChg>
        <pc:spChg chg="del">
          <ac:chgData name="Hu, Frank" userId="d3ad470f-91d8-4bd6-b171-9c10023cc60b" providerId="ADAL" clId="{4318B471-A1F0-4F65-94FE-F3B7A4C701AA}" dt="2023-03-27T06:06:54.356" v="3494" actId="478"/>
          <ac:spMkLst>
            <pc:docMk/>
            <pc:sldMk cId="1202851494" sldId="2147479522"/>
            <ac:spMk id="8" creationId="{1C9813B9-19D5-4179-A164-87FD5B141E18}"/>
          </ac:spMkLst>
        </pc:spChg>
        <pc:spChg chg="mod">
          <ac:chgData name="Hu, Frank" userId="d3ad470f-91d8-4bd6-b171-9c10023cc60b" providerId="ADAL" clId="{4318B471-A1F0-4F65-94FE-F3B7A4C701AA}" dt="2023-03-24T06:17:08.996" v="2153" actId="20577"/>
          <ac:spMkLst>
            <pc:docMk/>
            <pc:sldMk cId="1202851494" sldId="2147479522"/>
            <ac:spMk id="182" creationId="{278D26E1-09E9-BCE9-280C-DD643470C382}"/>
          </ac:spMkLst>
        </pc:spChg>
      </pc:sldChg>
      <pc:sldChg chg="del">
        <pc:chgData name="Hu, Frank" userId="d3ad470f-91d8-4bd6-b171-9c10023cc60b" providerId="ADAL" clId="{4318B471-A1F0-4F65-94FE-F3B7A4C701AA}" dt="2023-03-22T12:37:24.115" v="1302" actId="47"/>
        <pc:sldMkLst>
          <pc:docMk/>
          <pc:sldMk cId="3051263460" sldId="2147479525"/>
        </pc:sldMkLst>
      </pc:sldChg>
      <pc:sldChg chg="del">
        <pc:chgData name="Hu, Frank" userId="d3ad470f-91d8-4bd6-b171-9c10023cc60b" providerId="ADAL" clId="{4318B471-A1F0-4F65-94FE-F3B7A4C701AA}" dt="2023-03-22T12:37:27.419" v="1303" actId="47"/>
        <pc:sldMkLst>
          <pc:docMk/>
          <pc:sldMk cId="2609881411" sldId="2147479526"/>
        </pc:sldMkLst>
      </pc:sldChg>
      <pc:sldChg chg="addSp delSp modSp del mod">
        <pc:chgData name="Hu, Frank" userId="d3ad470f-91d8-4bd6-b171-9c10023cc60b" providerId="ADAL" clId="{4318B471-A1F0-4F65-94FE-F3B7A4C701AA}" dt="2023-03-23T01:26:05.954" v="1326" actId="47"/>
        <pc:sldMkLst>
          <pc:docMk/>
          <pc:sldMk cId="2109311126" sldId="2147479528"/>
        </pc:sldMkLst>
        <pc:spChg chg="add del">
          <ac:chgData name="Hu, Frank" userId="d3ad470f-91d8-4bd6-b171-9c10023cc60b" providerId="ADAL" clId="{4318B471-A1F0-4F65-94FE-F3B7A4C701AA}" dt="2023-03-22T12:02:29.366" v="61" actId="22"/>
          <ac:spMkLst>
            <pc:docMk/>
            <pc:sldMk cId="2109311126" sldId="2147479528"/>
            <ac:spMk id="7" creationId="{73589EF2-58BF-6305-429C-F3B33DB0575F}"/>
          </ac:spMkLst>
        </pc:spChg>
        <pc:spChg chg="mod">
          <ac:chgData name="Hu, Frank" userId="d3ad470f-91d8-4bd6-b171-9c10023cc60b" providerId="ADAL" clId="{4318B471-A1F0-4F65-94FE-F3B7A4C701AA}" dt="2023-03-22T12:02:33.994" v="73" actId="20577"/>
          <ac:spMkLst>
            <pc:docMk/>
            <pc:sldMk cId="2109311126" sldId="2147479528"/>
            <ac:spMk id="8" creationId="{1C9813B9-19D5-4179-A164-87FD5B141E18}"/>
          </ac:spMkLst>
        </pc:spChg>
        <pc:spChg chg="add del mod">
          <ac:chgData name="Hu, Frank" userId="d3ad470f-91d8-4bd6-b171-9c10023cc60b" providerId="ADAL" clId="{4318B471-A1F0-4F65-94FE-F3B7A4C701AA}" dt="2023-03-23T01:25:50.750" v="1324"/>
          <ac:spMkLst>
            <pc:docMk/>
            <pc:sldMk cId="2109311126" sldId="2147479528"/>
            <ac:spMk id="9" creationId="{0CB96AF3-277E-875C-2CD2-D49872AC08E7}"/>
          </ac:spMkLst>
        </pc:spChg>
        <pc:spChg chg="add del mod">
          <ac:chgData name="Hu, Frank" userId="d3ad470f-91d8-4bd6-b171-9c10023cc60b" providerId="ADAL" clId="{4318B471-A1F0-4F65-94FE-F3B7A4C701AA}" dt="2023-03-23T01:25:50.750" v="1324"/>
          <ac:spMkLst>
            <pc:docMk/>
            <pc:sldMk cId="2109311126" sldId="2147479528"/>
            <ac:spMk id="10" creationId="{E40F079E-4EAA-6D26-BE6C-1ADF3D339183}"/>
          </ac:spMkLst>
        </pc:spChg>
        <pc:spChg chg="add del mod">
          <ac:chgData name="Hu, Frank" userId="d3ad470f-91d8-4bd6-b171-9c10023cc60b" providerId="ADAL" clId="{4318B471-A1F0-4F65-94FE-F3B7A4C701AA}" dt="2023-03-23T01:25:50.750" v="1324"/>
          <ac:spMkLst>
            <pc:docMk/>
            <pc:sldMk cId="2109311126" sldId="2147479528"/>
            <ac:spMk id="11" creationId="{5D07513A-F432-FF96-543E-2F86EED946D5}"/>
          </ac:spMkLst>
        </pc:spChg>
        <pc:spChg chg="mod">
          <ac:chgData name="Hu, Frank" userId="d3ad470f-91d8-4bd6-b171-9c10023cc60b" providerId="ADAL" clId="{4318B471-A1F0-4F65-94FE-F3B7A4C701AA}" dt="2023-03-22T12:12:18.042" v="392" actId="20577"/>
          <ac:spMkLst>
            <pc:docMk/>
            <pc:sldMk cId="2109311126" sldId="2147479528"/>
            <ac:spMk id="23" creationId="{D212E85C-E8F0-C387-F553-B63A45612658}"/>
          </ac:spMkLst>
        </pc:spChg>
        <pc:spChg chg="mod">
          <ac:chgData name="Hu, Frank" userId="d3ad470f-91d8-4bd6-b171-9c10023cc60b" providerId="ADAL" clId="{4318B471-A1F0-4F65-94FE-F3B7A4C701AA}" dt="2023-03-22T12:10:36.120" v="364"/>
          <ac:spMkLst>
            <pc:docMk/>
            <pc:sldMk cId="2109311126" sldId="2147479528"/>
            <ac:spMk id="150" creationId="{252F7DEB-6CAF-C3D9-55DE-BAD2D2356D98}"/>
          </ac:spMkLst>
        </pc:spChg>
        <pc:cxnChg chg="mod">
          <ac:chgData name="Hu, Frank" userId="d3ad470f-91d8-4bd6-b171-9c10023cc60b" providerId="ADAL" clId="{4318B471-A1F0-4F65-94FE-F3B7A4C701AA}" dt="2023-03-22T12:11:03.835" v="370" actId="1076"/>
          <ac:cxnSpMkLst>
            <pc:docMk/>
            <pc:sldMk cId="2109311126" sldId="2147479528"/>
            <ac:cxnSpMk id="141" creationId="{DC36EC5C-7548-A202-25EC-2553379CF587}"/>
          </ac:cxnSpMkLst>
        </pc:cxnChg>
        <pc:cxnChg chg="mod">
          <ac:chgData name="Hu, Frank" userId="d3ad470f-91d8-4bd6-b171-9c10023cc60b" providerId="ADAL" clId="{4318B471-A1F0-4F65-94FE-F3B7A4C701AA}" dt="2023-03-22T12:10:54.185" v="366" actId="1076"/>
          <ac:cxnSpMkLst>
            <pc:docMk/>
            <pc:sldMk cId="2109311126" sldId="2147479528"/>
            <ac:cxnSpMk id="151" creationId="{38616B50-DCE0-40AC-2D9A-049EB7A19189}"/>
          </ac:cxnSpMkLst>
        </pc:cxnChg>
      </pc:sldChg>
      <pc:sldChg chg="modSp mod">
        <pc:chgData name="Hu, Frank" userId="d3ad470f-91d8-4bd6-b171-9c10023cc60b" providerId="ADAL" clId="{4318B471-A1F0-4F65-94FE-F3B7A4C701AA}" dt="2023-03-27T06:06:38.949" v="3490" actId="20577"/>
        <pc:sldMkLst>
          <pc:docMk/>
          <pc:sldMk cId="1227745755" sldId="2147479585"/>
        </pc:sldMkLst>
        <pc:spChg chg="mod">
          <ac:chgData name="Hu, Frank" userId="d3ad470f-91d8-4bd6-b171-9c10023cc60b" providerId="ADAL" clId="{4318B471-A1F0-4F65-94FE-F3B7A4C701AA}" dt="2023-03-27T06:06:38.949" v="3490" actId="20577"/>
          <ac:spMkLst>
            <pc:docMk/>
            <pc:sldMk cId="1227745755" sldId="2147479585"/>
            <ac:spMk id="5" creationId="{AF0E56B4-330B-A3C5-3924-1B7DB40581B6}"/>
          </ac:spMkLst>
        </pc:spChg>
      </pc:sldChg>
      <pc:sldChg chg="del">
        <pc:chgData name="Hu, Frank" userId="d3ad470f-91d8-4bd6-b171-9c10023cc60b" providerId="ADAL" clId="{4318B471-A1F0-4F65-94FE-F3B7A4C701AA}" dt="2023-03-27T06:06:27.392" v="3487" actId="47"/>
        <pc:sldMkLst>
          <pc:docMk/>
          <pc:sldMk cId="3856341451" sldId="2147479586"/>
        </pc:sldMkLst>
      </pc:sldChg>
    </pc:docChg>
  </pc:docChgLst>
  <pc:docChgLst>
    <pc:chgData name="Li, Flora Mengjie" userId="a8439562-c69d-45ad-bd66-36c6cb3eeacc" providerId="ADAL" clId="{0D5CB651-81E7-469A-996F-0265CE228DA6}"/>
    <pc:docChg chg="undo custSel addSld modSld">
      <pc:chgData name="Li, Flora Mengjie" userId="a8439562-c69d-45ad-bd66-36c6cb3eeacc" providerId="ADAL" clId="{0D5CB651-81E7-469A-996F-0265CE228DA6}" dt="2023-03-31T09:11:08.258" v="212"/>
      <pc:docMkLst>
        <pc:docMk/>
      </pc:docMkLst>
      <pc:sldChg chg="modSp mod">
        <pc:chgData name="Li, Flora Mengjie" userId="a8439562-c69d-45ad-bd66-36c6cb3eeacc" providerId="ADAL" clId="{0D5CB651-81E7-469A-996F-0265CE228DA6}" dt="2023-03-31T09:11:08.258" v="212"/>
        <pc:sldMkLst>
          <pc:docMk/>
          <pc:sldMk cId="2873784161" sldId="2147479587"/>
        </pc:sldMkLst>
        <pc:spChg chg="mod">
          <ac:chgData name="Li, Flora Mengjie" userId="a8439562-c69d-45ad-bd66-36c6cb3eeacc" providerId="ADAL" clId="{0D5CB651-81E7-469A-996F-0265CE228DA6}" dt="2023-03-31T09:11:08.258" v="212"/>
          <ac:spMkLst>
            <pc:docMk/>
            <pc:sldMk cId="2873784161" sldId="2147479587"/>
            <ac:spMk id="30" creationId="{7E5DEF78-6C94-D3E2-E651-C4BE8001383F}"/>
          </ac:spMkLst>
        </pc:spChg>
      </pc:sldChg>
      <pc:sldChg chg="addSp delSp modSp add mod">
        <pc:chgData name="Li, Flora Mengjie" userId="a8439562-c69d-45ad-bd66-36c6cb3eeacc" providerId="ADAL" clId="{0D5CB651-81E7-469A-996F-0265CE228DA6}" dt="2023-03-31T08:49:32.926" v="210"/>
        <pc:sldMkLst>
          <pc:docMk/>
          <pc:sldMk cId="1837208439" sldId="2147479620"/>
        </pc:sldMkLst>
        <pc:spChg chg="del mod">
          <ac:chgData name="Li, Flora Mengjie" userId="a8439562-c69d-45ad-bd66-36c6cb3eeacc" providerId="ADAL" clId="{0D5CB651-81E7-469A-996F-0265CE228DA6}" dt="2023-03-31T08:48:57.641" v="206" actId="478"/>
          <ac:spMkLst>
            <pc:docMk/>
            <pc:sldMk cId="1837208439" sldId="2147479620"/>
            <ac:spMk id="2" creationId="{1A534CB2-97F9-E782-DDF1-91C91BAA27AC}"/>
          </ac:spMkLst>
        </pc:spChg>
        <pc:spChg chg="mod">
          <ac:chgData name="Li, Flora Mengjie" userId="a8439562-c69d-45ad-bd66-36c6cb3eeacc" providerId="ADAL" clId="{0D5CB651-81E7-469A-996F-0265CE228DA6}" dt="2023-03-31T08:42:49.996" v="9" actId="14100"/>
          <ac:spMkLst>
            <pc:docMk/>
            <pc:sldMk cId="1837208439" sldId="2147479620"/>
            <ac:spMk id="12" creationId="{748C86B9-FEA9-C7ED-D696-F492A1FDFEAC}"/>
          </ac:spMkLst>
        </pc:spChg>
        <pc:spChg chg="mod">
          <ac:chgData name="Li, Flora Mengjie" userId="a8439562-c69d-45ad-bd66-36c6cb3eeacc" providerId="ADAL" clId="{0D5CB651-81E7-469A-996F-0265CE228DA6}" dt="2023-03-31T08:45:32.845" v="117" actId="20577"/>
          <ac:spMkLst>
            <pc:docMk/>
            <pc:sldMk cId="1837208439" sldId="2147479620"/>
            <ac:spMk id="18" creationId="{ACF4E145-5FFF-3EEA-D0A7-B2486739A77C}"/>
          </ac:spMkLst>
        </pc:spChg>
        <pc:spChg chg="mod">
          <ac:chgData name="Li, Flora Mengjie" userId="a8439562-c69d-45ad-bd66-36c6cb3eeacc" providerId="ADAL" clId="{0D5CB651-81E7-469A-996F-0265CE228DA6}" dt="2023-03-31T08:48:39.173" v="202" actId="1036"/>
          <ac:spMkLst>
            <pc:docMk/>
            <pc:sldMk cId="1837208439" sldId="2147479620"/>
            <ac:spMk id="32" creationId="{FFCCC6E7-EBD1-5F6B-178B-C9F256ED18F4}"/>
          </ac:spMkLst>
        </pc:spChg>
        <pc:spChg chg="mod">
          <ac:chgData name="Li, Flora Mengjie" userId="a8439562-c69d-45ad-bd66-36c6cb3eeacc" providerId="ADAL" clId="{0D5CB651-81E7-469A-996F-0265CE228DA6}" dt="2023-03-31T08:48:39.173" v="202" actId="1036"/>
          <ac:spMkLst>
            <pc:docMk/>
            <pc:sldMk cId="1837208439" sldId="2147479620"/>
            <ac:spMk id="43" creationId="{5E4F71DE-0CF8-661E-875F-9531ACA7C7E7}"/>
          </ac:spMkLst>
        </pc:spChg>
        <pc:spChg chg="mod">
          <ac:chgData name="Li, Flora Mengjie" userId="a8439562-c69d-45ad-bd66-36c6cb3eeacc" providerId="ADAL" clId="{0D5CB651-81E7-469A-996F-0265CE228DA6}" dt="2023-03-31T08:48:31.471" v="197" actId="14100"/>
          <ac:spMkLst>
            <pc:docMk/>
            <pc:sldMk cId="1837208439" sldId="2147479620"/>
            <ac:spMk id="92" creationId="{21B584A7-9492-8F39-C7FD-B951E2115A83}"/>
          </ac:spMkLst>
        </pc:spChg>
        <pc:spChg chg="mod">
          <ac:chgData name="Li, Flora Mengjie" userId="a8439562-c69d-45ad-bd66-36c6cb3eeacc" providerId="ADAL" clId="{0D5CB651-81E7-469A-996F-0265CE228DA6}" dt="2023-03-31T08:46:42.144" v="142" actId="14100"/>
          <ac:spMkLst>
            <pc:docMk/>
            <pc:sldMk cId="1837208439" sldId="2147479620"/>
            <ac:spMk id="94" creationId="{3D68DA91-999E-AC87-6CE0-4B086500086F}"/>
          </ac:spMkLst>
        </pc:spChg>
        <pc:spChg chg="mod topLvl">
          <ac:chgData name="Li, Flora Mengjie" userId="a8439562-c69d-45ad-bd66-36c6cb3eeacc" providerId="ADAL" clId="{0D5CB651-81E7-469A-996F-0265CE228DA6}" dt="2023-03-31T08:49:32.926" v="210"/>
          <ac:spMkLst>
            <pc:docMk/>
            <pc:sldMk cId="1837208439" sldId="2147479620"/>
            <ac:spMk id="95" creationId="{34F01614-2150-7E32-28E0-968E84AF1DAC}"/>
          </ac:spMkLst>
        </pc:spChg>
        <pc:spChg chg="del topLvl">
          <ac:chgData name="Li, Flora Mengjie" userId="a8439562-c69d-45ad-bd66-36c6cb3eeacc" providerId="ADAL" clId="{0D5CB651-81E7-469A-996F-0265CE228DA6}" dt="2023-03-31T08:47:26.053" v="145" actId="478"/>
          <ac:spMkLst>
            <pc:docMk/>
            <pc:sldMk cId="1837208439" sldId="2147479620"/>
            <ac:spMk id="96" creationId="{3D98A2DA-CC59-0B07-92AD-715ADEAD39DF}"/>
          </ac:spMkLst>
        </pc:spChg>
        <pc:spChg chg="del">
          <ac:chgData name="Li, Flora Mengjie" userId="a8439562-c69d-45ad-bd66-36c6cb3eeacc" providerId="ADAL" clId="{0D5CB651-81E7-469A-996F-0265CE228DA6}" dt="2023-03-31T08:43:51.080" v="57" actId="478"/>
          <ac:spMkLst>
            <pc:docMk/>
            <pc:sldMk cId="1837208439" sldId="2147479620"/>
            <ac:spMk id="97" creationId="{034A0819-9554-E682-4BE0-E705F515277C}"/>
          </ac:spMkLst>
        </pc:spChg>
        <pc:spChg chg="del">
          <ac:chgData name="Li, Flora Mengjie" userId="a8439562-c69d-45ad-bd66-36c6cb3eeacc" providerId="ADAL" clId="{0D5CB651-81E7-469A-996F-0265CE228DA6}" dt="2023-03-31T08:43:51.080" v="57" actId="478"/>
          <ac:spMkLst>
            <pc:docMk/>
            <pc:sldMk cId="1837208439" sldId="2147479620"/>
            <ac:spMk id="98" creationId="{D048216C-3982-415A-F727-2BFAA5D87086}"/>
          </ac:spMkLst>
        </pc:spChg>
        <pc:spChg chg="mod topLvl">
          <ac:chgData name="Li, Flora Mengjie" userId="a8439562-c69d-45ad-bd66-36c6cb3eeacc" providerId="ADAL" clId="{0D5CB651-81E7-469A-996F-0265CE228DA6}" dt="2023-03-31T08:48:52.813" v="205" actId="1076"/>
          <ac:spMkLst>
            <pc:docMk/>
            <pc:sldMk cId="1837208439" sldId="2147479620"/>
            <ac:spMk id="100" creationId="{CDCCF724-E1E4-3C6E-9D42-048C4F196354}"/>
          </ac:spMkLst>
        </pc:spChg>
        <pc:spChg chg="del topLvl">
          <ac:chgData name="Li, Flora Mengjie" userId="a8439562-c69d-45ad-bd66-36c6cb3eeacc" providerId="ADAL" clId="{0D5CB651-81E7-469A-996F-0265CE228DA6}" dt="2023-03-31T08:43:56.951" v="58" actId="478"/>
          <ac:spMkLst>
            <pc:docMk/>
            <pc:sldMk cId="1837208439" sldId="2147479620"/>
            <ac:spMk id="101" creationId="{99E840B3-E249-8C58-46C1-BAD0D4E210D1}"/>
          </ac:spMkLst>
        </pc:spChg>
        <pc:grpChg chg="del mod">
          <ac:chgData name="Li, Flora Mengjie" userId="a8439562-c69d-45ad-bd66-36c6cb3eeacc" providerId="ADAL" clId="{0D5CB651-81E7-469A-996F-0265CE228DA6}" dt="2023-03-31T08:43:56.951" v="58" actId="478"/>
          <ac:grpSpMkLst>
            <pc:docMk/>
            <pc:sldMk cId="1837208439" sldId="2147479620"/>
            <ac:grpSpMk id="106" creationId="{151D8B97-8354-16EF-E759-F06BA9756263}"/>
          </ac:grpSpMkLst>
        </pc:grpChg>
        <pc:grpChg chg="del mod">
          <ac:chgData name="Li, Flora Mengjie" userId="a8439562-c69d-45ad-bd66-36c6cb3eeacc" providerId="ADAL" clId="{0D5CB651-81E7-469A-996F-0265CE228DA6}" dt="2023-03-31T08:47:26.053" v="145" actId="478"/>
          <ac:grpSpMkLst>
            <pc:docMk/>
            <pc:sldMk cId="1837208439" sldId="2147479620"/>
            <ac:grpSpMk id="107" creationId="{BA474D5E-1310-3975-218E-633B02CFEFD4}"/>
          </ac:grpSpMkLst>
        </pc:grpChg>
        <pc:cxnChg chg="add mod">
          <ac:chgData name="Li, Flora Mengjie" userId="a8439562-c69d-45ad-bd66-36c6cb3eeacc" providerId="ADAL" clId="{0D5CB651-81E7-469A-996F-0265CE228DA6}" dt="2023-03-31T08:47:18.247" v="144" actId="1035"/>
          <ac:cxnSpMkLst>
            <pc:docMk/>
            <pc:sldMk cId="1837208439" sldId="2147479620"/>
            <ac:cxnSpMk id="6" creationId="{F04094B2-9A0E-F553-E4C3-55E4B1E8D0CD}"/>
          </ac:cxnSpMkLst>
        </pc:cxnChg>
      </pc:sldChg>
    </pc:docChg>
  </pc:docChgLst>
  <pc:docChgLst>
    <pc:chgData name="Ma, Mandy Hongyang" userId="c8c44b64-cf2b-42a5-ad81-5888bcc9e90b" providerId="ADAL" clId="{E87DE2B3-A1BB-44E1-82F4-A4093DC29FAD}"/>
    <pc:docChg chg="undo custSel addSld delSld modSld sldOrd">
      <pc:chgData name="Ma, Mandy Hongyang" userId="c8c44b64-cf2b-42a5-ad81-5888bcc9e90b" providerId="ADAL" clId="{E87DE2B3-A1BB-44E1-82F4-A4093DC29FAD}" dt="2023-04-19T06:18:44.072" v="3385" actId="729"/>
      <pc:docMkLst>
        <pc:docMk/>
      </pc:docMkLst>
      <pc:sldChg chg="del mod modShow">
        <pc:chgData name="Ma, Mandy Hongyang" userId="c8c44b64-cf2b-42a5-ad81-5888bcc9e90b" providerId="ADAL" clId="{E87DE2B3-A1BB-44E1-82F4-A4093DC29FAD}" dt="2023-03-30T14:01:27.032" v="2656" actId="47"/>
        <pc:sldMkLst>
          <pc:docMk/>
          <pc:sldMk cId="1401306855" sldId="2147474143"/>
        </pc:sldMkLst>
      </pc:sldChg>
      <pc:sldChg chg="modSp mod">
        <pc:chgData name="Ma, Mandy Hongyang" userId="c8c44b64-cf2b-42a5-ad81-5888bcc9e90b" providerId="ADAL" clId="{E87DE2B3-A1BB-44E1-82F4-A4093DC29FAD}" dt="2023-03-30T13:48:52.477" v="2078" actId="2165"/>
        <pc:sldMkLst>
          <pc:docMk/>
          <pc:sldMk cId="3872608267" sldId="2147479198"/>
        </pc:sldMkLst>
        <pc:graphicFrameChg chg="modGraphic">
          <ac:chgData name="Ma, Mandy Hongyang" userId="c8c44b64-cf2b-42a5-ad81-5888bcc9e90b" providerId="ADAL" clId="{E87DE2B3-A1BB-44E1-82F4-A4093DC29FAD}" dt="2023-03-30T13:48:52.477" v="2078" actId="2165"/>
          <ac:graphicFrameMkLst>
            <pc:docMk/>
            <pc:sldMk cId="3872608267" sldId="2147479198"/>
            <ac:graphicFrameMk id="6" creationId="{91A767DE-3033-7506-C44C-D9D640121202}"/>
          </ac:graphicFrameMkLst>
        </pc:graphicFrameChg>
      </pc:sldChg>
      <pc:sldChg chg="modSp mod">
        <pc:chgData name="Ma, Mandy Hongyang" userId="c8c44b64-cf2b-42a5-ad81-5888bcc9e90b" providerId="ADAL" clId="{E87DE2B3-A1BB-44E1-82F4-A4093DC29FAD}" dt="2023-03-30T13:57:42.820" v="2438" actId="6549"/>
        <pc:sldMkLst>
          <pc:docMk/>
          <pc:sldMk cId="1739901954" sldId="2147479199"/>
        </pc:sldMkLst>
        <pc:graphicFrameChg chg="modGraphic">
          <ac:chgData name="Ma, Mandy Hongyang" userId="c8c44b64-cf2b-42a5-ad81-5888bcc9e90b" providerId="ADAL" clId="{E87DE2B3-A1BB-44E1-82F4-A4093DC29FAD}" dt="2023-03-30T13:57:42.820" v="2438" actId="6549"/>
          <ac:graphicFrameMkLst>
            <pc:docMk/>
            <pc:sldMk cId="1739901954" sldId="2147479199"/>
            <ac:graphicFrameMk id="5" creationId="{AC3AAA03-45B4-A976-9A3F-E8F1CDCFDCA2}"/>
          </ac:graphicFrameMkLst>
        </pc:graphicFrameChg>
      </pc:sldChg>
      <pc:sldChg chg="delSp modSp mod">
        <pc:chgData name="Ma, Mandy Hongyang" userId="c8c44b64-cf2b-42a5-ad81-5888bcc9e90b" providerId="ADAL" clId="{E87DE2B3-A1BB-44E1-82F4-A4093DC29FAD}" dt="2023-03-30T14:01:23.873" v="2655" actId="20577"/>
        <pc:sldMkLst>
          <pc:docMk/>
          <pc:sldMk cId="3201368661" sldId="2147479201"/>
        </pc:sldMkLst>
        <pc:spChg chg="del">
          <ac:chgData name="Ma, Mandy Hongyang" userId="c8c44b64-cf2b-42a5-ad81-5888bcc9e90b" providerId="ADAL" clId="{E87DE2B3-A1BB-44E1-82F4-A4093DC29FAD}" dt="2023-03-30T13:59:18.953" v="2504" actId="478"/>
          <ac:spMkLst>
            <pc:docMk/>
            <pc:sldMk cId="3201368661" sldId="2147479201"/>
            <ac:spMk id="6" creationId="{45D886EF-11D6-4B98-BEB6-CE2B64677DDE}"/>
          </ac:spMkLst>
        </pc:spChg>
        <pc:graphicFrameChg chg="mod modGraphic">
          <ac:chgData name="Ma, Mandy Hongyang" userId="c8c44b64-cf2b-42a5-ad81-5888bcc9e90b" providerId="ADAL" clId="{E87DE2B3-A1BB-44E1-82F4-A4093DC29FAD}" dt="2023-03-30T14:01:23.873" v="2655" actId="20577"/>
          <ac:graphicFrameMkLst>
            <pc:docMk/>
            <pc:sldMk cId="3201368661" sldId="2147479201"/>
            <ac:graphicFrameMk id="5" creationId="{9E296B13-D1C2-B83C-7EB6-1EB33B5ADEF8}"/>
          </ac:graphicFrameMkLst>
        </pc:graphicFrameChg>
      </pc:sldChg>
      <pc:sldChg chg="addSp delSp modSp mod">
        <pc:chgData name="Ma, Mandy Hongyang" userId="c8c44b64-cf2b-42a5-ad81-5888bcc9e90b" providerId="ADAL" clId="{E87DE2B3-A1BB-44E1-82F4-A4093DC29FAD}" dt="2023-03-30T13:54:34.260" v="2208" actId="1076"/>
        <pc:sldMkLst>
          <pc:docMk/>
          <pc:sldMk cId="1629897296" sldId="2147479210"/>
        </pc:sldMkLst>
        <pc:spChg chg="add mod">
          <ac:chgData name="Ma, Mandy Hongyang" userId="c8c44b64-cf2b-42a5-ad81-5888bcc9e90b" providerId="ADAL" clId="{E87DE2B3-A1BB-44E1-82F4-A4093DC29FAD}" dt="2023-03-30T13:53:46.631" v="2192"/>
          <ac:spMkLst>
            <pc:docMk/>
            <pc:sldMk cId="1629897296" sldId="2147479210"/>
            <ac:spMk id="4" creationId="{228E0488-C212-2173-85ED-59C6096D1B90}"/>
          </ac:spMkLst>
        </pc:spChg>
        <pc:spChg chg="add mod">
          <ac:chgData name="Ma, Mandy Hongyang" userId="c8c44b64-cf2b-42a5-ad81-5888bcc9e90b" providerId="ADAL" clId="{E87DE2B3-A1BB-44E1-82F4-A4093DC29FAD}" dt="2023-03-30T13:53:59.951" v="2202" actId="20577"/>
          <ac:spMkLst>
            <pc:docMk/>
            <pc:sldMk cId="1629897296" sldId="2147479210"/>
            <ac:spMk id="5" creationId="{E2742182-6D4B-4931-62DF-F3420B20B02B}"/>
          </ac:spMkLst>
        </pc:spChg>
        <pc:spChg chg="add mod">
          <ac:chgData name="Ma, Mandy Hongyang" userId="c8c44b64-cf2b-42a5-ad81-5888bcc9e90b" providerId="ADAL" clId="{E87DE2B3-A1BB-44E1-82F4-A4093DC29FAD}" dt="2023-03-30T13:53:46.631" v="2192"/>
          <ac:spMkLst>
            <pc:docMk/>
            <pc:sldMk cId="1629897296" sldId="2147479210"/>
            <ac:spMk id="6" creationId="{0473AA34-76F9-3C2A-FCB3-E3FA013F007C}"/>
          </ac:spMkLst>
        </pc:spChg>
        <pc:spChg chg="add mod">
          <ac:chgData name="Ma, Mandy Hongyang" userId="c8c44b64-cf2b-42a5-ad81-5888bcc9e90b" providerId="ADAL" clId="{E87DE2B3-A1BB-44E1-82F4-A4093DC29FAD}" dt="2023-03-30T13:53:46.631" v="2192"/>
          <ac:spMkLst>
            <pc:docMk/>
            <pc:sldMk cId="1629897296" sldId="2147479210"/>
            <ac:spMk id="7" creationId="{298199BC-768B-2166-2008-07C7734DAF72}"/>
          </ac:spMkLst>
        </pc:spChg>
        <pc:spChg chg="add mod">
          <ac:chgData name="Ma, Mandy Hongyang" userId="c8c44b64-cf2b-42a5-ad81-5888bcc9e90b" providerId="ADAL" clId="{E87DE2B3-A1BB-44E1-82F4-A4093DC29FAD}" dt="2023-03-30T13:53:46.631" v="2192"/>
          <ac:spMkLst>
            <pc:docMk/>
            <pc:sldMk cId="1629897296" sldId="2147479210"/>
            <ac:spMk id="8" creationId="{67B45445-3340-6E67-76EE-E9A3DA717F03}"/>
          </ac:spMkLst>
        </pc:spChg>
        <pc:spChg chg="add mod">
          <ac:chgData name="Ma, Mandy Hongyang" userId="c8c44b64-cf2b-42a5-ad81-5888bcc9e90b" providerId="ADAL" clId="{E87DE2B3-A1BB-44E1-82F4-A4093DC29FAD}" dt="2023-03-30T13:53:46.631" v="2192"/>
          <ac:spMkLst>
            <pc:docMk/>
            <pc:sldMk cId="1629897296" sldId="2147479210"/>
            <ac:spMk id="9" creationId="{4D48711F-135C-97F7-27A2-998334E2FA3D}"/>
          </ac:spMkLst>
        </pc:spChg>
        <pc:spChg chg="add mod">
          <ac:chgData name="Ma, Mandy Hongyang" userId="c8c44b64-cf2b-42a5-ad81-5888bcc9e90b" providerId="ADAL" clId="{E87DE2B3-A1BB-44E1-82F4-A4093DC29FAD}" dt="2023-03-30T13:54:34.260" v="2208" actId="1076"/>
          <ac:spMkLst>
            <pc:docMk/>
            <pc:sldMk cId="1629897296" sldId="2147479210"/>
            <ac:spMk id="10" creationId="{B90CC624-FB09-887D-52C3-3CEEBD07FB46}"/>
          </ac:spMkLst>
        </pc:spChg>
        <pc:spChg chg="mod">
          <ac:chgData name="Ma, Mandy Hongyang" userId="c8c44b64-cf2b-42a5-ad81-5888bcc9e90b" providerId="ADAL" clId="{E87DE2B3-A1BB-44E1-82F4-A4093DC29FAD}" dt="2023-03-30T13:54:06.168" v="2203" actId="207"/>
          <ac:spMkLst>
            <pc:docMk/>
            <pc:sldMk cId="1629897296" sldId="2147479210"/>
            <ac:spMk id="11" creationId="{0061EE3C-20A1-FA9D-3A0B-88B47BD31718}"/>
          </ac:spMkLst>
        </pc:spChg>
        <pc:spChg chg="del">
          <ac:chgData name="Ma, Mandy Hongyang" userId="c8c44b64-cf2b-42a5-ad81-5888bcc9e90b" providerId="ADAL" clId="{E87DE2B3-A1BB-44E1-82F4-A4093DC29FAD}" dt="2023-03-30T13:50:49.076" v="2083" actId="478"/>
          <ac:spMkLst>
            <pc:docMk/>
            <pc:sldMk cId="1629897296" sldId="2147479210"/>
            <ac:spMk id="12" creationId="{D55090D2-0038-99C0-554D-3CEE0A68DA30}"/>
          </ac:spMkLst>
        </pc:spChg>
        <pc:spChg chg="mod">
          <ac:chgData name="Ma, Mandy Hongyang" userId="c8c44b64-cf2b-42a5-ad81-5888bcc9e90b" providerId="ADAL" clId="{E87DE2B3-A1BB-44E1-82F4-A4093DC29FAD}" dt="2023-03-30T13:53:36.027" v="2191" actId="1076"/>
          <ac:spMkLst>
            <pc:docMk/>
            <pc:sldMk cId="1629897296" sldId="2147479210"/>
            <ac:spMk id="14" creationId="{1B968779-C7BB-6F78-DA63-4A6E9E8522D8}"/>
          </ac:spMkLst>
        </pc:spChg>
        <pc:spChg chg="mod">
          <ac:chgData name="Ma, Mandy Hongyang" userId="c8c44b64-cf2b-42a5-ad81-5888bcc9e90b" providerId="ADAL" clId="{E87DE2B3-A1BB-44E1-82F4-A4093DC29FAD}" dt="2023-03-30T13:53:36.027" v="2191" actId="1076"/>
          <ac:spMkLst>
            <pc:docMk/>
            <pc:sldMk cId="1629897296" sldId="2147479210"/>
            <ac:spMk id="15" creationId="{6C7D7972-7DDD-D4E1-F10D-2AE5779DA4E9}"/>
          </ac:spMkLst>
        </pc:spChg>
        <pc:spChg chg="mod">
          <ac:chgData name="Ma, Mandy Hongyang" userId="c8c44b64-cf2b-42a5-ad81-5888bcc9e90b" providerId="ADAL" clId="{E87DE2B3-A1BB-44E1-82F4-A4093DC29FAD}" dt="2023-03-30T13:54:20.763" v="2206" actId="207"/>
          <ac:spMkLst>
            <pc:docMk/>
            <pc:sldMk cId="1629897296" sldId="2147479210"/>
            <ac:spMk id="19" creationId="{790D3F9E-E689-A183-7B24-EC8CAD4478DF}"/>
          </ac:spMkLst>
        </pc:spChg>
        <pc:spChg chg="mod">
          <ac:chgData name="Ma, Mandy Hongyang" userId="c8c44b64-cf2b-42a5-ad81-5888bcc9e90b" providerId="ADAL" clId="{E87DE2B3-A1BB-44E1-82F4-A4093DC29FAD}" dt="2023-03-30T13:53:36.027" v="2191" actId="1076"/>
          <ac:spMkLst>
            <pc:docMk/>
            <pc:sldMk cId="1629897296" sldId="2147479210"/>
            <ac:spMk id="28" creationId="{A0423F39-CE34-7158-DCC1-E0CE45C274A9}"/>
          </ac:spMkLst>
        </pc:spChg>
        <pc:spChg chg="del">
          <ac:chgData name="Ma, Mandy Hongyang" userId="c8c44b64-cf2b-42a5-ad81-5888bcc9e90b" providerId="ADAL" clId="{E87DE2B3-A1BB-44E1-82F4-A4093DC29FAD}" dt="2023-03-30T13:53:11.100" v="2186" actId="478"/>
          <ac:spMkLst>
            <pc:docMk/>
            <pc:sldMk cId="1629897296" sldId="2147479210"/>
            <ac:spMk id="39" creationId="{4AF68447-805F-80E5-5842-997856291AF1}"/>
          </ac:spMkLst>
        </pc:spChg>
        <pc:spChg chg="mod">
          <ac:chgData name="Ma, Mandy Hongyang" userId="c8c44b64-cf2b-42a5-ad81-5888bcc9e90b" providerId="ADAL" clId="{E87DE2B3-A1BB-44E1-82F4-A4093DC29FAD}" dt="2023-03-30T13:53:36.027" v="2191" actId="1076"/>
          <ac:spMkLst>
            <pc:docMk/>
            <pc:sldMk cId="1629897296" sldId="2147479210"/>
            <ac:spMk id="40" creationId="{BB381822-17F4-5CDF-2D5D-D70889045957}"/>
          </ac:spMkLst>
        </pc:spChg>
        <pc:spChg chg="mod">
          <ac:chgData name="Ma, Mandy Hongyang" userId="c8c44b64-cf2b-42a5-ad81-5888bcc9e90b" providerId="ADAL" clId="{E87DE2B3-A1BB-44E1-82F4-A4093DC29FAD}" dt="2023-03-30T13:53:36.027" v="2191" actId="1076"/>
          <ac:spMkLst>
            <pc:docMk/>
            <pc:sldMk cId="1629897296" sldId="2147479210"/>
            <ac:spMk id="45" creationId="{2B41B99D-13E9-238E-C92F-9C47C55869D9}"/>
          </ac:spMkLst>
        </pc:spChg>
        <pc:spChg chg="mod">
          <ac:chgData name="Ma, Mandy Hongyang" userId="c8c44b64-cf2b-42a5-ad81-5888bcc9e90b" providerId="ADAL" clId="{E87DE2B3-A1BB-44E1-82F4-A4093DC29FAD}" dt="2023-03-30T13:54:14.439" v="2205" actId="207"/>
          <ac:spMkLst>
            <pc:docMk/>
            <pc:sldMk cId="1629897296" sldId="2147479210"/>
            <ac:spMk id="46" creationId="{6252950F-ABB9-B13D-664B-ECF07613B3FF}"/>
          </ac:spMkLst>
        </pc:spChg>
        <pc:spChg chg="mod">
          <ac:chgData name="Ma, Mandy Hongyang" userId="c8c44b64-cf2b-42a5-ad81-5888bcc9e90b" providerId="ADAL" clId="{E87DE2B3-A1BB-44E1-82F4-A4093DC29FAD}" dt="2023-03-30T13:53:36.027" v="2191" actId="1076"/>
          <ac:spMkLst>
            <pc:docMk/>
            <pc:sldMk cId="1629897296" sldId="2147479210"/>
            <ac:spMk id="48" creationId="{1207B5B2-BBCB-A2EE-2813-51424B478729}"/>
          </ac:spMkLst>
        </pc:spChg>
        <pc:spChg chg="mod">
          <ac:chgData name="Ma, Mandy Hongyang" userId="c8c44b64-cf2b-42a5-ad81-5888bcc9e90b" providerId="ADAL" clId="{E87DE2B3-A1BB-44E1-82F4-A4093DC29FAD}" dt="2023-03-30T13:53:36.027" v="2191" actId="1076"/>
          <ac:spMkLst>
            <pc:docMk/>
            <pc:sldMk cId="1629897296" sldId="2147479210"/>
            <ac:spMk id="49" creationId="{B5EDC47C-31B5-651C-3FFB-D29A90E846D5}"/>
          </ac:spMkLst>
        </pc:spChg>
        <pc:spChg chg="mod">
          <ac:chgData name="Ma, Mandy Hongyang" userId="c8c44b64-cf2b-42a5-ad81-5888bcc9e90b" providerId="ADAL" clId="{E87DE2B3-A1BB-44E1-82F4-A4093DC29FAD}" dt="2023-03-30T13:53:36.027" v="2191" actId="1076"/>
          <ac:spMkLst>
            <pc:docMk/>
            <pc:sldMk cId="1629897296" sldId="2147479210"/>
            <ac:spMk id="50" creationId="{3F461411-FC1D-F4E3-8E9A-E61062708830}"/>
          </ac:spMkLst>
        </pc:spChg>
        <pc:spChg chg="mod">
          <ac:chgData name="Ma, Mandy Hongyang" userId="c8c44b64-cf2b-42a5-ad81-5888bcc9e90b" providerId="ADAL" clId="{E87DE2B3-A1BB-44E1-82F4-A4093DC29FAD}" dt="2023-03-30T13:53:36.027" v="2191" actId="1076"/>
          <ac:spMkLst>
            <pc:docMk/>
            <pc:sldMk cId="1629897296" sldId="2147479210"/>
            <ac:spMk id="58" creationId="{1A26B2E7-E7AE-DBCA-A30E-D1DBB6EAD8CF}"/>
          </ac:spMkLst>
        </pc:spChg>
        <pc:spChg chg="del">
          <ac:chgData name="Ma, Mandy Hongyang" userId="c8c44b64-cf2b-42a5-ad81-5888bcc9e90b" providerId="ADAL" clId="{E87DE2B3-A1BB-44E1-82F4-A4093DC29FAD}" dt="2023-03-30T13:50:49.076" v="2083" actId="478"/>
          <ac:spMkLst>
            <pc:docMk/>
            <pc:sldMk cId="1629897296" sldId="2147479210"/>
            <ac:spMk id="63" creationId="{C198C1C9-C87F-2559-60B8-85FE736AB8CE}"/>
          </ac:spMkLst>
        </pc:spChg>
        <pc:spChg chg="mod">
          <ac:chgData name="Ma, Mandy Hongyang" userId="c8c44b64-cf2b-42a5-ad81-5888bcc9e90b" providerId="ADAL" clId="{E87DE2B3-A1BB-44E1-82F4-A4093DC29FAD}" dt="2023-03-30T13:53:36.027" v="2191" actId="1076"/>
          <ac:spMkLst>
            <pc:docMk/>
            <pc:sldMk cId="1629897296" sldId="2147479210"/>
            <ac:spMk id="64" creationId="{540AA7B0-3C99-9984-3208-88E8CCDCCFD9}"/>
          </ac:spMkLst>
        </pc:spChg>
        <pc:spChg chg="del">
          <ac:chgData name="Ma, Mandy Hongyang" userId="c8c44b64-cf2b-42a5-ad81-5888bcc9e90b" providerId="ADAL" clId="{E87DE2B3-A1BB-44E1-82F4-A4093DC29FAD}" dt="2023-03-30T13:52:55.589" v="2182" actId="478"/>
          <ac:spMkLst>
            <pc:docMk/>
            <pc:sldMk cId="1629897296" sldId="2147479210"/>
            <ac:spMk id="67" creationId="{15DC00CA-452C-0494-8FBD-7DD3B52DA164}"/>
          </ac:spMkLst>
        </pc:spChg>
        <pc:spChg chg="mod">
          <ac:chgData name="Ma, Mandy Hongyang" userId="c8c44b64-cf2b-42a5-ad81-5888bcc9e90b" providerId="ADAL" clId="{E87DE2B3-A1BB-44E1-82F4-A4093DC29FAD}" dt="2023-03-30T13:53:36.027" v="2191" actId="1076"/>
          <ac:spMkLst>
            <pc:docMk/>
            <pc:sldMk cId="1629897296" sldId="2147479210"/>
            <ac:spMk id="69" creationId="{AF7D2739-F0AB-BACB-4055-DB52842C4B35}"/>
          </ac:spMkLst>
        </pc:spChg>
        <pc:spChg chg="del">
          <ac:chgData name="Ma, Mandy Hongyang" userId="c8c44b64-cf2b-42a5-ad81-5888bcc9e90b" providerId="ADAL" clId="{E87DE2B3-A1BB-44E1-82F4-A4093DC29FAD}" dt="2023-03-30T13:52:58.152" v="2183" actId="478"/>
          <ac:spMkLst>
            <pc:docMk/>
            <pc:sldMk cId="1629897296" sldId="2147479210"/>
            <ac:spMk id="70" creationId="{2D48B694-74AF-D18F-4262-2FACE35ABF8E}"/>
          </ac:spMkLst>
        </pc:spChg>
        <pc:spChg chg="del">
          <ac:chgData name="Ma, Mandy Hongyang" userId="c8c44b64-cf2b-42a5-ad81-5888bcc9e90b" providerId="ADAL" clId="{E87DE2B3-A1BB-44E1-82F4-A4093DC29FAD}" dt="2023-03-30T13:52:53.867" v="2181" actId="478"/>
          <ac:spMkLst>
            <pc:docMk/>
            <pc:sldMk cId="1629897296" sldId="2147479210"/>
            <ac:spMk id="71" creationId="{6F142DAC-53D7-A4C2-9D92-80D160C356FB}"/>
          </ac:spMkLst>
        </pc:spChg>
        <pc:spChg chg="mod">
          <ac:chgData name="Ma, Mandy Hongyang" userId="c8c44b64-cf2b-42a5-ad81-5888bcc9e90b" providerId="ADAL" clId="{E87DE2B3-A1BB-44E1-82F4-A4093DC29FAD}" dt="2023-03-30T13:53:36.027" v="2191" actId="1076"/>
          <ac:spMkLst>
            <pc:docMk/>
            <pc:sldMk cId="1629897296" sldId="2147479210"/>
            <ac:spMk id="87" creationId="{C046884F-896C-E705-5EE1-8B03A46ED71A}"/>
          </ac:spMkLst>
        </pc:spChg>
        <pc:spChg chg="mod">
          <ac:chgData name="Ma, Mandy Hongyang" userId="c8c44b64-cf2b-42a5-ad81-5888bcc9e90b" providerId="ADAL" clId="{E87DE2B3-A1BB-44E1-82F4-A4093DC29FAD}" dt="2023-03-30T13:53:36.027" v="2191" actId="1076"/>
          <ac:spMkLst>
            <pc:docMk/>
            <pc:sldMk cId="1629897296" sldId="2147479210"/>
            <ac:spMk id="89" creationId="{B968377F-E9CA-FAA1-905A-F4E2299D5A4B}"/>
          </ac:spMkLst>
        </pc:spChg>
        <pc:spChg chg="mod">
          <ac:chgData name="Ma, Mandy Hongyang" userId="c8c44b64-cf2b-42a5-ad81-5888bcc9e90b" providerId="ADAL" clId="{E87DE2B3-A1BB-44E1-82F4-A4093DC29FAD}" dt="2023-03-30T13:53:36.027" v="2191" actId="1076"/>
          <ac:spMkLst>
            <pc:docMk/>
            <pc:sldMk cId="1629897296" sldId="2147479210"/>
            <ac:spMk id="90" creationId="{96D9FD99-BB55-6E70-5164-30FA83BD47B7}"/>
          </ac:spMkLst>
        </pc:spChg>
        <pc:spChg chg="mod">
          <ac:chgData name="Ma, Mandy Hongyang" userId="c8c44b64-cf2b-42a5-ad81-5888bcc9e90b" providerId="ADAL" clId="{E87DE2B3-A1BB-44E1-82F4-A4093DC29FAD}" dt="2023-03-30T13:53:36.027" v="2191" actId="1076"/>
          <ac:spMkLst>
            <pc:docMk/>
            <pc:sldMk cId="1629897296" sldId="2147479210"/>
            <ac:spMk id="95" creationId="{C338EB92-364C-3B4D-3F79-70CE7D154DE4}"/>
          </ac:spMkLst>
        </pc:spChg>
        <pc:cxnChg chg="mod">
          <ac:chgData name="Ma, Mandy Hongyang" userId="c8c44b64-cf2b-42a5-ad81-5888bcc9e90b" providerId="ADAL" clId="{E87DE2B3-A1BB-44E1-82F4-A4093DC29FAD}" dt="2023-03-30T13:53:36.027" v="2191" actId="1076"/>
          <ac:cxnSpMkLst>
            <pc:docMk/>
            <pc:sldMk cId="1629897296" sldId="2147479210"/>
            <ac:cxnSpMk id="51" creationId="{37498A5A-A1DF-F619-C99D-7E3D65DF636C}"/>
          </ac:cxnSpMkLst>
        </pc:cxnChg>
        <pc:cxnChg chg="mod">
          <ac:chgData name="Ma, Mandy Hongyang" userId="c8c44b64-cf2b-42a5-ad81-5888bcc9e90b" providerId="ADAL" clId="{E87DE2B3-A1BB-44E1-82F4-A4093DC29FAD}" dt="2023-03-30T13:53:36.027" v="2191" actId="1076"/>
          <ac:cxnSpMkLst>
            <pc:docMk/>
            <pc:sldMk cId="1629897296" sldId="2147479210"/>
            <ac:cxnSpMk id="54" creationId="{910947D1-7475-49B2-655F-AE7A77AF9816}"/>
          </ac:cxnSpMkLst>
        </pc:cxnChg>
        <pc:cxnChg chg="mod">
          <ac:chgData name="Ma, Mandy Hongyang" userId="c8c44b64-cf2b-42a5-ad81-5888bcc9e90b" providerId="ADAL" clId="{E87DE2B3-A1BB-44E1-82F4-A4093DC29FAD}" dt="2023-03-30T13:53:36.027" v="2191" actId="1076"/>
          <ac:cxnSpMkLst>
            <pc:docMk/>
            <pc:sldMk cId="1629897296" sldId="2147479210"/>
            <ac:cxnSpMk id="59" creationId="{DDAE7C77-740A-EB6F-EB81-1DFA6FD8EAB3}"/>
          </ac:cxnSpMkLst>
        </pc:cxnChg>
        <pc:cxnChg chg="del mod">
          <ac:chgData name="Ma, Mandy Hongyang" userId="c8c44b64-cf2b-42a5-ad81-5888bcc9e90b" providerId="ADAL" clId="{E87DE2B3-A1BB-44E1-82F4-A4093DC29FAD}" dt="2023-03-30T13:50:50.688" v="2084" actId="478"/>
          <ac:cxnSpMkLst>
            <pc:docMk/>
            <pc:sldMk cId="1629897296" sldId="2147479210"/>
            <ac:cxnSpMk id="65" creationId="{5F6A8B9A-C4E6-4029-0ECA-CE95DC8AC39B}"/>
          </ac:cxnSpMkLst>
        </pc:cxnChg>
      </pc:sldChg>
      <pc:sldChg chg="addSp modSp del mod modShow">
        <pc:chgData name="Ma, Mandy Hongyang" userId="c8c44b64-cf2b-42a5-ad81-5888bcc9e90b" providerId="ADAL" clId="{E87DE2B3-A1BB-44E1-82F4-A4093DC29FAD}" dt="2023-03-30T13:50:22.017" v="2080" actId="47"/>
        <pc:sldMkLst>
          <pc:docMk/>
          <pc:sldMk cId="524445388" sldId="2147479418"/>
        </pc:sldMkLst>
        <pc:spChg chg="add mod">
          <ac:chgData name="Ma, Mandy Hongyang" userId="c8c44b64-cf2b-42a5-ad81-5888bcc9e90b" providerId="ADAL" clId="{E87DE2B3-A1BB-44E1-82F4-A4093DC29FAD}" dt="2023-03-30T13:09:51.601" v="1206"/>
          <ac:spMkLst>
            <pc:docMk/>
            <pc:sldMk cId="524445388" sldId="2147479418"/>
            <ac:spMk id="7" creationId="{0A244C2F-B7CE-C0E8-5E0D-E7AAF62CDBD1}"/>
          </ac:spMkLst>
        </pc:spChg>
      </pc:sldChg>
      <pc:sldChg chg="addSp delSp modSp mod">
        <pc:chgData name="Ma, Mandy Hongyang" userId="c8c44b64-cf2b-42a5-ad81-5888bcc9e90b" providerId="ADAL" clId="{E87DE2B3-A1BB-44E1-82F4-A4093DC29FAD}" dt="2023-04-13T09:45:04.664" v="3373" actId="1076"/>
        <pc:sldMkLst>
          <pc:docMk/>
          <pc:sldMk cId="1202851494" sldId="2147479522"/>
        </pc:sldMkLst>
        <pc:spChg chg="mod">
          <ac:chgData name="Ma, Mandy Hongyang" userId="c8c44b64-cf2b-42a5-ad81-5888bcc9e90b" providerId="ADAL" clId="{E87DE2B3-A1BB-44E1-82F4-A4093DC29FAD}" dt="2023-03-30T14:17:20.383" v="2728" actId="20577"/>
          <ac:spMkLst>
            <pc:docMk/>
            <pc:sldMk cId="1202851494" sldId="2147479522"/>
            <ac:spMk id="3" creationId="{A89DC960-B882-A672-52DC-8B1DBC1D9F39}"/>
          </ac:spMkLst>
        </pc:spChg>
        <pc:spChg chg="mod">
          <ac:chgData name="Ma, Mandy Hongyang" userId="c8c44b64-cf2b-42a5-ad81-5888bcc9e90b" providerId="ADAL" clId="{E87DE2B3-A1BB-44E1-82F4-A4093DC29FAD}" dt="2023-03-31T08:46:35.964" v="2816" actId="1076"/>
          <ac:spMkLst>
            <pc:docMk/>
            <pc:sldMk cId="1202851494" sldId="2147479522"/>
            <ac:spMk id="8" creationId="{4006C696-B2BF-EBB6-34D6-A48F66088230}"/>
          </ac:spMkLst>
        </pc:spChg>
        <pc:spChg chg="mod">
          <ac:chgData name="Ma, Mandy Hongyang" userId="c8c44b64-cf2b-42a5-ad81-5888bcc9e90b" providerId="ADAL" clId="{E87DE2B3-A1BB-44E1-82F4-A4093DC29FAD}" dt="2023-03-31T08:46:26.403" v="2813" actId="14100"/>
          <ac:spMkLst>
            <pc:docMk/>
            <pc:sldMk cId="1202851494" sldId="2147479522"/>
            <ac:spMk id="9" creationId="{D8D405E5-2CE5-E3B0-C013-20ACEB2C5F3E}"/>
          </ac:spMkLst>
        </pc:spChg>
        <pc:spChg chg="mod">
          <ac:chgData name="Ma, Mandy Hongyang" userId="c8c44b64-cf2b-42a5-ad81-5888bcc9e90b" providerId="ADAL" clId="{E87DE2B3-A1BB-44E1-82F4-A4093DC29FAD}" dt="2023-03-31T09:00:47.220" v="3231" actId="20577"/>
          <ac:spMkLst>
            <pc:docMk/>
            <pc:sldMk cId="1202851494" sldId="2147479522"/>
            <ac:spMk id="10" creationId="{624C0160-30C6-56D0-504C-0F500AEBA9F8}"/>
          </ac:spMkLst>
        </pc:spChg>
        <pc:spChg chg="mod">
          <ac:chgData name="Ma, Mandy Hongyang" userId="c8c44b64-cf2b-42a5-ad81-5888bcc9e90b" providerId="ADAL" clId="{E87DE2B3-A1BB-44E1-82F4-A4093DC29FAD}" dt="2023-03-31T09:00:31.491" v="3226" actId="14100"/>
          <ac:spMkLst>
            <pc:docMk/>
            <pc:sldMk cId="1202851494" sldId="2147479522"/>
            <ac:spMk id="11" creationId="{D8FA2269-53F3-05A4-C243-32146B040DDE}"/>
          </ac:spMkLst>
        </pc:spChg>
        <pc:spChg chg="del mod">
          <ac:chgData name="Ma, Mandy Hongyang" userId="c8c44b64-cf2b-42a5-ad81-5888bcc9e90b" providerId="ADAL" clId="{E87DE2B3-A1BB-44E1-82F4-A4093DC29FAD}" dt="2023-03-31T09:03:36.255" v="3264" actId="478"/>
          <ac:spMkLst>
            <pc:docMk/>
            <pc:sldMk cId="1202851494" sldId="2147479522"/>
            <ac:spMk id="13" creationId="{2423C592-7F49-4179-7154-14A9AE9F0173}"/>
          </ac:spMkLst>
        </pc:spChg>
        <pc:spChg chg="del mod">
          <ac:chgData name="Ma, Mandy Hongyang" userId="c8c44b64-cf2b-42a5-ad81-5888bcc9e90b" providerId="ADAL" clId="{E87DE2B3-A1BB-44E1-82F4-A4093DC29FAD}" dt="2023-03-31T09:03:36.255" v="3264" actId="478"/>
          <ac:spMkLst>
            <pc:docMk/>
            <pc:sldMk cId="1202851494" sldId="2147479522"/>
            <ac:spMk id="14" creationId="{243548B2-AEED-D14E-7E14-E18D83BE1E37}"/>
          </ac:spMkLst>
        </pc:spChg>
        <pc:spChg chg="del mod">
          <ac:chgData name="Ma, Mandy Hongyang" userId="c8c44b64-cf2b-42a5-ad81-5888bcc9e90b" providerId="ADAL" clId="{E87DE2B3-A1BB-44E1-82F4-A4093DC29FAD}" dt="2023-03-31T09:03:36.255" v="3264" actId="478"/>
          <ac:spMkLst>
            <pc:docMk/>
            <pc:sldMk cId="1202851494" sldId="2147479522"/>
            <ac:spMk id="15" creationId="{6C8752D7-7FAB-F79E-72EB-76D427A015D9}"/>
          </ac:spMkLst>
        </pc:spChg>
        <pc:spChg chg="add del mod">
          <ac:chgData name="Ma, Mandy Hongyang" userId="c8c44b64-cf2b-42a5-ad81-5888bcc9e90b" providerId="ADAL" clId="{E87DE2B3-A1BB-44E1-82F4-A4093DC29FAD}" dt="2023-03-31T09:03:36.255" v="3264" actId="478"/>
          <ac:spMkLst>
            <pc:docMk/>
            <pc:sldMk cId="1202851494" sldId="2147479522"/>
            <ac:spMk id="16" creationId="{542E932A-D6E4-F34F-0D56-A4BF50BC5F79}"/>
          </ac:spMkLst>
        </pc:spChg>
        <pc:spChg chg="add del mod">
          <ac:chgData name="Ma, Mandy Hongyang" userId="c8c44b64-cf2b-42a5-ad81-5888bcc9e90b" providerId="ADAL" clId="{E87DE2B3-A1BB-44E1-82F4-A4093DC29FAD}" dt="2023-03-31T09:03:36.255" v="3264" actId="478"/>
          <ac:spMkLst>
            <pc:docMk/>
            <pc:sldMk cId="1202851494" sldId="2147479522"/>
            <ac:spMk id="17" creationId="{172CC5AC-D419-BD58-2A91-7C94AFA54BFD}"/>
          </ac:spMkLst>
        </pc:spChg>
        <pc:spChg chg="add mod">
          <ac:chgData name="Ma, Mandy Hongyang" userId="c8c44b64-cf2b-42a5-ad81-5888bcc9e90b" providerId="ADAL" clId="{E87DE2B3-A1BB-44E1-82F4-A4093DC29FAD}" dt="2023-03-31T09:03:47.499" v="3306" actId="20577"/>
          <ac:spMkLst>
            <pc:docMk/>
            <pc:sldMk cId="1202851494" sldId="2147479522"/>
            <ac:spMk id="19" creationId="{A404F097-6BA0-DE44-5DD5-5F12222A5A1E}"/>
          </ac:spMkLst>
        </pc:spChg>
        <pc:spChg chg="add 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21" creationId="{414E3312-9E5D-C49C-9CDD-C441DD1474F7}"/>
          </ac:spMkLst>
        </pc:spChg>
        <pc:spChg chg="add 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22" creationId="{E461EC14-A2AB-E2C7-A74D-3C394FC28021}"/>
          </ac:spMkLst>
        </pc:spChg>
        <pc:spChg chg="mod">
          <ac:chgData name="Ma, Mandy Hongyang" userId="c8c44b64-cf2b-42a5-ad81-5888bcc9e90b" providerId="ADAL" clId="{E87DE2B3-A1BB-44E1-82F4-A4093DC29FAD}" dt="2023-03-30T13:01:15.867" v="952" actId="20577"/>
          <ac:spMkLst>
            <pc:docMk/>
            <pc:sldMk cId="1202851494" sldId="2147479522"/>
            <ac:spMk id="23" creationId="{D212E85C-E8F0-C387-F553-B63A45612658}"/>
          </ac:spMkLst>
        </pc:spChg>
        <pc:spChg chg="mod">
          <ac:chgData name="Ma, Mandy Hongyang" userId="c8c44b64-cf2b-42a5-ad81-5888bcc9e90b" providerId="ADAL" clId="{E87DE2B3-A1BB-44E1-82F4-A4093DC29FAD}" dt="2023-04-13T09:45:04.664" v="3373" actId="1076"/>
          <ac:spMkLst>
            <pc:docMk/>
            <pc:sldMk cId="1202851494" sldId="2147479522"/>
            <ac:spMk id="46" creationId="{07C8DDE9-65EB-BE2B-CE17-72DDAD72A6A6}"/>
          </ac:spMkLst>
        </pc:spChg>
        <pc:spChg chg="add del">
          <ac:chgData name="Ma, Mandy Hongyang" userId="c8c44b64-cf2b-42a5-ad81-5888bcc9e90b" providerId="ADAL" clId="{E87DE2B3-A1BB-44E1-82F4-A4093DC29FAD}" dt="2023-03-30T13:01:47.125" v="961" actId="478"/>
          <ac:spMkLst>
            <pc:docMk/>
            <pc:sldMk cId="1202851494" sldId="2147479522"/>
            <ac:spMk id="51" creationId="{4E0165E0-D9A6-5A68-AFE3-22295ABD4CF8}"/>
          </ac:spMkLst>
        </pc:spChg>
        <pc:spChg chg="del">
          <ac:chgData name="Ma, Mandy Hongyang" userId="c8c44b64-cf2b-42a5-ad81-5888bcc9e90b" providerId="ADAL" clId="{E87DE2B3-A1BB-44E1-82F4-A4093DC29FAD}" dt="2023-03-31T09:02:45.659" v="3232" actId="478"/>
          <ac:spMkLst>
            <pc:docMk/>
            <pc:sldMk cId="1202851494" sldId="2147479522"/>
            <ac:spMk id="52" creationId="{2C2F82B3-A902-A446-C8CD-0CB879C004EF}"/>
          </ac:spMkLst>
        </pc:spChg>
        <pc:spChg chg="del">
          <ac:chgData name="Ma, Mandy Hongyang" userId="c8c44b64-cf2b-42a5-ad81-5888bcc9e90b" providerId="ADAL" clId="{E87DE2B3-A1BB-44E1-82F4-A4093DC29FAD}" dt="2023-03-31T09:02:46.910" v="3233" actId="478"/>
          <ac:spMkLst>
            <pc:docMk/>
            <pc:sldMk cId="1202851494" sldId="2147479522"/>
            <ac:spMk id="54" creationId="{C1E79EB3-E116-3E02-B23B-A6C01159C2AC}"/>
          </ac:spMkLst>
        </pc:spChg>
        <pc:spChg chg="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56" creationId="{A64C9F7F-F0C7-9A95-071F-71DF53E9D4C5}"/>
          </ac:spMkLst>
        </pc:spChg>
        <pc:spChg chg="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60" creationId="{EE53B1C1-2560-A6FB-F722-D8EDB557F495}"/>
          </ac:spMkLst>
        </pc:spChg>
        <pc:spChg chg="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63" creationId="{24450B3A-8149-D24C-2989-E47DFA4D760A}"/>
          </ac:spMkLst>
        </pc:spChg>
        <pc:spChg chg="mod">
          <ac:chgData name="Ma, Mandy Hongyang" userId="c8c44b64-cf2b-42a5-ad81-5888bcc9e90b" providerId="ADAL" clId="{E87DE2B3-A1BB-44E1-82F4-A4093DC29FAD}" dt="2023-03-31T09:03:54.598" v="3307" actId="14100"/>
          <ac:spMkLst>
            <pc:docMk/>
            <pc:sldMk cId="1202851494" sldId="2147479522"/>
            <ac:spMk id="65" creationId="{4A1DEEAA-3792-C417-5D57-7FAA3645BAE0}"/>
          </ac:spMkLst>
        </pc:spChg>
        <pc:spChg chg="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66" creationId="{CE67E39F-12CF-1DB3-54AE-559CA0A36F9F}"/>
          </ac:spMkLst>
        </pc:spChg>
        <pc:spChg chg="mod">
          <ac:chgData name="Ma, Mandy Hongyang" userId="c8c44b64-cf2b-42a5-ad81-5888bcc9e90b" providerId="ADAL" clId="{E87DE2B3-A1BB-44E1-82F4-A4093DC29FAD}" dt="2023-03-30T13:00:42.248" v="948"/>
          <ac:spMkLst>
            <pc:docMk/>
            <pc:sldMk cId="1202851494" sldId="2147479522"/>
            <ac:spMk id="68" creationId="{ED5CFCDB-1815-8C6E-E97A-6F6161EAC89F}"/>
          </ac:spMkLst>
        </pc:spChg>
        <pc:spChg chg="mod">
          <ac:chgData name="Ma, Mandy Hongyang" userId="c8c44b64-cf2b-42a5-ad81-5888bcc9e90b" providerId="ADAL" clId="{E87DE2B3-A1BB-44E1-82F4-A4093DC29FAD}" dt="2023-03-30T13:00:50.226" v="949"/>
          <ac:spMkLst>
            <pc:docMk/>
            <pc:sldMk cId="1202851494" sldId="2147479522"/>
            <ac:spMk id="78" creationId="{218ED13B-D766-06C6-8D4A-9507648698DA}"/>
          </ac:spMkLst>
        </pc:spChg>
        <pc:spChg chg="del">
          <ac:chgData name="Ma, Mandy Hongyang" userId="c8c44b64-cf2b-42a5-ad81-5888bcc9e90b" providerId="ADAL" clId="{E87DE2B3-A1BB-44E1-82F4-A4093DC29FAD}" dt="2023-03-30T13:01:49.987" v="962" actId="478"/>
          <ac:spMkLst>
            <pc:docMk/>
            <pc:sldMk cId="1202851494" sldId="2147479522"/>
            <ac:spMk id="99" creationId="{678225E4-9664-CB9C-C61A-222CCB937432}"/>
          </ac:spMkLst>
        </pc:spChg>
        <pc:spChg chg="del">
          <ac:chgData name="Ma, Mandy Hongyang" userId="c8c44b64-cf2b-42a5-ad81-5888bcc9e90b" providerId="ADAL" clId="{E87DE2B3-A1BB-44E1-82F4-A4093DC29FAD}" dt="2023-03-30T13:01:51.639" v="963" actId="478"/>
          <ac:spMkLst>
            <pc:docMk/>
            <pc:sldMk cId="1202851494" sldId="2147479522"/>
            <ac:spMk id="102" creationId="{5DE9F3FC-1A66-471B-B7D2-51227EDEC976}"/>
          </ac:spMkLst>
        </pc:spChg>
        <pc:spChg chg="del">
          <ac:chgData name="Ma, Mandy Hongyang" userId="c8c44b64-cf2b-42a5-ad81-5888bcc9e90b" providerId="ADAL" clId="{E87DE2B3-A1BB-44E1-82F4-A4093DC29FAD}" dt="2023-03-30T13:01:44.273" v="958" actId="478"/>
          <ac:spMkLst>
            <pc:docMk/>
            <pc:sldMk cId="1202851494" sldId="2147479522"/>
            <ac:spMk id="103" creationId="{9679AB3E-E5A5-FADE-70F3-63EBF3028C76}"/>
          </ac:spMkLst>
        </pc:spChg>
        <pc:spChg chg="del">
          <ac:chgData name="Ma, Mandy Hongyang" userId="c8c44b64-cf2b-42a5-ad81-5888bcc9e90b" providerId="ADAL" clId="{E87DE2B3-A1BB-44E1-82F4-A4093DC29FAD}" dt="2023-03-30T13:01:31.449" v="956" actId="478"/>
          <ac:spMkLst>
            <pc:docMk/>
            <pc:sldMk cId="1202851494" sldId="2147479522"/>
            <ac:spMk id="120" creationId="{CEAE226A-9B26-56F8-35FE-710FE553C7DE}"/>
          </ac:spMkLst>
        </pc:spChg>
        <pc:spChg chg="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121" creationId="{EE31197E-2BD1-A2D7-11F9-77EA8C4AEB17}"/>
          </ac:spMkLst>
        </pc:spChg>
        <pc:spChg chg="mod">
          <ac:chgData name="Ma, Mandy Hongyang" userId="c8c44b64-cf2b-42a5-ad81-5888bcc9e90b" providerId="ADAL" clId="{E87DE2B3-A1BB-44E1-82F4-A4093DC29FAD}" dt="2023-03-31T09:04:11.232" v="3308" actId="1076"/>
          <ac:spMkLst>
            <pc:docMk/>
            <pc:sldMk cId="1202851494" sldId="2147479522"/>
            <ac:spMk id="123" creationId="{C8CD5E06-A5AE-E701-0F4C-40D5C206EEDC}"/>
          </ac:spMkLst>
        </pc:spChg>
        <pc:spChg chg="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124" creationId="{56B5D445-4237-6B98-137E-1DB579B6A536}"/>
          </ac:spMkLst>
        </pc:spChg>
        <pc:spChg chg="del">
          <ac:chgData name="Ma, Mandy Hongyang" userId="c8c44b64-cf2b-42a5-ad81-5888bcc9e90b" providerId="ADAL" clId="{E87DE2B3-A1BB-44E1-82F4-A4093DC29FAD}" dt="2023-03-30T13:01:29.956" v="955" actId="478"/>
          <ac:spMkLst>
            <pc:docMk/>
            <pc:sldMk cId="1202851494" sldId="2147479522"/>
            <ac:spMk id="125" creationId="{AF2DB3A7-7A2F-D39E-57FA-9F96B7B9CBB6}"/>
          </ac:spMkLst>
        </pc:spChg>
        <pc:spChg chg="del">
          <ac:chgData name="Ma, Mandy Hongyang" userId="c8c44b64-cf2b-42a5-ad81-5888bcc9e90b" providerId="ADAL" clId="{E87DE2B3-A1BB-44E1-82F4-A4093DC29FAD}" dt="2023-03-30T13:01:32.528" v="957" actId="478"/>
          <ac:spMkLst>
            <pc:docMk/>
            <pc:sldMk cId="1202851494" sldId="2147479522"/>
            <ac:spMk id="127" creationId="{F879B700-B999-2BC3-EF76-42BFE4EB7FB9}"/>
          </ac:spMkLst>
        </pc:spChg>
        <pc:spChg chg="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130" creationId="{07EE12E6-CDC8-4219-68AF-9C590D037C00}"/>
          </ac:spMkLst>
        </pc:spChg>
        <pc:spChg chg="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131" creationId="{9787D9EC-0E07-8F94-EB09-D686D3B70431}"/>
          </ac:spMkLst>
        </pc:spChg>
        <pc:spChg chg="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132" creationId="{20A61275-A766-494E-B935-F08EA0953332}"/>
          </ac:spMkLst>
        </pc:spChg>
        <pc:spChg chg="mod">
          <ac:chgData name="Ma, Mandy Hongyang" userId="c8c44b64-cf2b-42a5-ad81-5888bcc9e90b" providerId="ADAL" clId="{E87DE2B3-A1BB-44E1-82F4-A4093DC29FAD}" dt="2023-03-31T09:04:12.746" v="3309" actId="1076"/>
          <ac:spMkLst>
            <pc:docMk/>
            <pc:sldMk cId="1202851494" sldId="2147479522"/>
            <ac:spMk id="133" creationId="{8F639471-50EF-24F0-3BD9-7F163B6A1032}"/>
          </ac:spMkLst>
        </pc:spChg>
        <pc:spChg chg="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134" creationId="{49DF089C-EAD8-FA4C-ED2D-96A3F2C8B8D8}"/>
          </ac:spMkLst>
        </pc:spChg>
        <pc:spChg chg="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135" creationId="{0E6C00BF-0E89-ADC9-DEE8-63CFDA2FAA75}"/>
          </ac:spMkLst>
        </pc:spChg>
        <pc:spChg chg="mod">
          <ac:chgData name="Ma, Mandy Hongyang" userId="c8c44b64-cf2b-42a5-ad81-5888bcc9e90b" providerId="ADAL" clId="{E87DE2B3-A1BB-44E1-82F4-A4093DC29FAD}" dt="2023-03-31T09:03:27.446" v="3263" actId="14100"/>
          <ac:spMkLst>
            <pc:docMk/>
            <pc:sldMk cId="1202851494" sldId="2147479522"/>
            <ac:spMk id="147" creationId="{86881CA3-8A0B-6340-569B-F849D1CFB709}"/>
          </ac:spMkLst>
        </pc:spChg>
        <pc:spChg chg="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149" creationId="{B7EFDF92-B431-95C8-2943-597A7C2D467C}"/>
          </ac:spMkLst>
        </pc:spChg>
        <pc:spChg chg="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150" creationId="{252F7DEB-6CAF-C3D9-55DE-BAD2D2356D98}"/>
          </ac:spMkLst>
        </pc:spChg>
        <pc:spChg chg="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165" creationId="{C8DBCE21-0D90-11DF-15E9-D79290D734A5}"/>
          </ac:spMkLst>
        </pc:spChg>
        <pc:spChg chg="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173" creationId="{496DFE2D-45DD-47B5-0844-E584E52FBDAE}"/>
          </ac:spMkLst>
        </pc:spChg>
        <pc:spChg chg="mod">
          <ac:chgData name="Ma, Mandy Hongyang" userId="c8c44b64-cf2b-42a5-ad81-5888bcc9e90b" providerId="ADAL" clId="{E87DE2B3-A1BB-44E1-82F4-A4093DC29FAD}" dt="2023-03-30T14:17:27.920" v="2730" actId="20577"/>
          <ac:spMkLst>
            <pc:docMk/>
            <pc:sldMk cId="1202851494" sldId="2147479522"/>
            <ac:spMk id="182" creationId="{278D26E1-09E9-BCE9-280C-DD643470C382}"/>
          </ac:spMkLst>
        </pc:spChg>
        <pc:spChg chg="del mod">
          <ac:chgData name="Ma, Mandy Hongyang" userId="c8c44b64-cf2b-42a5-ad81-5888bcc9e90b" providerId="ADAL" clId="{E87DE2B3-A1BB-44E1-82F4-A4093DC29FAD}" dt="2023-03-30T13:01:27.707" v="954" actId="478"/>
          <ac:spMkLst>
            <pc:docMk/>
            <pc:sldMk cId="1202851494" sldId="2147479522"/>
            <ac:spMk id="189" creationId="{85134FB8-1F82-0BCA-3565-10FD51CE5DFB}"/>
          </ac:spMkLst>
        </pc:spChg>
        <pc:spChg chg="mod">
          <ac:chgData name="Ma, Mandy Hongyang" userId="c8c44b64-cf2b-42a5-ad81-5888bcc9e90b" providerId="ADAL" clId="{E87DE2B3-A1BB-44E1-82F4-A4093DC29FAD}" dt="2023-03-31T09:03:39.174" v="3265" actId="1076"/>
          <ac:spMkLst>
            <pc:docMk/>
            <pc:sldMk cId="1202851494" sldId="2147479522"/>
            <ac:spMk id="192" creationId="{2AF82947-D683-3261-A52A-F9F280A35C45}"/>
          </ac:spMkLst>
        </pc:spChg>
        <pc:spChg chg="del">
          <ac:chgData name="Ma, Mandy Hongyang" userId="c8c44b64-cf2b-42a5-ad81-5888bcc9e90b" providerId="ADAL" clId="{E87DE2B3-A1BB-44E1-82F4-A4093DC29FAD}" dt="2023-03-30T13:02:05.030" v="969" actId="478"/>
          <ac:spMkLst>
            <pc:docMk/>
            <pc:sldMk cId="1202851494" sldId="2147479522"/>
            <ac:spMk id="195" creationId="{5CF122C8-167D-60B8-8102-AD26194DC1AF}"/>
          </ac:spMkLst>
        </pc:spChg>
        <pc:spChg chg="del">
          <ac:chgData name="Ma, Mandy Hongyang" userId="c8c44b64-cf2b-42a5-ad81-5888bcc9e90b" providerId="ADAL" clId="{E87DE2B3-A1BB-44E1-82F4-A4093DC29FAD}" dt="2023-03-30T13:02:06.485" v="970" actId="478"/>
          <ac:spMkLst>
            <pc:docMk/>
            <pc:sldMk cId="1202851494" sldId="2147479522"/>
            <ac:spMk id="197" creationId="{84AB6CF1-42EF-DE40-DF22-5FABFFA0FC78}"/>
          </ac:spMkLst>
        </pc:spChg>
        <pc:spChg chg="mod">
          <ac:chgData name="Ma, Mandy Hongyang" userId="c8c44b64-cf2b-42a5-ad81-5888bcc9e90b" providerId="ADAL" clId="{E87DE2B3-A1BB-44E1-82F4-A4093DC29FAD}" dt="2023-03-31T09:03:13.387" v="3257" actId="1076"/>
          <ac:spMkLst>
            <pc:docMk/>
            <pc:sldMk cId="1202851494" sldId="2147479522"/>
            <ac:spMk id="198" creationId="{7CDE1717-B404-4106-2BAF-7F75982FE955}"/>
          </ac:spMkLst>
        </pc:spChg>
        <pc:spChg chg="mod">
          <ac:chgData name="Ma, Mandy Hongyang" userId="c8c44b64-cf2b-42a5-ad81-5888bcc9e90b" providerId="ADAL" clId="{E87DE2B3-A1BB-44E1-82F4-A4093DC29FAD}" dt="2023-03-30T13:02:14.746" v="972" actId="1076"/>
          <ac:spMkLst>
            <pc:docMk/>
            <pc:sldMk cId="1202851494" sldId="2147479522"/>
            <ac:spMk id="199" creationId="{BC776657-27D1-B22A-C02D-C5FD92E15DE3}"/>
          </ac:spMkLst>
        </pc:spChg>
        <pc:spChg chg="mod">
          <ac:chgData name="Ma, Mandy Hongyang" userId="c8c44b64-cf2b-42a5-ad81-5888bcc9e90b" providerId="ADAL" clId="{E87DE2B3-A1BB-44E1-82F4-A4093DC29FAD}" dt="2023-03-30T13:07:53.612" v="1161" actId="20577"/>
          <ac:spMkLst>
            <pc:docMk/>
            <pc:sldMk cId="1202851494" sldId="2147479522"/>
            <ac:spMk id="200" creationId="{57369826-3F03-170F-FCEF-4A7BB29A09AA}"/>
          </ac:spMkLst>
        </pc:spChg>
        <pc:spChg chg="del">
          <ac:chgData name="Ma, Mandy Hongyang" userId="c8c44b64-cf2b-42a5-ad81-5888bcc9e90b" providerId="ADAL" clId="{E87DE2B3-A1BB-44E1-82F4-A4093DC29FAD}" dt="2023-03-30T13:02:16.733" v="973" actId="478"/>
          <ac:spMkLst>
            <pc:docMk/>
            <pc:sldMk cId="1202851494" sldId="2147479522"/>
            <ac:spMk id="201" creationId="{33EEDF9D-CFC0-3825-0EE9-DCEA108EEA9A}"/>
          </ac:spMkLst>
        </pc:spChg>
        <pc:spChg chg="mod">
          <ac:chgData name="Ma, Mandy Hongyang" userId="c8c44b64-cf2b-42a5-ad81-5888bcc9e90b" providerId="ADAL" clId="{E87DE2B3-A1BB-44E1-82F4-A4093DC29FAD}" dt="2023-03-31T09:02:58.953" v="3253" actId="1076"/>
          <ac:spMkLst>
            <pc:docMk/>
            <pc:sldMk cId="1202851494" sldId="2147479522"/>
            <ac:spMk id="202" creationId="{B6D12A7C-0557-27DF-9DF7-E015E52604C7}"/>
          </ac:spMkLst>
        </pc:spChg>
        <pc:spChg chg="mod">
          <ac:chgData name="Ma, Mandy Hongyang" userId="c8c44b64-cf2b-42a5-ad81-5888bcc9e90b" providerId="ADAL" clId="{E87DE2B3-A1BB-44E1-82F4-A4093DC29FAD}" dt="2023-03-31T08:59:34.336" v="3212" actId="6549"/>
          <ac:spMkLst>
            <pc:docMk/>
            <pc:sldMk cId="1202851494" sldId="2147479522"/>
            <ac:spMk id="203" creationId="{77A43201-3B0F-03A7-505E-558C300BD258}"/>
          </ac:spMkLst>
        </pc:spChg>
        <pc:spChg chg="mod">
          <ac:chgData name="Ma, Mandy Hongyang" userId="c8c44b64-cf2b-42a5-ad81-5888bcc9e90b" providerId="ADAL" clId="{E87DE2B3-A1BB-44E1-82F4-A4093DC29FAD}" dt="2023-03-31T09:02:55.370" v="3252" actId="1035"/>
          <ac:spMkLst>
            <pc:docMk/>
            <pc:sldMk cId="1202851494" sldId="2147479522"/>
            <ac:spMk id="205" creationId="{F4688359-5FAC-F09B-3894-3504AACA5E45}"/>
          </ac:spMkLst>
        </pc:spChg>
        <pc:spChg chg="mod">
          <ac:chgData name="Ma, Mandy Hongyang" userId="c8c44b64-cf2b-42a5-ad81-5888bcc9e90b" providerId="ADAL" clId="{E87DE2B3-A1BB-44E1-82F4-A4093DC29FAD}" dt="2023-03-31T09:03:16.370" v="3258" actId="1076"/>
          <ac:spMkLst>
            <pc:docMk/>
            <pc:sldMk cId="1202851494" sldId="2147479522"/>
            <ac:spMk id="206" creationId="{5F0C6694-B9CB-D779-51EB-F6C7507C292F}"/>
          </ac:spMkLst>
        </pc:spChg>
        <pc:spChg chg="mod">
          <ac:chgData name="Ma, Mandy Hongyang" userId="c8c44b64-cf2b-42a5-ad81-5888bcc9e90b" providerId="ADAL" clId="{E87DE2B3-A1BB-44E1-82F4-A4093DC29FAD}" dt="2023-03-31T09:03:10.117" v="3256" actId="1076"/>
          <ac:spMkLst>
            <pc:docMk/>
            <pc:sldMk cId="1202851494" sldId="2147479522"/>
            <ac:spMk id="207" creationId="{33F64CB9-676D-71BC-451B-35F2B20E9495}"/>
          </ac:spMkLst>
        </pc:spChg>
        <pc:spChg chg="mod">
          <ac:chgData name="Ma, Mandy Hongyang" userId="c8c44b64-cf2b-42a5-ad81-5888bcc9e90b" providerId="ADAL" clId="{E87DE2B3-A1BB-44E1-82F4-A4093DC29FAD}" dt="2023-03-31T09:03:07.462" v="3255" actId="1076"/>
          <ac:spMkLst>
            <pc:docMk/>
            <pc:sldMk cId="1202851494" sldId="2147479522"/>
            <ac:spMk id="208" creationId="{67A9D68A-582C-0FBE-6C97-4B9A196A85EE}"/>
          </ac:spMkLst>
        </pc:spChg>
        <pc:grpChg chg="del mod">
          <ac:chgData name="Ma, Mandy Hongyang" userId="c8c44b64-cf2b-42a5-ad81-5888bcc9e90b" providerId="ADAL" clId="{E87DE2B3-A1BB-44E1-82F4-A4093DC29FAD}" dt="2023-03-31T09:03:36.255" v="3264" actId="478"/>
          <ac:grpSpMkLst>
            <pc:docMk/>
            <pc:sldMk cId="1202851494" sldId="2147479522"/>
            <ac:grpSpMk id="7" creationId="{E19EEEBA-2D9C-F7A6-6571-AE1162D60129}"/>
          </ac:grpSpMkLst>
        </pc:grpChg>
        <pc:cxnChg chg="del mod">
          <ac:chgData name="Ma, Mandy Hongyang" userId="c8c44b64-cf2b-42a5-ad81-5888bcc9e90b" providerId="ADAL" clId="{E87DE2B3-A1BB-44E1-82F4-A4093DC29FAD}" dt="2023-03-30T13:01:45.332" v="959" actId="478"/>
          <ac:cxnSpMkLst>
            <pc:docMk/>
            <pc:sldMk cId="1202851494" sldId="2147479522"/>
            <ac:cxnSpMk id="136" creationId="{7F3D6BB5-D8C6-A622-D861-E5D4038CA78E}"/>
          </ac:cxnSpMkLst>
        </pc:cxnChg>
        <pc:cxnChg chg="mod">
          <ac:chgData name="Ma, Mandy Hongyang" userId="c8c44b64-cf2b-42a5-ad81-5888bcc9e90b" providerId="ADAL" clId="{E87DE2B3-A1BB-44E1-82F4-A4093DC29FAD}" dt="2023-03-31T09:03:27.446" v="3263" actId="14100"/>
          <ac:cxnSpMkLst>
            <pc:docMk/>
            <pc:sldMk cId="1202851494" sldId="2147479522"/>
            <ac:cxnSpMk id="141" creationId="{DC36EC5C-7548-A202-25EC-2553379CF587}"/>
          </ac:cxnSpMkLst>
        </pc:cxnChg>
        <pc:cxnChg chg="mod">
          <ac:chgData name="Ma, Mandy Hongyang" userId="c8c44b64-cf2b-42a5-ad81-5888bcc9e90b" providerId="ADAL" clId="{E87DE2B3-A1BB-44E1-82F4-A4093DC29FAD}" dt="2023-03-31T09:02:55.370" v="3252" actId="1035"/>
          <ac:cxnSpMkLst>
            <pc:docMk/>
            <pc:sldMk cId="1202851494" sldId="2147479522"/>
            <ac:cxnSpMk id="151" creationId="{38616B50-DCE0-40AC-2D9A-049EB7A19189}"/>
          </ac:cxnSpMkLst>
        </pc:cxnChg>
        <pc:cxnChg chg="mod">
          <ac:chgData name="Ma, Mandy Hongyang" userId="c8c44b64-cf2b-42a5-ad81-5888bcc9e90b" providerId="ADAL" clId="{E87DE2B3-A1BB-44E1-82F4-A4093DC29FAD}" dt="2023-03-31T09:04:11.232" v="3308" actId="1076"/>
          <ac:cxnSpMkLst>
            <pc:docMk/>
            <pc:sldMk cId="1202851494" sldId="2147479522"/>
            <ac:cxnSpMk id="166" creationId="{96EB2CD1-49FB-00F6-280F-1BDE79DD5D06}"/>
          </ac:cxnSpMkLst>
        </pc:cxnChg>
        <pc:cxnChg chg="mod">
          <ac:chgData name="Ma, Mandy Hongyang" userId="c8c44b64-cf2b-42a5-ad81-5888bcc9e90b" providerId="ADAL" clId="{E87DE2B3-A1BB-44E1-82F4-A4093DC29FAD}" dt="2023-03-31T09:04:12.746" v="3309" actId="1076"/>
          <ac:cxnSpMkLst>
            <pc:docMk/>
            <pc:sldMk cId="1202851494" sldId="2147479522"/>
            <ac:cxnSpMk id="169" creationId="{B0DB2D7A-CED8-2A3F-A4C8-B51B5598B5D8}"/>
          </ac:cxnSpMkLst>
        </pc:cxnChg>
        <pc:cxnChg chg="mod">
          <ac:chgData name="Ma, Mandy Hongyang" userId="c8c44b64-cf2b-42a5-ad81-5888bcc9e90b" providerId="ADAL" clId="{E87DE2B3-A1BB-44E1-82F4-A4093DC29FAD}" dt="2023-03-31T09:02:55.370" v="3252" actId="1035"/>
          <ac:cxnSpMkLst>
            <pc:docMk/>
            <pc:sldMk cId="1202851494" sldId="2147479522"/>
            <ac:cxnSpMk id="174" creationId="{533B23C2-1AC1-A15E-DA6A-9505CBF5AE00}"/>
          </ac:cxnSpMkLst>
        </pc:cxnChg>
      </pc:sldChg>
      <pc:sldChg chg="del">
        <pc:chgData name="Ma, Mandy Hongyang" userId="c8c44b64-cf2b-42a5-ad81-5888bcc9e90b" providerId="ADAL" clId="{E87DE2B3-A1BB-44E1-82F4-A4093DC29FAD}" dt="2023-03-30T13:50:34.189" v="2082" actId="47"/>
        <pc:sldMkLst>
          <pc:docMk/>
          <pc:sldMk cId="1638411881" sldId="2147479584"/>
        </pc:sldMkLst>
      </pc:sldChg>
      <pc:sldChg chg="modSp mod">
        <pc:chgData name="Ma, Mandy Hongyang" userId="c8c44b64-cf2b-42a5-ad81-5888bcc9e90b" providerId="ADAL" clId="{E87DE2B3-A1BB-44E1-82F4-A4093DC29FAD}" dt="2023-03-30T13:40:49.092" v="1714" actId="20577"/>
        <pc:sldMkLst>
          <pc:docMk/>
          <pc:sldMk cId="228772253" sldId="2147479586"/>
        </pc:sldMkLst>
        <pc:spChg chg="mod">
          <ac:chgData name="Ma, Mandy Hongyang" userId="c8c44b64-cf2b-42a5-ad81-5888bcc9e90b" providerId="ADAL" clId="{E87DE2B3-A1BB-44E1-82F4-A4093DC29FAD}" dt="2023-03-30T13:40:49.092" v="1714" actId="20577"/>
          <ac:spMkLst>
            <pc:docMk/>
            <pc:sldMk cId="228772253" sldId="2147479586"/>
            <ac:spMk id="3" creationId="{70FA95E4-14A9-A0D5-F0DF-339A223CE8A8}"/>
          </ac:spMkLst>
        </pc:spChg>
        <pc:graphicFrameChg chg="modGraphic">
          <ac:chgData name="Ma, Mandy Hongyang" userId="c8c44b64-cf2b-42a5-ad81-5888bcc9e90b" providerId="ADAL" clId="{E87DE2B3-A1BB-44E1-82F4-A4093DC29FAD}" dt="2023-03-30T13:40:20.601" v="1671" actId="207"/>
          <ac:graphicFrameMkLst>
            <pc:docMk/>
            <pc:sldMk cId="228772253" sldId="2147479586"/>
            <ac:graphicFrameMk id="17" creationId="{98286A7B-A899-A30A-F56C-573400038B2D}"/>
          </ac:graphicFrameMkLst>
        </pc:graphicFrameChg>
      </pc:sldChg>
      <pc:sldChg chg="addSp delSp modSp mod">
        <pc:chgData name="Ma, Mandy Hongyang" userId="c8c44b64-cf2b-42a5-ad81-5888bcc9e90b" providerId="ADAL" clId="{E87DE2B3-A1BB-44E1-82F4-A4093DC29FAD}" dt="2023-03-31T09:17:27.500" v="3315" actId="1076"/>
        <pc:sldMkLst>
          <pc:docMk/>
          <pc:sldMk cId="2873784161" sldId="2147479587"/>
        </pc:sldMkLst>
        <pc:spChg chg="mod">
          <ac:chgData name="Ma, Mandy Hongyang" userId="c8c44b64-cf2b-42a5-ad81-5888bcc9e90b" providerId="ADAL" clId="{E87DE2B3-A1BB-44E1-82F4-A4093DC29FAD}" dt="2023-03-30T13:43:15.339" v="1717" actId="20577"/>
          <ac:spMkLst>
            <pc:docMk/>
            <pc:sldMk cId="2873784161" sldId="2147479587"/>
            <ac:spMk id="2" creationId="{BC490A35-1DC8-9744-73AA-9460F2D0B0A7}"/>
          </ac:spMkLst>
        </pc:spChg>
        <pc:spChg chg="add del mod">
          <ac:chgData name="Ma, Mandy Hongyang" userId="c8c44b64-cf2b-42a5-ad81-5888bcc9e90b" providerId="ADAL" clId="{E87DE2B3-A1BB-44E1-82F4-A4093DC29FAD}" dt="2023-03-30T10:27:02.772" v="855" actId="478"/>
          <ac:spMkLst>
            <pc:docMk/>
            <pc:sldMk cId="2873784161" sldId="2147479587"/>
            <ac:spMk id="5" creationId="{D1FC1ABA-8824-95D5-C892-F631DD1FDCCB}"/>
          </ac:spMkLst>
        </pc:spChg>
        <pc:spChg chg="mod">
          <ac:chgData name="Ma, Mandy Hongyang" userId="c8c44b64-cf2b-42a5-ad81-5888bcc9e90b" providerId="ADAL" clId="{E87DE2B3-A1BB-44E1-82F4-A4093DC29FAD}" dt="2023-03-30T13:43:26.343" v="1719" actId="1076"/>
          <ac:spMkLst>
            <pc:docMk/>
            <pc:sldMk cId="2873784161" sldId="2147479587"/>
            <ac:spMk id="6" creationId="{BB66D4D3-2964-533F-FFE0-B444952E7FC8}"/>
          </ac:spMkLst>
        </pc:spChg>
        <pc:spChg chg="mod">
          <ac:chgData name="Ma, Mandy Hongyang" userId="c8c44b64-cf2b-42a5-ad81-5888bcc9e90b" providerId="ADAL" clId="{E87DE2B3-A1BB-44E1-82F4-A4093DC29FAD}" dt="2023-03-31T09:11:13.834" v="3314" actId="20577"/>
          <ac:spMkLst>
            <pc:docMk/>
            <pc:sldMk cId="2873784161" sldId="2147479587"/>
            <ac:spMk id="7" creationId="{379A5AB2-E984-7CE5-3CBC-5D72F63BC156}"/>
          </ac:spMkLst>
        </pc:spChg>
        <pc:spChg chg="mod">
          <ac:chgData name="Ma, Mandy Hongyang" userId="c8c44b64-cf2b-42a5-ad81-5888bcc9e90b" providerId="ADAL" clId="{E87DE2B3-A1BB-44E1-82F4-A4093DC29FAD}" dt="2023-03-30T13:43:29.079" v="1720" actId="1076"/>
          <ac:spMkLst>
            <pc:docMk/>
            <pc:sldMk cId="2873784161" sldId="2147479587"/>
            <ac:spMk id="8" creationId="{7DEDF191-891E-E251-CD2C-777181A1501C}"/>
          </ac:spMkLst>
        </pc:spChg>
        <pc:spChg chg="add mod">
          <ac:chgData name="Ma, Mandy Hongyang" userId="c8c44b64-cf2b-42a5-ad81-5888bcc9e90b" providerId="ADAL" clId="{E87DE2B3-A1BB-44E1-82F4-A4093DC29FAD}" dt="2023-03-30T13:43:57.762" v="1814" actId="6549"/>
          <ac:spMkLst>
            <pc:docMk/>
            <pc:sldMk cId="2873784161" sldId="2147479587"/>
            <ac:spMk id="10" creationId="{7309260E-3B39-6A31-B44D-B6064FF33930}"/>
          </ac:spMkLst>
        </pc:spChg>
        <pc:spChg chg="add del mod">
          <ac:chgData name="Ma, Mandy Hongyang" userId="c8c44b64-cf2b-42a5-ad81-5888bcc9e90b" providerId="ADAL" clId="{E87DE2B3-A1BB-44E1-82F4-A4093DC29FAD}" dt="2023-03-30T13:47:35.391" v="2046" actId="478"/>
          <ac:spMkLst>
            <pc:docMk/>
            <pc:sldMk cId="2873784161" sldId="2147479587"/>
            <ac:spMk id="11" creationId="{5404C1BF-2E1B-E95F-DFFE-ACE76372BA08}"/>
          </ac:spMkLst>
        </pc:spChg>
        <pc:spChg chg="mod">
          <ac:chgData name="Ma, Mandy Hongyang" userId="c8c44b64-cf2b-42a5-ad81-5888bcc9e90b" providerId="ADAL" clId="{E87DE2B3-A1BB-44E1-82F4-A4093DC29FAD}" dt="2023-03-30T03:36:23.327" v="0" actId="1076"/>
          <ac:spMkLst>
            <pc:docMk/>
            <pc:sldMk cId="2873784161" sldId="2147479587"/>
            <ac:spMk id="18" creationId="{E9370A7B-7FA6-289F-3FB6-82DB5CE627D3}"/>
          </ac:spMkLst>
        </pc:spChg>
        <pc:spChg chg="mod">
          <ac:chgData name="Ma, Mandy Hongyang" userId="c8c44b64-cf2b-42a5-ad81-5888bcc9e90b" providerId="ADAL" clId="{E87DE2B3-A1BB-44E1-82F4-A4093DC29FAD}" dt="2023-03-30T13:44:34.435" v="1832" actId="1076"/>
          <ac:spMkLst>
            <pc:docMk/>
            <pc:sldMk cId="2873784161" sldId="2147479587"/>
            <ac:spMk id="25" creationId="{EF0B6AB1-AC63-8AA3-165D-4FE7875FF401}"/>
          </ac:spMkLst>
        </pc:spChg>
        <pc:spChg chg="mod">
          <ac:chgData name="Ma, Mandy Hongyang" userId="c8c44b64-cf2b-42a5-ad81-5888bcc9e90b" providerId="ADAL" clId="{E87DE2B3-A1BB-44E1-82F4-A4093DC29FAD}" dt="2023-03-30T03:36:23.327" v="0" actId="1076"/>
          <ac:spMkLst>
            <pc:docMk/>
            <pc:sldMk cId="2873784161" sldId="2147479587"/>
            <ac:spMk id="28" creationId="{306642F4-5699-4872-436B-1C2794AADB9F}"/>
          </ac:spMkLst>
        </pc:spChg>
        <pc:spChg chg="mod">
          <ac:chgData name="Ma, Mandy Hongyang" userId="c8c44b64-cf2b-42a5-ad81-5888bcc9e90b" providerId="ADAL" clId="{E87DE2B3-A1BB-44E1-82F4-A4093DC29FAD}" dt="2023-03-30T13:43:51.065" v="1784" actId="20577"/>
          <ac:spMkLst>
            <pc:docMk/>
            <pc:sldMk cId="2873784161" sldId="2147479587"/>
            <ac:spMk id="30" creationId="{7E5DEF78-6C94-D3E2-E651-C4BE8001383F}"/>
          </ac:spMkLst>
        </pc:spChg>
        <pc:spChg chg="mod">
          <ac:chgData name="Ma, Mandy Hongyang" userId="c8c44b64-cf2b-42a5-ad81-5888bcc9e90b" providerId="ADAL" clId="{E87DE2B3-A1BB-44E1-82F4-A4093DC29FAD}" dt="2023-03-30T03:36:48.941" v="8" actId="1076"/>
          <ac:spMkLst>
            <pc:docMk/>
            <pc:sldMk cId="2873784161" sldId="2147479587"/>
            <ac:spMk id="31" creationId="{AE30DFBA-5182-5A57-EEA9-EE1503355B22}"/>
          </ac:spMkLst>
        </pc:spChg>
        <pc:spChg chg="mod">
          <ac:chgData name="Ma, Mandy Hongyang" userId="c8c44b64-cf2b-42a5-ad81-5888bcc9e90b" providerId="ADAL" clId="{E87DE2B3-A1BB-44E1-82F4-A4093DC29FAD}" dt="2023-03-30T13:44:45.923" v="1837" actId="14100"/>
          <ac:spMkLst>
            <pc:docMk/>
            <pc:sldMk cId="2873784161" sldId="2147479587"/>
            <ac:spMk id="32" creationId="{8CEAF265-3E65-86E6-8FC6-75C4EE8276A5}"/>
          </ac:spMkLst>
        </pc:spChg>
        <pc:grpChg chg="mod">
          <ac:chgData name="Ma, Mandy Hongyang" userId="c8c44b64-cf2b-42a5-ad81-5888bcc9e90b" providerId="ADAL" clId="{E87DE2B3-A1BB-44E1-82F4-A4093DC29FAD}" dt="2023-03-30T03:36:23.327" v="0" actId="1076"/>
          <ac:grpSpMkLst>
            <pc:docMk/>
            <pc:sldMk cId="2873784161" sldId="2147479587"/>
            <ac:grpSpMk id="22" creationId="{BF978599-CD15-100E-450E-46D4379B1710}"/>
          </ac:grpSpMkLst>
        </pc:grpChg>
        <pc:graphicFrameChg chg="add mod modGraphic">
          <ac:chgData name="Ma, Mandy Hongyang" userId="c8c44b64-cf2b-42a5-ad81-5888bcc9e90b" providerId="ADAL" clId="{E87DE2B3-A1BB-44E1-82F4-A4093DC29FAD}" dt="2023-03-30T13:44:02.206" v="1815" actId="1076"/>
          <ac:graphicFrameMkLst>
            <pc:docMk/>
            <pc:sldMk cId="2873784161" sldId="2147479587"/>
            <ac:graphicFrameMk id="4" creationId="{6B5142F4-3878-7167-ABC0-E4041DEA38B2}"/>
          </ac:graphicFrameMkLst>
        </pc:graphicFrameChg>
        <pc:graphicFrameChg chg="mod">
          <ac:chgData name="Ma, Mandy Hongyang" userId="c8c44b64-cf2b-42a5-ad81-5888bcc9e90b" providerId="ADAL" clId="{E87DE2B3-A1BB-44E1-82F4-A4093DC29FAD}" dt="2023-03-31T09:17:27.500" v="3315" actId="1076"/>
          <ac:graphicFrameMkLst>
            <pc:docMk/>
            <pc:sldMk cId="2873784161" sldId="2147479587"/>
            <ac:graphicFrameMk id="20" creationId="{6CAC0D50-75F5-C484-0F80-765F91CB1D41}"/>
          </ac:graphicFrameMkLst>
        </pc:graphicFrameChg>
        <pc:graphicFrameChg chg="mod">
          <ac:chgData name="Ma, Mandy Hongyang" userId="c8c44b64-cf2b-42a5-ad81-5888bcc9e90b" providerId="ADAL" clId="{E87DE2B3-A1BB-44E1-82F4-A4093DC29FAD}" dt="2023-03-30T03:36:23.327" v="0" actId="1076"/>
          <ac:graphicFrameMkLst>
            <pc:docMk/>
            <pc:sldMk cId="2873784161" sldId="2147479587"/>
            <ac:graphicFrameMk id="27" creationId="{5BDC1D4D-065A-3046-117C-667656156DDB}"/>
          </ac:graphicFrameMkLst>
        </pc:graphicFrameChg>
        <pc:picChg chg="mod">
          <ac:chgData name="Ma, Mandy Hongyang" userId="c8c44b64-cf2b-42a5-ad81-5888bcc9e90b" providerId="ADAL" clId="{E87DE2B3-A1BB-44E1-82F4-A4093DC29FAD}" dt="2023-03-30T03:36:29.233" v="1" actId="14100"/>
          <ac:picMkLst>
            <pc:docMk/>
            <pc:sldMk cId="2873784161" sldId="2147479587"/>
            <ac:picMk id="9" creationId="{9B67CC98-FDA8-04F6-4FD2-426F57A25258}"/>
          </ac:picMkLst>
        </pc:picChg>
        <pc:picChg chg="mod">
          <ac:chgData name="Ma, Mandy Hongyang" userId="c8c44b64-cf2b-42a5-ad81-5888bcc9e90b" providerId="ADAL" clId="{E87DE2B3-A1BB-44E1-82F4-A4093DC29FAD}" dt="2023-03-30T03:36:23.327" v="0" actId="1076"/>
          <ac:picMkLst>
            <pc:docMk/>
            <pc:sldMk cId="2873784161" sldId="2147479587"/>
            <ac:picMk id="21" creationId="{260A1E88-8799-E5D9-C630-91BE16EF1C5C}"/>
          </ac:picMkLst>
        </pc:picChg>
      </pc:sldChg>
      <pc:sldChg chg="modSp add mod">
        <pc:chgData name="Ma, Mandy Hongyang" userId="c8c44b64-cf2b-42a5-ad81-5888bcc9e90b" providerId="ADAL" clId="{E87DE2B3-A1BB-44E1-82F4-A4093DC29FAD}" dt="2023-03-30T13:47:29.431" v="2045" actId="1076"/>
        <pc:sldMkLst>
          <pc:docMk/>
          <pc:sldMk cId="435103073" sldId="2147479588"/>
        </pc:sldMkLst>
        <pc:spChg chg="mod">
          <ac:chgData name="Ma, Mandy Hongyang" userId="c8c44b64-cf2b-42a5-ad81-5888bcc9e90b" providerId="ADAL" clId="{E87DE2B3-A1BB-44E1-82F4-A4093DC29FAD}" dt="2023-03-30T13:47:26.475" v="2043" actId="14100"/>
          <ac:spMkLst>
            <pc:docMk/>
            <pc:sldMk cId="435103073" sldId="2147479588"/>
            <ac:spMk id="5" creationId="{24CF1438-BD00-0DC0-5825-D8E137AC727B}"/>
          </ac:spMkLst>
        </pc:spChg>
        <pc:picChg chg="mod">
          <ac:chgData name="Ma, Mandy Hongyang" userId="c8c44b64-cf2b-42a5-ad81-5888bcc9e90b" providerId="ADAL" clId="{E87DE2B3-A1BB-44E1-82F4-A4093DC29FAD}" dt="2023-03-30T13:47:29.431" v="2045" actId="1076"/>
          <ac:picMkLst>
            <pc:docMk/>
            <pc:sldMk cId="435103073" sldId="2147479588"/>
            <ac:picMk id="4" creationId="{B0D0FEC2-7CBD-4D56-B9A1-65430E61B2E3}"/>
          </ac:picMkLst>
        </pc:picChg>
      </pc:sldChg>
      <pc:sldChg chg="modSp mod">
        <pc:chgData name="Ma, Mandy Hongyang" userId="c8c44b64-cf2b-42a5-ad81-5888bcc9e90b" providerId="ADAL" clId="{E87DE2B3-A1BB-44E1-82F4-A4093DC29FAD}" dt="2023-03-30T13:40:40.380" v="1701" actId="20577"/>
        <pc:sldMkLst>
          <pc:docMk/>
          <pc:sldMk cId="2548611513" sldId="2147479589"/>
        </pc:sldMkLst>
        <pc:spChg chg="mod">
          <ac:chgData name="Ma, Mandy Hongyang" userId="c8c44b64-cf2b-42a5-ad81-5888bcc9e90b" providerId="ADAL" clId="{E87DE2B3-A1BB-44E1-82F4-A4093DC29FAD}" dt="2023-03-30T13:40:40.380" v="1701" actId="20577"/>
          <ac:spMkLst>
            <pc:docMk/>
            <pc:sldMk cId="2548611513" sldId="2147479589"/>
            <ac:spMk id="3" creationId="{70FA95E4-14A9-A0D5-F0DF-339A223CE8A8}"/>
          </ac:spMkLst>
        </pc:spChg>
        <pc:graphicFrameChg chg="modGraphic">
          <ac:chgData name="Ma, Mandy Hongyang" userId="c8c44b64-cf2b-42a5-ad81-5888bcc9e90b" providerId="ADAL" clId="{E87DE2B3-A1BB-44E1-82F4-A4093DC29FAD}" dt="2023-03-30T07:27:57.005" v="404" actId="20577"/>
          <ac:graphicFrameMkLst>
            <pc:docMk/>
            <pc:sldMk cId="2548611513" sldId="2147479589"/>
            <ac:graphicFrameMk id="4" creationId="{69E6BDDA-2083-49A5-2535-404BBB2F3686}"/>
          </ac:graphicFrameMkLst>
        </pc:graphicFrameChg>
      </pc:sldChg>
      <pc:sldChg chg="addSp delSp modSp add del mod">
        <pc:chgData name="Ma, Mandy Hongyang" userId="c8c44b64-cf2b-42a5-ad81-5888bcc9e90b" providerId="ADAL" clId="{E87DE2B3-A1BB-44E1-82F4-A4093DC29FAD}" dt="2023-03-30T13:10:11.644" v="1209" actId="47"/>
        <pc:sldMkLst>
          <pc:docMk/>
          <pc:sldMk cId="1839801802" sldId="2147479590"/>
        </pc:sldMkLst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4" creationId="{CB29207A-D4DE-D56A-037A-3B1A1A1B6EB6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5" creationId="{D4B88705-1AB0-32CF-2063-4176F3E75B11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6" creationId="{573B1EB4-72E6-CF15-D7A6-FDBB92B6996A}"/>
          </ac:spMkLst>
        </pc:spChg>
        <pc:spChg chg="add mod">
          <ac:chgData name="Ma, Mandy Hongyang" userId="c8c44b64-cf2b-42a5-ad81-5888bcc9e90b" providerId="ADAL" clId="{E87DE2B3-A1BB-44E1-82F4-A4093DC29FAD}" dt="2023-03-30T13:09:50.865" v="1205"/>
          <ac:spMkLst>
            <pc:docMk/>
            <pc:sldMk cId="1839801802" sldId="2147479590"/>
            <ac:spMk id="7" creationId="{6883DCA8-4524-7153-BFCB-A963DBFAC6A2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8" creationId="{11E57C2B-5DA0-B107-DCFE-6CCD117908D1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9" creationId="{ED302D35-015E-1963-279A-7CF658E82F52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10" creationId="{C706D9D0-1EA2-9E6F-E611-BF379723544D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11" creationId="{A8D23218-2AE7-D9AE-25B0-10731E894661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2" creationId="{F1C6CAFB-B119-54F1-540A-E011ACAE9358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3" creationId="{92679EDA-6E27-8D30-9786-5B28BF5FDFD5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14" creationId="{ACACAF81-18AD-A7FA-7406-CB76BB415982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5" creationId="{5F3753F8-C4BC-5D23-8244-9338BD07438F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6" creationId="{BAC74722-9667-8211-68C8-2F1598B18411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17" creationId="{FCB4DD84-3FFB-D109-391A-E08D81AF6BE4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18" creationId="{74C93997-2870-46C7-E151-F8AC1436FCE2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19" creationId="{BC6F1160-2673-4B3F-D05B-D781659DA96A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20" creationId="{0C36B269-D9BE-4F55-95FE-BE09F5F33865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21" creationId="{A93B4DEC-74CB-1FCE-A866-0DAF62A8618A}"/>
          </ac:spMkLst>
        </pc:spChg>
        <pc:spChg chg="del">
          <ac:chgData name="Ma, Mandy Hongyang" userId="c8c44b64-cf2b-42a5-ad81-5888bcc9e90b" providerId="ADAL" clId="{E87DE2B3-A1BB-44E1-82F4-A4093DC29FAD}" dt="2023-03-30T13:09:42.913" v="1201" actId="478"/>
          <ac:spMkLst>
            <pc:docMk/>
            <pc:sldMk cId="1839801802" sldId="2147479590"/>
            <ac:spMk id="22" creationId="{D1E0F493-99D7-EEE0-B073-690B3FEB6C24}"/>
          </ac:spMkLst>
        </pc:spChg>
        <pc:spChg chg="del">
          <ac:chgData name="Ma, Mandy Hongyang" userId="c8c44b64-cf2b-42a5-ad81-5888bcc9e90b" providerId="ADAL" clId="{E87DE2B3-A1BB-44E1-82F4-A4093DC29FAD}" dt="2023-03-30T13:09:44.917" v="1203" actId="478"/>
          <ac:spMkLst>
            <pc:docMk/>
            <pc:sldMk cId="1839801802" sldId="2147479590"/>
            <ac:spMk id="23" creationId="{9F76C2F3-1E06-9B47-ADE3-9ED0A50A3BD7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24" creationId="{F257CCAA-2D26-A1C1-A740-E94E4F2083A0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25" creationId="{D66FC451-5B8F-ACE8-271F-81203D0EACB6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26" creationId="{3D82112C-C7E6-E7EA-038C-957D46C686AE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28" creationId="{68D40BC5-7C2C-2502-041A-D34B2B9E904B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29" creationId="{7D9BD232-DEAF-0423-DF79-B9F9C7177611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30" creationId="{3CBD7E44-A27C-AC76-9A05-3580BB546B3C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32" creationId="{1212B1F4-2D09-1D82-CA2C-F6FC3A636743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33" creationId="{C6BDB858-FFA4-BBFC-62B8-7B2C20A1E568}"/>
          </ac:spMkLst>
        </pc:spChg>
        <pc:spChg chg="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35" creationId="{C474BFF6-E701-2AAF-799B-4C874C10ED6F}"/>
          </ac:spMkLst>
        </pc:spChg>
        <pc:spChg chg="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36" creationId="{17C8DB26-AF54-F31E-484E-DA8B50519B2A}"/>
          </ac:spMkLst>
        </pc:spChg>
        <pc:spChg chg="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38" creationId="{BE93EE05-B5D1-9250-1DAA-7B99544EC765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39" creationId="{EE6DE279-46B6-ACC5-0A80-9F5ADDC388EB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40" creationId="{6B41DF32-3FB0-E930-8C3B-1840D1E612FD}"/>
          </ac:spMkLst>
        </pc:spChg>
        <pc:spChg chg="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41" creationId="{BC265C41-1481-79BE-7A01-439AD2EBBE2B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44" creationId="{46D36AF5-8FD9-DD08-B219-865611645583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45" creationId="{4F5396AC-07C6-AFC3-23BF-6AD857B3E1B3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46" creationId="{C23F53E6-74A4-0506-1F63-4DC73726D83A}"/>
          </ac:spMkLst>
        </pc:spChg>
        <pc:spChg chg="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47" creationId="{39FA2B74-40DA-B520-3A3E-849BB8D475D0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48" creationId="{2997D5DA-D608-575E-C55E-2719C3F52D24}"/>
          </ac:spMkLst>
        </pc:spChg>
        <pc:spChg chg="del">
          <ac:chgData name="Ma, Mandy Hongyang" userId="c8c44b64-cf2b-42a5-ad81-5888bcc9e90b" providerId="ADAL" clId="{E87DE2B3-A1BB-44E1-82F4-A4093DC29FAD}" dt="2023-03-30T13:09:43.710" v="1202" actId="478"/>
          <ac:spMkLst>
            <pc:docMk/>
            <pc:sldMk cId="1839801802" sldId="2147479590"/>
            <ac:spMk id="51" creationId="{3A5922BE-AF84-4858-F98F-D3ADF5E9D782}"/>
          </ac:spMkLst>
        </pc:spChg>
        <pc:spChg chg="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52" creationId="{D0CAE8F2-2476-E36A-EDA8-13F1D752A941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53" creationId="{5DF59D4E-5AB9-B744-50C6-87AF873427AD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55" creationId="{FE9A1E5D-1020-0299-ACCF-99E68E197C31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56" creationId="{AA468E8D-A91E-A639-2EDD-E9CA67598FDF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57" creationId="{7588A386-E02F-3123-4115-9075DD499C1F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58" creationId="{DE98C965-8DC9-52DD-669B-0D7603A965CA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59" creationId="{917707B2-0001-BD8E-E073-C4530302A24E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60" creationId="{03E23E5E-528D-46F5-4B1E-D3A7CD24A3F4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61" creationId="{8BE12ED1-100D-1F3D-039E-3C955B1F8903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62" creationId="{1EF11DC2-FF1D-EE86-8CDA-13D7C9394176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63" creationId="{A9F87C13-C4E0-CA9B-670E-67F627D4923E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64" creationId="{92FDA17A-76C7-824E-0E96-65629E4A0713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65" creationId="{007C421A-5AD6-C96F-2A6C-7ACDA5401A3C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66" creationId="{0E6F4DCC-2A8F-480E-6AB4-0F408EF6436F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67" creationId="{1073B2A1-DD3D-AEE1-3161-3E7C19D5A545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69" creationId="{40E59379-44BC-1D7F-0722-B33C5672A91B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70" creationId="{C38DA1F5-78ED-FEA5-3C7C-F1FC0F58458A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71" creationId="{B83FA3E7-37EA-927A-BC68-A1C1BA2D2FDE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72" creationId="{87798FE9-6D5C-AFA6-1193-5E7451769BDD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73" creationId="{E2027A70-41CD-52FC-B57F-74372FF941B9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74" creationId="{2B85E125-1200-79A2-62A3-0595B16CBE1B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75" creationId="{A1853DFD-32ED-4D90-97CB-8ABCDF57A1F5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76" creationId="{E61C5394-1146-A77D-6C19-47CC0A412014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77" creationId="{598EFA3E-467D-E2EC-D6D8-2E4E6AA984F4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79" creationId="{9FD3D70D-6FCB-8203-C8BC-3F5AEA4F7578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80" creationId="{ADEE326F-959C-B8FA-D957-2C22FF7BB0C9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81" creationId="{0B9B93C9-493C-2B8A-558C-EDFBAD7A29C6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82" creationId="{31F57416-9915-B9F5-1CCF-FAD1CDB6E292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83" creationId="{C9985525-BC32-91DB-B5C8-FB06600F6A90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84" creationId="{2F551550-C6CF-12E2-68FD-AD50FB3792FC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85" creationId="{36BA8F19-A4AF-712B-E567-3DF4B4E7CFDE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86" creationId="{B879267A-9862-A72E-5294-5A5A61183FBE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87" creationId="{3B0072ED-67D5-3981-BB41-AFBCFA128E72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88" creationId="{824D8070-1681-E27D-0C0B-EA09F872FB51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90" creationId="{42EC2725-D59C-33E1-CAEB-583FAB645EB1}"/>
          </ac:spMkLst>
        </pc:spChg>
        <pc:spChg chg="del">
          <ac:chgData name="Ma, Mandy Hongyang" userId="c8c44b64-cf2b-42a5-ad81-5888bcc9e90b" providerId="ADAL" clId="{E87DE2B3-A1BB-44E1-82F4-A4093DC29FAD}" dt="2023-03-30T13:09:46.585" v="1204" actId="478"/>
          <ac:spMkLst>
            <pc:docMk/>
            <pc:sldMk cId="1839801802" sldId="2147479590"/>
            <ac:spMk id="91" creationId="{86E8598A-EB41-90C5-329F-7FBD4793845D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92" creationId="{45C3FD5B-35B0-3BE2-A3DA-83AA9B60CC3C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93" creationId="{8F481A09-4DD0-E164-D54C-3C948803AC21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95" creationId="{63719351-86E2-E951-38AC-04F746E6330A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96" creationId="{23C4252C-7E53-201E-B6A3-5723F15F5AA3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97" creationId="{1D211EBC-D976-89B5-DFDA-F261D4622D52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98" creationId="{B81D9354-50B3-7436-EB8D-C479A02609B5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99" creationId="{0B93AD79-A567-4C16-7DC3-668C206737A3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00" creationId="{D93B29E5-987B-FC7C-AF2D-C940EA085DDF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01" creationId="{A4EA488E-3D34-D66A-8360-EC1DC72EA931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02" creationId="{85FA0A33-58FB-848B-10DA-3C34248298BB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03" creationId="{7DE9F61C-0FAF-9D4D-CF9C-4BF5465ADEE3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04" creationId="{5E505732-3707-198C-8721-7DAE6F00893A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05" creationId="{AFCACCA3-9EBE-4938-F00C-47A85B5C90F8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06" creationId="{2DF772D2-631B-B8DF-ED99-E5621B3E4415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07" creationId="{AF411A47-39AE-4E7A-0B58-9576245DBD65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08" creationId="{E9A51C2B-2A23-4C0E-7563-5EA268D06FCC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09" creationId="{473D218A-DD21-E26A-20B7-825962E7E501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10" creationId="{3A2BCF4E-BDA9-785C-11BB-AD5FAE8ADD46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11" creationId="{BEEFD6AE-4DA1-FAB1-6E89-787CA47F9660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12" creationId="{4FC97DB0-4452-57A4-DB74-49A071AF8913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13" creationId="{11C5DCDB-5D64-2E3C-99FA-BE020FDAE6DA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14" creationId="{B716239F-3AAB-0A15-9750-F579CCBAA5FE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15" creationId="{3687ADE5-CEEA-1538-320A-8731682380EE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16" creationId="{01AF9469-FA06-D0CE-C4AE-0D899164A041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17" creationId="{4335656D-215F-C167-A070-9DE4D1ACC387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18" creationId="{B6763BC7-5565-1F60-599E-BB0EF03D3D0D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19" creationId="{50DADD37-1B5C-130F-907B-8368E9B81977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20" creationId="{45D862D6-82F3-8925-35AE-1186C3634A96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21" creationId="{9E9E7AD8-AB8F-B04E-A921-5FFC25E7EC1D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22" creationId="{0AE82B10-B171-33E8-737F-CFB7FEA0A1AF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23" creationId="{9F56B4A5-71E2-177C-B031-11DBF8148D15}"/>
          </ac:spMkLst>
        </pc:spChg>
        <pc:spChg chg="add del mod">
          <ac:chgData name="Ma, Mandy Hongyang" userId="c8c44b64-cf2b-42a5-ad81-5888bcc9e90b" providerId="ADAL" clId="{E87DE2B3-A1BB-44E1-82F4-A4093DC29FAD}" dt="2023-03-30T13:10:04.037" v="1208" actId="478"/>
          <ac:spMkLst>
            <pc:docMk/>
            <pc:sldMk cId="1839801802" sldId="2147479590"/>
            <ac:spMk id="124" creationId="{C873AE59-6173-8F17-9859-7EF166B836E4}"/>
          </ac:spMkLst>
        </pc:spChg>
        <pc:spChg chg="add mod">
          <ac:chgData name="Ma, Mandy Hongyang" userId="c8c44b64-cf2b-42a5-ad81-5888bcc9e90b" providerId="ADAL" clId="{E87DE2B3-A1BB-44E1-82F4-A4093DC29FAD}" dt="2023-03-30T13:09:59.914" v="1207"/>
          <ac:spMkLst>
            <pc:docMk/>
            <pc:sldMk cId="1839801802" sldId="2147479590"/>
            <ac:spMk id="125" creationId="{757A1D6C-D3A7-82DC-E93D-0086484D1952}"/>
          </ac:spMkLst>
        </pc:spChg>
        <pc:grpChg chg="add mod">
          <ac:chgData name="Ma, Mandy Hongyang" userId="c8c44b64-cf2b-42a5-ad81-5888bcc9e90b" providerId="ADAL" clId="{E87DE2B3-A1BB-44E1-82F4-A4093DC29FAD}" dt="2023-03-30T13:09:59.914" v="1207"/>
          <ac:grpSpMkLst>
            <pc:docMk/>
            <pc:sldMk cId="1839801802" sldId="2147479590"/>
            <ac:grpSpMk id="34" creationId="{B3A50930-9F58-BE2A-2574-F9634B6DCB32}"/>
          </ac:grpSpMkLst>
        </pc:grpChg>
        <pc:grpChg chg="add mod">
          <ac:chgData name="Ma, Mandy Hongyang" userId="c8c44b64-cf2b-42a5-ad81-5888bcc9e90b" providerId="ADAL" clId="{E87DE2B3-A1BB-44E1-82F4-A4093DC29FAD}" dt="2023-03-30T13:09:59.914" v="1207"/>
          <ac:grpSpMkLst>
            <pc:docMk/>
            <pc:sldMk cId="1839801802" sldId="2147479590"/>
            <ac:grpSpMk id="37" creationId="{915494E3-D316-24FE-616A-908068DFE456}"/>
          </ac:grpSpMkLst>
        </pc:grpChg>
        <pc:grpChg chg="add mod">
          <ac:chgData name="Ma, Mandy Hongyang" userId="c8c44b64-cf2b-42a5-ad81-5888bcc9e90b" providerId="ADAL" clId="{E87DE2B3-A1BB-44E1-82F4-A4093DC29FAD}" dt="2023-03-30T13:09:59.914" v="1207"/>
          <ac:grpSpMkLst>
            <pc:docMk/>
            <pc:sldMk cId="1839801802" sldId="2147479590"/>
            <ac:grpSpMk id="42" creationId="{D54021E6-CECC-E639-76FC-14DD0D4C5004}"/>
          </ac:grpSpMkLst>
        </pc:grpChg>
        <pc:grpChg chg="add mod">
          <ac:chgData name="Ma, Mandy Hongyang" userId="c8c44b64-cf2b-42a5-ad81-5888bcc9e90b" providerId="ADAL" clId="{E87DE2B3-A1BB-44E1-82F4-A4093DC29FAD}" dt="2023-03-30T13:09:59.914" v="1207"/>
          <ac:grpSpMkLst>
            <pc:docMk/>
            <pc:sldMk cId="1839801802" sldId="2147479590"/>
            <ac:grpSpMk id="49" creationId="{8AD2DA9A-A22E-E0E6-2A87-B718A7114FAE}"/>
          </ac:grpSpMkLst>
        </pc:grpChg>
        <pc:picChg chg="del">
          <ac:chgData name="Ma, Mandy Hongyang" userId="c8c44b64-cf2b-42a5-ad81-5888bcc9e90b" providerId="ADAL" clId="{E87DE2B3-A1BB-44E1-82F4-A4093DC29FAD}" dt="2023-03-30T13:09:46.585" v="1204" actId="478"/>
          <ac:picMkLst>
            <pc:docMk/>
            <pc:sldMk cId="1839801802" sldId="2147479590"/>
            <ac:picMk id="78" creationId="{52A862F6-A98F-D828-8606-B39326289C74}"/>
          </ac:picMkLst>
        </pc:picChg>
        <pc:picChg chg="del">
          <ac:chgData name="Ma, Mandy Hongyang" userId="c8c44b64-cf2b-42a5-ad81-5888bcc9e90b" providerId="ADAL" clId="{E87DE2B3-A1BB-44E1-82F4-A4093DC29FAD}" dt="2023-03-30T13:09:46.585" v="1204" actId="478"/>
          <ac:picMkLst>
            <pc:docMk/>
            <pc:sldMk cId="1839801802" sldId="2147479590"/>
            <ac:picMk id="89" creationId="{54507192-5B65-C58D-585B-7F74C3CE990A}"/>
          </ac:picMkLst>
        </pc:picChg>
        <pc:cxnChg chg="del mod">
          <ac:chgData name="Ma, Mandy Hongyang" userId="c8c44b64-cf2b-42a5-ad81-5888bcc9e90b" providerId="ADAL" clId="{E87DE2B3-A1BB-44E1-82F4-A4093DC29FAD}" dt="2023-03-30T13:09:46.585" v="1204" actId="478"/>
          <ac:cxnSpMkLst>
            <pc:docMk/>
            <pc:sldMk cId="1839801802" sldId="2147479590"/>
            <ac:cxnSpMk id="2" creationId="{804E2CC8-5717-CF3D-D871-EEA731C54D86}"/>
          </ac:cxnSpMkLst>
        </pc:cxnChg>
        <pc:cxnChg chg="del">
          <ac:chgData name="Ma, Mandy Hongyang" userId="c8c44b64-cf2b-42a5-ad81-5888bcc9e90b" providerId="ADAL" clId="{E87DE2B3-A1BB-44E1-82F4-A4093DC29FAD}" dt="2023-03-30T13:09:46.585" v="1204" actId="478"/>
          <ac:cxnSpMkLst>
            <pc:docMk/>
            <pc:sldMk cId="1839801802" sldId="2147479590"/>
            <ac:cxnSpMk id="27" creationId="{CE837971-C2BD-F23A-9AFC-278F9894CA6A}"/>
          </ac:cxnSpMkLst>
        </pc:cxnChg>
        <pc:cxnChg chg="del">
          <ac:chgData name="Ma, Mandy Hongyang" userId="c8c44b64-cf2b-42a5-ad81-5888bcc9e90b" providerId="ADAL" clId="{E87DE2B3-A1BB-44E1-82F4-A4093DC29FAD}" dt="2023-03-30T13:09:46.585" v="1204" actId="478"/>
          <ac:cxnSpMkLst>
            <pc:docMk/>
            <pc:sldMk cId="1839801802" sldId="2147479590"/>
            <ac:cxnSpMk id="31" creationId="{BE3BC2B0-4A8B-8820-203C-AB14DC3732DB}"/>
          </ac:cxnSpMkLst>
        </pc:cxnChg>
        <pc:cxnChg chg="mod">
          <ac:chgData name="Ma, Mandy Hongyang" userId="c8c44b64-cf2b-42a5-ad81-5888bcc9e90b" providerId="ADAL" clId="{E87DE2B3-A1BB-44E1-82F4-A4093DC29FAD}" dt="2023-03-30T13:09:59.914" v="1207"/>
          <ac:cxnSpMkLst>
            <pc:docMk/>
            <pc:sldMk cId="1839801802" sldId="2147479590"/>
            <ac:cxnSpMk id="43" creationId="{C860E25E-416F-D359-D980-02F2DE04CEF4}"/>
          </ac:cxnSpMkLst>
        </pc:cxnChg>
        <pc:cxnChg chg="mod">
          <ac:chgData name="Ma, Mandy Hongyang" userId="c8c44b64-cf2b-42a5-ad81-5888bcc9e90b" providerId="ADAL" clId="{E87DE2B3-A1BB-44E1-82F4-A4093DC29FAD}" dt="2023-03-30T13:09:59.914" v="1207"/>
          <ac:cxnSpMkLst>
            <pc:docMk/>
            <pc:sldMk cId="1839801802" sldId="2147479590"/>
            <ac:cxnSpMk id="50" creationId="{EA5B9DD5-45FB-DF99-9616-A696593DDE1B}"/>
          </ac:cxnSpMkLst>
        </pc:cxnChg>
        <pc:cxnChg chg="add mod">
          <ac:chgData name="Ma, Mandy Hongyang" userId="c8c44b64-cf2b-42a5-ad81-5888bcc9e90b" providerId="ADAL" clId="{E87DE2B3-A1BB-44E1-82F4-A4093DC29FAD}" dt="2023-03-30T13:09:59.914" v="1207"/>
          <ac:cxnSpMkLst>
            <pc:docMk/>
            <pc:sldMk cId="1839801802" sldId="2147479590"/>
            <ac:cxnSpMk id="54" creationId="{006C95E1-E164-80B1-E641-C21C8F0678E0}"/>
          </ac:cxnSpMkLst>
        </pc:cxnChg>
        <pc:cxnChg chg="del">
          <ac:chgData name="Ma, Mandy Hongyang" userId="c8c44b64-cf2b-42a5-ad81-5888bcc9e90b" providerId="ADAL" clId="{E87DE2B3-A1BB-44E1-82F4-A4093DC29FAD}" dt="2023-03-30T13:09:46.585" v="1204" actId="478"/>
          <ac:cxnSpMkLst>
            <pc:docMk/>
            <pc:sldMk cId="1839801802" sldId="2147479590"/>
            <ac:cxnSpMk id="68" creationId="{D8A8F338-DB29-FB47-CFE0-D331FA7BFEAA}"/>
          </ac:cxnSpMkLst>
        </pc:cxnChg>
      </pc:sldChg>
      <pc:sldChg chg="addSp delSp modSp add mod ord">
        <pc:chgData name="Ma, Mandy Hongyang" userId="c8c44b64-cf2b-42a5-ad81-5888bcc9e90b" providerId="ADAL" clId="{E87DE2B3-A1BB-44E1-82F4-A4093DC29FAD}" dt="2023-03-31T08:57:03.123" v="3137" actId="20577"/>
        <pc:sldMkLst>
          <pc:docMk/>
          <pc:sldMk cId="2283045370" sldId="2147479600"/>
        </pc:sldMkLst>
        <pc:spChg chg="mod">
          <ac:chgData name="Ma, Mandy Hongyang" userId="c8c44b64-cf2b-42a5-ad81-5888bcc9e90b" providerId="ADAL" clId="{E87DE2B3-A1BB-44E1-82F4-A4093DC29FAD}" dt="2023-03-31T08:55:49.006" v="3048" actId="1076"/>
          <ac:spMkLst>
            <pc:docMk/>
            <pc:sldMk cId="2283045370" sldId="2147479600"/>
            <ac:spMk id="2" creationId="{1A534CB2-97F9-E782-DDF1-91C91BAA27AC}"/>
          </ac:spMkLst>
        </pc:spChg>
        <pc:spChg chg="add mod">
          <ac:chgData name="Ma, Mandy Hongyang" userId="c8c44b64-cf2b-42a5-ad81-5888bcc9e90b" providerId="ADAL" clId="{E87DE2B3-A1BB-44E1-82F4-A4093DC29FAD}" dt="2023-03-31T08:55:58.465" v="3074" actId="1038"/>
          <ac:spMkLst>
            <pc:docMk/>
            <pc:sldMk cId="2283045370" sldId="2147479600"/>
            <ac:spMk id="3" creationId="{219B8DB6-A7B5-6A6E-E629-DF165ED8ADA4}"/>
          </ac:spMkLst>
        </pc:spChg>
        <pc:spChg chg="mod">
          <ac:chgData name="Ma, Mandy Hongyang" userId="c8c44b64-cf2b-42a5-ad81-5888bcc9e90b" providerId="ADAL" clId="{E87DE2B3-A1BB-44E1-82F4-A4093DC29FAD}" dt="2023-03-30T14:16:16.882" v="2658" actId="20577"/>
          <ac:spMkLst>
            <pc:docMk/>
            <pc:sldMk cId="2283045370" sldId="2147479600"/>
            <ac:spMk id="4" creationId="{D5EE364C-4150-3381-5919-6CA7CF55B109}"/>
          </ac:spMkLst>
        </pc:spChg>
        <pc:spChg chg="mod">
          <ac:chgData name="Ma, Mandy Hongyang" userId="c8c44b64-cf2b-42a5-ad81-5888bcc9e90b" providerId="ADAL" clId="{E87DE2B3-A1BB-44E1-82F4-A4093DC29FAD}" dt="2023-03-30T13:11:08.755" v="1239"/>
          <ac:spMkLst>
            <pc:docMk/>
            <pc:sldMk cId="2283045370" sldId="2147479600"/>
            <ac:spMk id="6" creationId="{25109AF4-7F63-C156-E491-568572777289}"/>
          </ac:spMkLst>
        </pc:spChg>
        <pc:spChg chg="add del mod">
          <ac:chgData name="Ma, Mandy Hongyang" userId="c8c44b64-cf2b-42a5-ad81-5888bcc9e90b" providerId="ADAL" clId="{E87DE2B3-A1BB-44E1-82F4-A4093DC29FAD}" dt="2023-03-31T08:51:05.825" v="2902" actId="478"/>
          <ac:spMkLst>
            <pc:docMk/>
            <pc:sldMk cId="2283045370" sldId="2147479600"/>
            <ac:spMk id="6" creationId="{DF43F49F-DB6F-CDD6-6F01-9AB7562DB5FC}"/>
          </ac:spMkLst>
        </pc:spChg>
        <pc:spChg chg="del">
          <ac:chgData name="Ma, Mandy Hongyang" userId="c8c44b64-cf2b-42a5-ad81-5888bcc9e90b" providerId="ADAL" clId="{E87DE2B3-A1BB-44E1-82F4-A4093DC29FAD}" dt="2023-03-30T13:13:48.337" v="1249" actId="478"/>
          <ac:spMkLst>
            <pc:docMk/>
            <pc:sldMk cId="2283045370" sldId="2147479600"/>
            <ac:spMk id="7" creationId="{D5EE9F8A-B8D8-8187-A9EC-976CAE12BE6A}"/>
          </ac:spMkLst>
        </pc:spChg>
        <pc:spChg chg="mod">
          <ac:chgData name="Ma, Mandy Hongyang" userId="c8c44b64-cf2b-42a5-ad81-5888bcc9e90b" providerId="ADAL" clId="{E87DE2B3-A1BB-44E1-82F4-A4093DC29FAD}" dt="2023-03-30T13:11:08.755" v="1239"/>
          <ac:spMkLst>
            <pc:docMk/>
            <pc:sldMk cId="2283045370" sldId="2147479600"/>
            <ac:spMk id="8" creationId="{7B9E6334-2481-69B9-8F5B-5D7376CBEAAA}"/>
          </ac:spMkLst>
        </pc:spChg>
        <pc:spChg chg="mod">
          <ac:chgData name="Ma, Mandy Hongyang" userId="c8c44b64-cf2b-42a5-ad81-5888bcc9e90b" providerId="ADAL" clId="{E87DE2B3-A1BB-44E1-82F4-A4093DC29FAD}" dt="2023-03-30T13:10:37.295" v="1227" actId="20577"/>
          <ac:spMkLst>
            <pc:docMk/>
            <pc:sldMk cId="2283045370" sldId="2147479600"/>
            <ac:spMk id="10" creationId="{5A015B2F-A2CB-8515-98E6-A19B7AE2150F}"/>
          </ac:spMkLst>
        </pc:spChg>
        <pc:spChg chg="mod">
          <ac:chgData name="Ma, Mandy Hongyang" userId="c8c44b64-cf2b-42a5-ad81-5888bcc9e90b" providerId="ADAL" clId="{E87DE2B3-A1BB-44E1-82F4-A4093DC29FAD}" dt="2023-03-30T13:11:08.755" v="1239"/>
          <ac:spMkLst>
            <pc:docMk/>
            <pc:sldMk cId="2283045370" sldId="2147479600"/>
            <ac:spMk id="11" creationId="{9CE5A190-7F04-E40E-67BF-7016BEF6869A}"/>
          </ac:spMkLst>
        </pc:spChg>
        <pc:spChg chg="add del mod">
          <ac:chgData name="Ma, Mandy Hongyang" userId="c8c44b64-cf2b-42a5-ad81-5888bcc9e90b" providerId="ADAL" clId="{E87DE2B3-A1BB-44E1-82F4-A4093DC29FAD}" dt="2023-03-31T08:49:20.895" v="2835" actId="478"/>
          <ac:spMkLst>
            <pc:docMk/>
            <pc:sldMk cId="2283045370" sldId="2147479600"/>
            <ac:spMk id="11" creationId="{E49C2ACC-1FAB-122A-5035-1003D2E9B1B5}"/>
          </ac:spMkLst>
        </pc:spChg>
        <pc:spChg chg="mod">
          <ac:chgData name="Ma, Mandy Hongyang" userId="c8c44b64-cf2b-42a5-ad81-5888bcc9e90b" providerId="ADAL" clId="{E87DE2B3-A1BB-44E1-82F4-A4093DC29FAD}" dt="2023-03-30T13:16:39.833" v="1283" actId="14100"/>
          <ac:spMkLst>
            <pc:docMk/>
            <pc:sldMk cId="2283045370" sldId="2147479600"/>
            <ac:spMk id="12" creationId="{748C86B9-FEA9-C7ED-D696-F492A1FDFEAC}"/>
          </ac:spMkLst>
        </pc:spChg>
        <pc:spChg chg="add del mod">
          <ac:chgData name="Ma, Mandy Hongyang" userId="c8c44b64-cf2b-42a5-ad81-5888bcc9e90b" providerId="ADAL" clId="{E87DE2B3-A1BB-44E1-82F4-A4093DC29FAD}" dt="2023-03-31T08:49:20.895" v="2835" actId="478"/>
          <ac:spMkLst>
            <pc:docMk/>
            <pc:sldMk cId="2283045370" sldId="2147479600"/>
            <ac:spMk id="13" creationId="{EE3C6BA7-A3C1-403F-516E-57F565163B01}"/>
          </ac:spMkLst>
        </pc:spChg>
        <pc:spChg chg="mod">
          <ac:chgData name="Ma, Mandy Hongyang" userId="c8c44b64-cf2b-42a5-ad81-5888bcc9e90b" providerId="ADAL" clId="{E87DE2B3-A1BB-44E1-82F4-A4093DC29FAD}" dt="2023-03-30T13:11:08.755" v="1239"/>
          <ac:spMkLst>
            <pc:docMk/>
            <pc:sldMk cId="2283045370" sldId="2147479600"/>
            <ac:spMk id="15" creationId="{A8511109-56BA-6B3F-8EF7-53FEC611DC35}"/>
          </ac:spMkLst>
        </pc:spChg>
        <pc:spChg chg="add del mod">
          <ac:chgData name="Ma, Mandy Hongyang" userId="c8c44b64-cf2b-42a5-ad81-5888bcc9e90b" providerId="ADAL" clId="{E87DE2B3-A1BB-44E1-82F4-A4093DC29FAD}" dt="2023-03-31T08:49:20.895" v="2835" actId="478"/>
          <ac:spMkLst>
            <pc:docMk/>
            <pc:sldMk cId="2283045370" sldId="2147479600"/>
            <ac:spMk id="16" creationId="{FD98D121-A4B8-F147-883D-714BCA1B66F4}"/>
          </ac:spMkLst>
        </pc:spChg>
        <pc:spChg chg="add del mod">
          <ac:chgData name="Ma, Mandy Hongyang" userId="c8c44b64-cf2b-42a5-ad81-5888bcc9e90b" providerId="ADAL" clId="{E87DE2B3-A1BB-44E1-82F4-A4093DC29FAD}" dt="2023-03-31T08:49:20.895" v="2835" actId="478"/>
          <ac:spMkLst>
            <pc:docMk/>
            <pc:sldMk cId="2283045370" sldId="2147479600"/>
            <ac:spMk id="17" creationId="{2CC05D4F-0B23-5B8E-DD2A-A786290729D2}"/>
          </ac:spMkLst>
        </pc:spChg>
        <pc:spChg chg="mod">
          <ac:chgData name="Ma, Mandy Hongyang" userId="c8c44b64-cf2b-42a5-ad81-5888bcc9e90b" providerId="ADAL" clId="{E87DE2B3-A1BB-44E1-82F4-A4093DC29FAD}" dt="2023-03-30T13:10:40.488" v="1236" actId="20577"/>
          <ac:spMkLst>
            <pc:docMk/>
            <pc:sldMk cId="2283045370" sldId="2147479600"/>
            <ac:spMk id="17" creationId="{307CDA01-3421-7FEE-B7E0-1E10B2DDBF6E}"/>
          </ac:spMkLst>
        </pc:spChg>
        <pc:spChg chg="del">
          <ac:chgData name="Ma, Mandy Hongyang" userId="c8c44b64-cf2b-42a5-ad81-5888bcc9e90b" providerId="ADAL" clId="{E87DE2B3-A1BB-44E1-82F4-A4093DC29FAD}" dt="2023-03-30T13:10:45.743" v="1237" actId="478"/>
          <ac:spMkLst>
            <pc:docMk/>
            <pc:sldMk cId="2283045370" sldId="2147479600"/>
            <ac:spMk id="18" creationId="{ACF4E145-5FFF-3EEA-D0A7-B2486739A77C}"/>
          </ac:spMkLst>
        </pc:spChg>
        <pc:spChg chg="add del mod">
          <ac:chgData name="Ma, Mandy Hongyang" userId="c8c44b64-cf2b-42a5-ad81-5888bcc9e90b" providerId="ADAL" clId="{E87DE2B3-A1BB-44E1-82F4-A4093DC29FAD}" dt="2023-03-31T08:52:01.342" v="2959" actId="478"/>
          <ac:spMkLst>
            <pc:docMk/>
            <pc:sldMk cId="2283045370" sldId="2147479600"/>
            <ac:spMk id="18" creationId="{BB0B8610-FDF9-3AE0-674B-1A88ED24502A}"/>
          </ac:spMkLst>
        </pc:spChg>
        <pc:spChg chg="add mod">
          <ac:chgData name="Ma, Mandy Hongyang" userId="c8c44b64-cf2b-42a5-ad81-5888bcc9e90b" providerId="ADAL" clId="{E87DE2B3-A1BB-44E1-82F4-A4093DC29FAD}" dt="2023-03-31T08:55:58.465" v="3074" actId="1038"/>
          <ac:spMkLst>
            <pc:docMk/>
            <pc:sldMk cId="2283045370" sldId="2147479600"/>
            <ac:spMk id="19" creationId="{4563CE77-2B51-F73A-4656-9E6DB0EA508D}"/>
          </ac:spMkLst>
        </pc:spChg>
        <pc:spChg chg="mod">
          <ac:chgData name="Ma, Mandy Hongyang" userId="c8c44b64-cf2b-42a5-ad81-5888bcc9e90b" providerId="ADAL" clId="{E87DE2B3-A1BB-44E1-82F4-A4093DC29FAD}" dt="2023-03-30T13:11:08.755" v="1239"/>
          <ac:spMkLst>
            <pc:docMk/>
            <pc:sldMk cId="2283045370" sldId="2147479600"/>
            <ac:spMk id="21" creationId="{56DD4122-DF5D-2743-7068-8CA1E15359AC}"/>
          </ac:spMkLst>
        </pc:spChg>
        <pc:spChg chg="mod">
          <ac:chgData name="Ma, Mandy Hongyang" userId="c8c44b64-cf2b-42a5-ad81-5888bcc9e90b" providerId="ADAL" clId="{E87DE2B3-A1BB-44E1-82F4-A4093DC29FAD}" dt="2023-03-30T13:11:08.755" v="1239"/>
          <ac:spMkLst>
            <pc:docMk/>
            <pc:sldMk cId="2283045370" sldId="2147479600"/>
            <ac:spMk id="22" creationId="{4AD3E733-9960-FA98-B775-8D935967FEE6}"/>
          </ac:spMkLst>
        </pc:spChg>
        <pc:spChg chg="mod">
          <ac:chgData name="Ma, Mandy Hongyang" userId="c8c44b64-cf2b-42a5-ad81-5888bcc9e90b" providerId="ADAL" clId="{E87DE2B3-A1BB-44E1-82F4-A4093DC29FAD}" dt="2023-03-30T13:11:08.755" v="1239"/>
          <ac:spMkLst>
            <pc:docMk/>
            <pc:sldMk cId="2283045370" sldId="2147479600"/>
            <ac:spMk id="26" creationId="{339F0ACB-A27A-EAFE-7964-FB3E08EE64FC}"/>
          </ac:spMkLst>
        </pc:spChg>
        <pc:spChg chg="mod">
          <ac:chgData name="Ma, Mandy Hongyang" userId="c8c44b64-cf2b-42a5-ad81-5888bcc9e90b" providerId="ADAL" clId="{E87DE2B3-A1BB-44E1-82F4-A4093DC29FAD}" dt="2023-03-30T13:11:08.755" v="1239"/>
          <ac:spMkLst>
            <pc:docMk/>
            <pc:sldMk cId="2283045370" sldId="2147479600"/>
            <ac:spMk id="27" creationId="{0989C4B6-FDFB-E299-8A97-3209DE76E793}"/>
          </ac:spMkLst>
        </pc:spChg>
        <pc:spChg chg="mod">
          <ac:chgData name="Ma, Mandy Hongyang" userId="c8c44b64-cf2b-42a5-ad81-5888bcc9e90b" providerId="ADAL" clId="{E87DE2B3-A1BB-44E1-82F4-A4093DC29FAD}" dt="2023-03-30T13:11:08.755" v="1239"/>
          <ac:spMkLst>
            <pc:docMk/>
            <pc:sldMk cId="2283045370" sldId="2147479600"/>
            <ac:spMk id="28" creationId="{9470756A-3498-BE96-03F9-0EBBB1B7F015}"/>
          </ac:spMkLst>
        </pc:spChg>
        <pc:spChg chg="mod">
          <ac:chgData name="Ma, Mandy Hongyang" userId="c8c44b64-cf2b-42a5-ad81-5888bcc9e90b" providerId="ADAL" clId="{E87DE2B3-A1BB-44E1-82F4-A4093DC29FAD}" dt="2023-03-30T13:11:08.755" v="1239"/>
          <ac:spMkLst>
            <pc:docMk/>
            <pc:sldMk cId="2283045370" sldId="2147479600"/>
            <ac:spMk id="29" creationId="{718C30A1-A9E8-5A07-94F8-A8811614BCAA}"/>
          </ac:spMkLst>
        </pc:spChg>
        <pc:spChg chg="mod">
          <ac:chgData name="Ma, Mandy Hongyang" userId="c8c44b64-cf2b-42a5-ad81-5888bcc9e90b" providerId="ADAL" clId="{E87DE2B3-A1BB-44E1-82F4-A4093DC29FAD}" dt="2023-03-30T13:11:08.755" v="1239"/>
          <ac:spMkLst>
            <pc:docMk/>
            <pc:sldMk cId="2283045370" sldId="2147479600"/>
            <ac:spMk id="30" creationId="{F6A87BBD-AE32-DB62-FF45-D32D34EEE458}"/>
          </ac:spMkLst>
        </pc:spChg>
        <pc:spChg chg="mod">
          <ac:chgData name="Ma, Mandy Hongyang" userId="c8c44b64-cf2b-42a5-ad81-5888bcc9e90b" providerId="ADAL" clId="{E87DE2B3-A1BB-44E1-82F4-A4093DC29FAD}" dt="2023-03-30T13:16:37.360" v="1282" actId="1076"/>
          <ac:spMkLst>
            <pc:docMk/>
            <pc:sldMk cId="2283045370" sldId="2147479600"/>
            <ac:spMk id="32" creationId="{FFCCC6E7-EBD1-5F6B-178B-C9F256ED18F4}"/>
          </ac:spMkLst>
        </pc:spChg>
        <pc:spChg chg="mod">
          <ac:chgData name="Ma, Mandy Hongyang" userId="c8c44b64-cf2b-42a5-ad81-5888bcc9e90b" providerId="ADAL" clId="{E87DE2B3-A1BB-44E1-82F4-A4093DC29FAD}" dt="2023-03-30T13:14:12.867" v="1254"/>
          <ac:spMkLst>
            <pc:docMk/>
            <pc:sldMk cId="2283045370" sldId="2147479600"/>
            <ac:spMk id="34" creationId="{23596DDA-11B8-36DC-40E8-274E40BB5BD6}"/>
          </ac:spMkLst>
        </pc:spChg>
        <pc:spChg chg="mod">
          <ac:chgData name="Ma, Mandy Hongyang" userId="c8c44b64-cf2b-42a5-ad81-5888bcc9e90b" providerId="ADAL" clId="{E87DE2B3-A1BB-44E1-82F4-A4093DC29FAD}" dt="2023-03-30T13:14:12.867" v="1254"/>
          <ac:spMkLst>
            <pc:docMk/>
            <pc:sldMk cId="2283045370" sldId="2147479600"/>
            <ac:spMk id="36" creationId="{A472F3BF-2865-FC83-F99F-CF64F3D6E505}"/>
          </ac:spMkLst>
        </pc:spChg>
        <pc:spChg chg="del">
          <ac:chgData name="Ma, Mandy Hongyang" userId="c8c44b64-cf2b-42a5-ad81-5888bcc9e90b" providerId="ADAL" clId="{E87DE2B3-A1BB-44E1-82F4-A4093DC29FAD}" dt="2023-03-30T13:13:48.337" v="1249" actId="478"/>
          <ac:spMkLst>
            <pc:docMk/>
            <pc:sldMk cId="2283045370" sldId="2147479600"/>
            <ac:spMk id="38" creationId="{9656151D-4658-E608-7F08-7DD43A709AC9}"/>
          </ac:spMkLst>
        </pc:spChg>
        <pc:spChg chg="add del mod">
          <ac:chgData name="Ma, Mandy Hongyang" userId="c8c44b64-cf2b-42a5-ad81-5888bcc9e90b" providerId="ADAL" clId="{E87DE2B3-A1BB-44E1-82F4-A4093DC29FAD}" dt="2023-03-31T08:53:26.298" v="2990" actId="478"/>
          <ac:spMkLst>
            <pc:docMk/>
            <pc:sldMk cId="2283045370" sldId="2147479600"/>
            <ac:spMk id="38" creationId="{A0D6C195-675F-7185-180D-5F4FC6A24CCD}"/>
          </ac:spMkLst>
        </pc:spChg>
        <pc:spChg chg="add mod">
          <ac:chgData name="Ma, Mandy Hongyang" userId="c8c44b64-cf2b-42a5-ad81-5888bcc9e90b" providerId="ADAL" clId="{E87DE2B3-A1BB-44E1-82F4-A4093DC29FAD}" dt="2023-03-31T08:55:58.465" v="3074" actId="1038"/>
          <ac:spMkLst>
            <pc:docMk/>
            <pc:sldMk cId="2283045370" sldId="2147479600"/>
            <ac:spMk id="39" creationId="{37D54D67-5476-CF4E-2DE1-AB2269BEE954}"/>
          </ac:spMkLst>
        </pc:spChg>
        <pc:spChg chg="del">
          <ac:chgData name="Ma, Mandy Hongyang" userId="c8c44b64-cf2b-42a5-ad81-5888bcc9e90b" providerId="ADAL" clId="{E87DE2B3-A1BB-44E1-82F4-A4093DC29FAD}" dt="2023-03-30T13:13:48.337" v="1249" actId="478"/>
          <ac:spMkLst>
            <pc:docMk/>
            <pc:sldMk cId="2283045370" sldId="2147479600"/>
            <ac:spMk id="39" creationId="{3CDD9857-FEC9-F924-8FBB-CAC82F058692}"/>
          </ac:spMkLst>
        </pc:spChg>
        <pc:spChg chg="del">
          <ac:chgData name="Ma, Mandy Hongyang" userId="c8c44b64-cf2b-42a5-ad81-5888bcc9e90b" providerId="ADAL" clId="{E87DE2B3-A1BB-44E1-82F4-A4093DC29FAD}" dt="2023-03-30T13:13:48.337" v="1249" actId="478"/>
          <ac:spMkLst>
            <pc:docMk/>
            <pc:sldMk cId="2283045370" sldId="2147479600"/>
            <ac:spMk id="40" creationId="{24D99400-FF18-B597-5E0E-FD3651CAE8F1}"/>
          </ac:spMkLst>
        </pc:spChg>
        <pc:spChg chg="add mod">
          <ac:chgData name="Ma, Mandy Hongyang" userId="c8c44b64-cf2b-42a5-ad81-5888bcc9e90b" providerId="ADAL" clId="{E87DE2B3-A1BB-44E1-82F4-A4093DC29FAD}" dt="2023-03-31T08:55:58.465" v="3074" actId="1038"/>
          <ac:spMkLst>
            <pc:docMk/>
            <pc:sldMk cId="2283045370" sldId="2147479600"/>
            <ac:spMk id="40" creationId="{85C35519-DE64-D362-F099-03B9AD27CA91}"/>
          </ac:spMkLst>
        </pc:spChg>
        <pc:spChg chg="mod">
          <ac:chgData name="Ma, Mandy Hongyang" userId="c8c44b64-cf2b-42a5-ad81-5888bcc9e90b" providerId="ADAL" clId="{E87DE2B3-A1BB-44E1-82F4-A4093DC29FAD}" dt="2023-03-30T13:14:12.867" v="1254"/>
          <ac:spMkLst>
            <pc:docMk/>
            <pc:sldMk cId="2283045370" sldId="2147479600"/>
            <ac:spMk id="41" creationId="{77923958-9580-9873-2C2F-85788BE596E3}"/>
          </ac:spMkLst>
        </pc:spChg>
        <pc:spChg chg="add mod">
          <ac:chgData name="Ma, Mandy Hongyang" userId="c8c44b64-cf2b-42a5-ad81-5888bcc9e90b" providerId="ADAL" clId="{E87DE2B3-A1BB-44E1-82F4-A4093DC29FAD}" dt="2023-03-31T08:55:58.465" v="3074" actId="1038"/>
          <ac:spMkLst>
            <pc:docMk/>
            <pc:sldMk cId="2283045370" sldId="2147479600"/>
            <ac:spMk id="42" creationId="{BA6DC32E-77B5-4AE0-6DC1-2F625398FF01}"/>
          </ac:spMkLst>
        </pc:spChg>
        <pc:spChg chg="del">
          <ac:chgData name="Ma, Mandy Hongyang" userId="c8c44b64-cf2b-42a5-ad81-5888bcc9e90b" providerId="ADAL" clId="{E87DE2B3-A1BB-44E1-82F4-A4093DC29FAD}" dt="2023-03-30T13:13:48.337" v="1249" actId="478"/>
          <ac:spMkLst>
            <pc:docMk/>
            <pc:sldMk cId="2283045370" sldId="2147479600"/>
            <ac:spMk id="42" creationId="{E1DC3580-8C88-CDDF-F931-D041AEF6446F}"/>
          </ac:spMkLst>
        </pc:spChg>
        <pc:spChg chg="del">
          <ac:chgData name="Ma, Mandy Hongyang" userId="c8c44b64-cf2b-42a5-ad81-5888bcc9e90b" providerId="ADAL" clId="{E87DE2B3-A1BB-44E1-82F4-A4093DC29FAD}" dt="2023-03-30T13:10:47.006" v="1238" actId="478"/>
          <ac:spMkLst>
            <pc:docMk/>
            <pc:sldMk cId="2283045370" sldId="2147479600"/>
            <ac:spMk id="43" creationId="{5E4F71DE-0CF8-661E-875F-9531ACA7C7E7}"/>
          </ac:spMkLst>
        </pc:spChg>
        <pc:spChg chg="mod">
          <ac:chgData name="Ma, Mandy Hongyang" userId="c8c44b64-cf2b-42a5-ad81-5888bcc9e90b" providerId="ADAL" clId="{E87DE2B3-A1BB-44E1-82F4-A4093DC29FAD}" dt="2023-03-30T13:14:12.867" v="1254"/>
          <ac:spMkLst>
            <pc:docMk/>
            <pc:sldMk cId="2283045370" sldId="2147479600"/>
            <ac:spMk id="44" creationId="{C2C49510-9FF7-9BE3-C64E-E330D745F818}"/>
          </ac:spMkLst>
        </pc:spChg>
        <pc:spChg chg="mod">
          <ac:chgData name="Ma, Mandy Hongyang" userId="c8c44b64-cf2b-42a5-ad81-5888bcc9e90b" providerId="ADAL" clId="{E87DE2B3-A1BB-44E1-82F4-A4093DC29FAD}" dt="2023-03-30T13:14:12.867" v="1254"/>
          <ac:spMkLst>
            <pc:docMk/>
            <pc:sldMk cId="2283045370" sldId="2147479600"/>
            <ac:spMk id="45" creationId="{27B8D002-A0C3-3902-9884-F8F6418C9C74}"/>
          </ac:spMkLst>
        </pc:spChg>
        <pc:spChg chg="mod">
          <ac:chgData name="Ma, Mandy Hongyang" userId="c8c44b64-cf2b-42a5-ad81-5888bcc9e90b" providerId="ADAL" clId="{E87DE2B3-A1BB-44E1-82F4-A4093DC29FAD}" dt="2023-03-30T13:14:12.867" v="1254"/>
          <ac:spMkLst>
            <pc:docMk/>
            <pc:sldMk cId="2283045370" sldId="2147479600"/>
            <ac:spMk id="46" creationId="{6218F884-C7E9-FA9D-DA43-89ECDAC2730B}"/>
          </ac:spMkLst>
        </pc:spChg>
        <pc:spChg chg="mod">
          <ac:chgData name="Ma, Mandy Hongyang" userId="c8c44b64-cf2b-42a5-ad81-5888bcc9e90b" providerId="ADAL" clId="{E87DE2B3-A1BB-44E1-82F4-A4093DC29FAD}" dt="2023-03-30T13:14:12.867" v="1254"/>
          <ac:spMkLst>
            <pc:docMk/>
            <pc:sldMk cId="2283045370" sldId="2147479600"/>
            <ac:spMk id="47" creationId="{41D0364B-21B0-0AC2-8790-AADD43D2FA89}"/>
          </ac:spMkLst>
        </pc:spChg>
        <pc:spChg chg="mod">
          <ac:chgData name="Ma, Mandy Hongyang" userId="c8c44b64-cf2b-42a5-ad81-5888bcc9e90b" providerId="ADAL" clId="{E87DE2B3-A1BB-44E1-82F4-A4093DC29FAD}" dt="2023-03-30T13:14:12.867" v="1254"/>
          <ac:spMkLst>
            <pc:docMk/>
            <pc:sldMk cId="2283045370" sldId="2147479600"/>
            <ac:spMk id="48" creationId="{CFF953A2-05A4-F224-CF0E-63F61F23485D}"/>
          </ac:spMkLst>
        </pc:spChg>
        <pc:spChg chg="mod">
          <ac:chgData name="Ma, Mandy Hongyang" userId="c8c44b64-cf2b-42a5-ad81-5888bcc9e90b" providerId="ADAL" clId="{E87DE2B3-A1BB-44E1-82F4-A4093DC29FAD}" dt="2023-03-30T13:14:12.867" v="1254"/>
          <ac:spMkLst>
            <pc:docMk/>
            <pc:sldMk cId="2283045370" sldId="2147479600"/>
            <ac:spMk id="49" creationId="{0C7CD918-E707-1549-FB89-249F1D8E1A3D}"/>
          </ac:spMkLst>
        </pc:spChg>
        <pc:spChg chg="mod">
          <ac:chgData name="Ma, Mandy Hongyang" userId="c8c44b64-cf2b-42a5-ad81-5888bcc9e90b" providerId="ADAL" clId="{E87DE2B3-A1BB-44E1-82F4-A4093DC29FAD}" dt="2023-03-30T13:14:12.867" v="1254"/>
          <ac:spMkLst>
            <pc:docMk/>
            <pc:sldMk cId="2283045370" sldId="2147479600"/>
            <ac:spMk id="50" creationId="{BE7A8600-1561-8430-72B9-DCD862D11973}"/>
          </ac:spMkLst>
        </pc:spChg>
        <pc:spChg chg="mod">
          <ac:chgData name="Ma, Mandy Hongyang" userId="c8c44b64-cf2b-42a5-ad81-5888bcc9e90b" providerId="ADAL" clId="{E87DE2B3-A1BB-44E1-82F4-A4093DC29FAD}" dt="2023-03-30T13:36:18.998" v="1649" actId="12789"/>
          <ac:spMkLst>
            <pc:docMk/>
            <pc:sldMk cId="2283045370" sldId="2147479600"/>
            <ac:spMk id="52" creationId="{91C4C63A-3B59-674D-F01B-6FAD7EA8D34F}"/>
          </ac:spMkLst>
        </pc:spChg>
        <pc:spChg chg="mod">
          <ac:chgData name="Ma, Mandy Hongyang" userId="c8c44b64-cf2b-42a5-ad81-5888bcc9e90b" providerId="ADAL" clId="{E87DE2B3-A1BB-44E1-82F4-A4093DC29FAD}" dt="2023-03-30T13:36:21.151" v="1650" actId="408"/>
          <ac:spMkLst>
            <pc:docMk/>
            <pc:sldMk cId="2283045370" sldId="2147479600"/>
            <ac:spMk id="53" creationId="{DB3E97CF-BF10-9431-8937-A889B6A99170}"/>
          </ac:spMkLst>
        </pc:spChg>
        <pc:spChg chg="del mod">
          <ac:chgData name="Ma, Mandy Hongyang" userId="c8c44b64-cf2b-42a5-ad81-5888bcc9e90b" providerId="ADAL" clId="{E87DE2B3-A1BB-44E1-82F4-A4093DC29FAD}" dt="2023-03-30T13:23:25.439" v="1420" actId="478"/>
          <ac:spMkLst>
            <pc:docMk/>
            <pc:sldMk cId="2283045370" sldId="2147479600"/>
            <ac:spMk id="54" creationId="{4ECBE1A9-BDF2-0450-63BC-36BFBE9F4998}"/>
          </ac:spMkLst>
        </pc:spChg>
        <pc:spChg chg="mod">
          <ac:chgData name="Ma, Mandy Hongyang" userId="c8c44b64-cf2b-42a5-ad81-5888bcc9e90b" providerId="ADAL" clId="{E87DE2B3-A1BB-44E1-82F4-A4093DC29FAD}" dt="2023-03-30T13:36:18.998" v="1649" actId="12789"/>
          <ac:spMkLst>
            <pc:docMk/>
            <pc:sldMk cId="2283045370" sldId="2147479600"/>
            <ac:spMk id="55" creationId="{20A1B400-37ED-4A28-F7A0-9C443C9012F9}"/>
          </ac:spMkLst>
        </pc:spChg>
        <pc:spChg chg="add mod">
          <ac:chgData name="Ma, Mandy Hongyang" userId="c8c44b64-cf2b-42a5-ad81-5888bcc9e90b" providerId="ADAL" clId="{E87DE2B3-A1BB-44E1-82F4-A4093DC29FAD}" dt="2023-03-31T08:56:57.760" v="3136" actId="20577"/>
          <ac:spMkLst>
            <pc:docMk/>
            <pc:sldMk cId="2283045370" sldId="2147479600"/>
            <ac:spMk id="57" creationId="{CC82A5DE-C5B2-DADF-DBB8-25B609D2BF41}"/>
          </ac:spMkLst>
        </pc:spChg>
        <pc:spChg chg="del mod">
          <ac:chgData name="Ma, Mandy Hongyang" userId="c8c44b64-cf2b-42a5-ad81-5888bcc9e90b" providerId="ADAL" clId="{E87DE2B3-A1BB-44E1-82F4-A4093DC29FAD}" dt="2023-03-30T13:34:11.299" v="1587" actId="478"/>
          <ac:spMkLst>
            <pc:docMk/>
            <pc:sldMk cId="2283045370" sldId="2147479600"/>
            <ac:spMk id="58" creationId="{213C43D3-79F5-F1AB-2E76-D41E419C4B8A}"/>
          </ac:spMkLst>
        </pc:spChg>
        <pc:spChg chg="mod">
          <ac:chgData name="Ma, Mandy Hongyang" userId="c8c44b64-cf2b-42a5-ad81-5888bcc9e90b" providerId="ADAL" clId="{E87DE2B3-A1BB-44E1-82F4-A4093DC29FAD}" dt="2023-03-30T13:36:21.151" v="1650" actId="408"/>
          <ac:spMkLst>
            <pc:docMk/>
            <pc:sldMk cId="2283045370" sldId="2147479600"/>
            <ac:spMk id="59" creationId="{C4FA5857-D9DA-9327-212C-B73D9E0E47BF}"/>
          </ac:spMkLst>
        </pc:spChg>
        <pc:spChg chg="del mod">
          <ac:chgData name="Ma, Mandy Hongyang" userId="c8c44b64-cf2b-42a5-ad81-5888bcc9e90b" providerId="ADAL" clId="{E87DE2B3-A1BB-44E1-82F4-A4093DC29FAD}" dt="2023-03-30T13:33:52.103" v="1583" actId="478"/>
          <ac:spMkLst>
            <pc:docMk/>
            <pc:sldMk cId="2283045370" sldId="2147479600"/>
            <ac:spMk id="63" creationId="{4CDB1FBF-F775-ACC4-AB36-C5C6FBCEC211}"/>
          </ac:spMkLst>
        </pc:spChg>
        <pc:spChg chg="mod">
          <ac:chgData name="Ma, Mandy Hongyang" userId="c8c44b64-cf2b-42a5-ad81-5888bcc9e90b" providerId="ADAL" clId="{E87DE2B3-A1BB-44E1-82F4-A4093DC29FAD}" dt="2023-03-30T13:34:54.623" v="1604" actId="1076"/>
          <ac:spMkLst>
            <pc:docMk/>
            <pc:sldMk cId="2283045370" sldId="2147479600"/>
            <ac:spMk id="64" creationId="{FEB3572E-08DF-28F1-8BF7-6ED388BA8CF2}"/>
          </ac:spMkLst>
        </pc:spChg>
        <pc:spChg chg="mod">
          <ac:chgData name="Ma, Mandy Hongyang" userId="c8c44b64-cf2b-42a5-ad81-5888bcc9e90b" providerId="ADAL" clId="{E87DE2B3-A1BB-44E1-82F4-A4093DC29FAD}" dt="2023-03-31T08:43:08.670" v="2742" actId="20577"/>
          <ac:spMkLst>
            <pc:docMk/>
            <pc:sldMk cId="2283045370" sldId="2147479600"/>
            <ac:spMk id="65" creationId="{9F57C159-221C-707C-C4A1-08C85FFEEAF5}"/>
          </ac:spMkLst>
        </pc:spChg>
        <pc:spChg chg="mod">
          <ac:chgData name="Ma, Mandy Hongyang" userId="c8c44b64-cf2b-42a5-ad81-5888bcc9e90b" providerId="ADAL" clId="{E87DE2B3-A1BB-44E1-82F4-A4093DC29FAD}" dt="2023-03-30T13:24:45.283" v="1439" actId="1076"/>
          <ac:spMkLst>
            <pc:docMk/>
            <pc:sldMk cId="2283045370" sldId="2147479600"/>
            <ac:spMk id="66" creationId="{53E4B2C9-41DB-8189-1300-35C7B24BAB98}"/>
          </ac:spMkLst>
        </pc:spChg>
        <pc:spChg chg="del mod">
          <ac:chgData name="Ma, Mandy Hongyang" userId="c8c44b64-cf2b-42a5-ad81-5888bcc9e90b" providerId="ADAL" clId="{E87DE2B3-A1BB-44E1-82F4-A4093DC29FAD}" dt="2023-03-30T13:14:27.871" v="1258" actId="478"/>
          <ac:spMkLst>
            <pc:docMk/>
            <pc:sldMk cId="2283045370" sldId="2147479600"/>
            <ac:spMk id="67" creationId="{84657A2D-35B3-34F9-8B9F-BE4B77A6DE5E}"/>
          </ac:spMkLst>
        </pc:spChg>
        <pc:spChg chg="add mod">
          <ac:chgData name="Ma, Mandy Hongyang" userId="c8c44b64-cf2b-42a5-ad81-5888bcc9e90b" providerId="ADAL" clId="{E87DE2B3-A1BB-44E1-82F4-A4093DC29FAD}" dt="2023-03-31T08:55:58.465" v="3074" actId="1038"/>
          <ac:spMkLst>
            <pc:docMk/>
            <pc:sldMk cId="2283045370" sldId="2147479600"/>
            <ac:spMk id="69" creationId="{92450DCD-5EF1-B6B0-1C1B-6BBAA474C3DC}"/>
          </ac:spMkLst>
        </pc:spChg>
        <pc:spChg chg="add del mod">
          <ac:chgData name="Ma, Mandy Hongyang" userId="c8c44b64-cf2b-42a5-ad81-5888bcc9e90b" providerId="ADAL" clId="{E87DE2B3-A1BB-44E1-82F4-A4093DC29FAD}" dt="2023-03-30T13:18:15.955" v="1307" actId="478"/>
          <ac:spMkLst>
            <pc:docMk/>
            <pc:sldMk cId="2283045370" sldId="2147479600"/>
            <ac:spMk id="70" creationId="{AF1C70BC-027F-F998-FFC2-4755850840AE}"/>
          </ac:spMkLst>
        </pc:spChg>
        <pc:spChg chg="add mod">
          <ac:chgData name="Ma, Mandy Hongyang" userId="c8c44b64-cf2b-42a5-ad81-5888bcc9e90b" providerId="ADAL" clId="{E87DE2B3-A1BB-44E1-82F4-A4093DC29FAD}" dt="2023-03-31T08:55:58.465" v="3074" actId="1038"/>
          <ac:spMkLst>
            <pc:docMk/>
            <pc:sldMk cId="2283045370" sldId="2147479600"/>
            <ac:spMk id="70" creationId="{FBA94AEE-4756-4D85-91B0-BF82341EA43B}"/>
          </ac:spMkLst>
        </pc:spChg>
        <pc:spChg chg="add mod">
          <ac:chgData name="Ma, Mandy Hongyang" userId="c8c44b64-cf2b-42a5-ad81-5888bcc9e90b" providerId="ADAL" clId="{E87DE2B3-A1BB-44E1-82F4-A4093DC29FAD}" dt="2023-03-31T08:55:58.465" v="3074" actId="1038"/>
          <ac:spMkLst>
            <pc:docMk/>
            <pc:sldMk cId="2283045370" sldId="2147479600"/>
            <ac:spMk id="71" creationId="{C2AA5322-799F-4F78-38B8-FE1319ACBDC6}"/>
          </ac:spMkLst>
        </pc:spChg>
        <pc:spChg chg="add mod ord">
          <ac:chgData name="Ma, Mandy Hongyang" userId="c8c44b64-cf2b-42a5-ad81-5888bcc9e90b" providerId="ADAL" clId="{E87DE2B3-A1BB-44E1-82F4-A4093DC29FAD}" dt="2023-03-30T13:18:46.257" v="1315" actId="1076"/>
          <ac:spMkLst>
            <pc:docMk/>
            <pc:sldMk cId="2283045370" sldId="2147479600"/>
            <ac:spMk id="73" creationId="{A156F4C0-D355-160C-7392-C8742EAC051E}"/>
          </ac:spMkLst>
        </pc:spChg>
        <pc:spChg chg="add mod">
          <ac:chgData name="Ma, Mandy Hongyang" userId="c8c44b64-cf2b-42a5-ad81-5888bcc9e90b" providerId="ADAL" clId="{E87DE2B3-A1BB-44E1-82F4-A4093DC29FAD}" dt="2023-03-30T13:36:36.626" v="1655" actId="1076"/>
          <ac:spMkLst>
            <pc:docMk/>
            <pc:sldMk cId="2283045370" sldId="2147479600"/>
            <ac:spMk id="74" creationId="{3FE3154A-E69B-3850-A1C1-58A684E5EA86}"/>
          </ac:spMkLst>
        </pc:spChg>
        <pc:spChg chg="add mod">
          <ac:chgData name="Ma, Mandy Hongyang" userId="c8c44b64-cf2b-42a5-ad81-5888bcc9e90b" providerId="ADAL" clId="{E87DE2B3-A1BB-44E1-82F4-A4093DC29FAD}" dt="2023-03-30T13:36:33.861" v="1654" actId="14100"/>
          <ac:spMkLst>
            <pc:docMk/>
            <pc:sldMk cId="2283045370" sldId="2147479600"/>
            <ac:spMk id="75" creationId="{A8F64F5A-F4E2-B7CF-EBA8-415F58A32ACC}"/>
          </ac:spMkLst>
        </pc:spChg>
        <pc:spChg chg="add mod ord">
          <ac:chgData name="Ma, Mandy Hongyang" userId="c8c44b64-cf2b-42a5-ad81-5888bcc9e90b" providerId="ADAL" clId="{E87DE2B3-A1BB-44E1-82F4-A4093DC29FAD}" dt="2023-03-31T08:48:50.625" v="2830" actId="1076"/>
          <ac:spMkLst>
            <pc:docMk/>
            <pc:sldMk cId="2283045370" sldId="2147479600"/>
            <ac:spMk id="76" creationId="{8CA0FEF4-766F-9E22-C017-D5D7ABB49C28}"/>
          </ac:spMkLst>
        </pc:spChg>
        <pc:spChg chg="del mod">
          <ac:chgData name="Ma, Mandy Hongyang" userId="c8c44b64-cf2b-42a5-ad81-5888bcc9e90b" providerId="ADAL" clId="{E87DE2B3-A1BB-44E1-82F4-A4093DC29FAD}" dt="2023-03-31T08:52:11.568" v="2964" actId="478"/>
          <ac:spMkLst>
            <pc:docMk/>
            <pc:sldMk cId="2283045370" sldId="2147479600"/>
            <ac:spMk id="82" creationId="{84F268FC-8B09-BB73-B175-A0441354D32B}"/>
          </ac:spMkLst>
        </pc:spChg>
        <pc:spChg chg="del mod">
          <ac:chgData name="Ma, Mandy Hongyang" userId="c8c44b64-cf2b-42a5-ad81-5888bcc9e90b" providerId="ADAL" clId="{E87DE2B3-A1BB-44E1-82F4-A4093DC29FAD}" dt="2023-03-31T08:52:17.942" v="2970" actId="478"/>
          <ac:spMkLst>
            <pc:docMk/>
            <pc:sldMk cId="2283045370" sldId="2147479600"/>
            <ac:spMk id="83" creationId="{B2F912FF-0A5F-0DF0-6B01-D82E5942C70F}"/>
          </ac:spMkLst>
        </pc:spChg>
        <pc:spChg chg="del mod">
          <ac:chgData name="Ma, Mandy Hongyang" userId="c8c44b64-cf2b-42a5-ad81-5888bcc9e90b" providerId="ADAL" clId="{E87DE2B3-A1BB-44E1-82F4-A4093DC29FAD}" dt="2023-03-31T08:52:30.146" v="2976" actId="478"/>
          <ac:spMkLst>
            <pc:docMk/>
            <pc:sldMk cId="2283045370" sldId="2147479600"/>
            <ac:spMk id="84" creationId="{C2FC4BE4-9ED3-8526-E28D-BCBED9E0EAEE}"/>
          </ac:spMkLst>
        </pc:spChg>
        <pc:spChg chg="del mod">
          <ac:chgData name="Ma, Mandy Hongyang" userId="c8c44b64-cf2b-42a5-ad81-5888bcc9e90b" providerId="ADAL" clId="{E87DE2B3-A1BB-44E1-82F4-A4093DC29FAD}" dt="2023-03-30T13:34:12.677" v="1588" actId="478"/>
          <ac:spMkLst>
            <pc:docMk/>
            <pc:sldMk cId="2283045370" sldId="2147479600"/>
            <ac:spMk id="86" creationId="{70854B58-83F6-9F0F-1F57-5EB1F8B9D719}"/>
          </ac:spMkLst>
        </pc:spChg>
        <pc:spChg chg="del mod">
          <ac:chgData name="Ma, Mandy Hongyang" userId="c8c44b64-cf2b-42a5-ad81-5888bcc9e90b" providerId="ADAL" clId="{E87DE2B3-A1BB-44E1-82F4-A4093DC29FAD}" dt="2023-03-31T08:52:15.017" v="2967" actId="478"/>
          <ac:spMkLst>
            <pc:docMk/>
            <pc:sldMk cId="2283045370" sldId="2147479600"/>
            <ac:spMk id="87" creationId="{DBA0C69B-B586-D5B1-719A-ABC7E8F9330B}"/>
          </ac:spMkLst>
        </pc:spChg>
        <pc:spChg chg="add mod">
          <ac:chgData name="Ma, Mandy Hongyang" userId="c8c44b64-cf2b-42a5-ad81-5888bcc9e90b" providerId="ADAL" clId="{E87DE2B3-A1BB-44E1-82F4-A4093DC29FAD}" dt="2023-03-31T08:56:48.742" v="3135" actId="122"/>
          <ac:spMkLst>
            <pc:docMk/>
            <pc:sldMk cId="2283045370" sldId="2147479600"/>
            <ac:spMk id="89" creationId="{8AE33713-C914-D5A6-E6FC-91BF6C791C72}"/>
          </ac:spMkLst>
        </pc:spChg>
        <pc:spChg chg="del mod">
          <ac:chgData name="Ma, Mandy Hongyang" userId="c8c44b64-cf2b-42a5-ad81-5888bcc9e90b" providerId="ADAL" clId="{E87DE2B3-A1BB-44E1-82F4-A4093DC29FAD}" dt="2023-03-31T08:43:26.027" v="2752" actId="21"/>
          <ac:spMkLst>
            <pc:docMk/>
            <pc:sldMk cId="2283045370" sldId="2147479600"/>
            <ac:spMk id="91" creationId="{FEAEFD95-B80F-996E-BB45-3FC313F2D19B}"/>
          </ac:spMkLst>
        </pc:spChg>
        <pc:spChg chg="del mod">
          <ac:chgData name="Ma, Mandy Hongyang" userId="c8c44b64-cf2b-42a5-ad81-5888bcc9e90b" providerId="ADAL" clId="{E87DE2B3-A1BB-44E1-82F4-A4093DC29FAD}" dt="2023-03-30T13:15:52.602" v="1269" actId="478"/>
          <ac:spMkLst>
            <pc:docMk/>
            <pc:sldMk cId="2283045370" sldId="2147479600"/>
            <ac:spMk id="92" creationId="{21B584A7-9492-8F39-C7FD-B951E2115A83}"/>
          </ac:spMkLst>
        </pc:spChg>
        <pc:spChg chg="add mod">
          <ac:chgData name="Ma, Mandy Hongyang" userId="c8c44b64-cf2b-42a5-ad81-5888bcc9e90b" providerId="ADAL" clId="{E87DE2B3-A1BB-44E1-82F4-A4093DC29FAD}" dt="2023-03-31T08:56:48.742" v="3135" actId="122"/>
          <ac:spMkLst>
            <pc:docMk/>
            <pc:sldMk cId="2283045370" sldId="2147479600"/>
            <ac:spMk id="92" creationId="{F812387A-E7B2-14F4-DB71-D9D41A400611}"/>
          </ac:spMkLst>
        </pc:spChg>
        <pc:spChg chg="mod topLvl">
          <ac:chgData name="Ma, Mandy Hongyang" userId="c8c44b64-cf2b-42a5-ad81-5888bcc9e90b" providerId="ADAL" clId="{E87DE2B3-A1BB-44E1-82F4-A4093DC29FAD}" dt="2023-03-31T08:57:03.123" v="3137" actId="20577"/>
          <ac:spMkLst>
            <pc:docMk/>
            <pc:sldMk cId="2283045370" sldId="2147479600"/>
            <ac:spMk id="93" creationId="{020ACE26-5CC6-9023-8177-D6EEB1AA4EAA}"/>
          </ac:spMkLst>
        </pc:spChg>
        <pc:spChg chg="del mod">
          <ac:chgData name="Ma, Mandy Hongyang" userId="c8c44b64-cf2b-42a5-ad81-5888bcc9e90b" providerId="ADAL" clId="{E87DE2B3-A1BB-44E1-82F4-A4093DC29FAD}" dt="2023-03-30T13:15:46.568" v="1266" actId="478"/>
          <ac:spMkLst>
            <pc:docMk/>
            <pc:sldMk cId="2283045370" sldId="2147479600"/>
            <ac:spMk id="94" creationId="{3D68DA91-999E-AC87-6CE0-4B086500086F}"/>
          </ac:spMkLst>
        </pc:spChg>
        <pc:spChg chg="add mod">
          <ac:chgData name="Ma, Mandy Hongyang" userId="c8c44b64-cf2b-42a5-ad81-5888bcc9e90b" providerId="ADAL" clId="{E87DE2B3-A1BB-44E1-82F4-A4093DC29FAD}" dt="2023-03-31T08:56:48.742" v="3135" actId="122"/>
          <ac:spMkLst>
            <pc:docMk/>
            <pc:sldMk cId="2283045370" sldId="2147479600"/>
            <ac:spMk id="94" creationId="{A96E33BA-627A-A40E-E984-1FFBD6DC6C94}"/>
          </ac:spMkLst>
        </pc:spChg>
        <pc:spChg chg="del topLvl">
          <ac:chgData name="Ma, Mandy Hongyang" userId="c8c44b64-cf2b-42a5-ad81-5888bcc9e90b" providerId="ADAL" clId="{E87DE2B3-A1BB-44E1-82F4-A4093DC29FAD}" dt="2023-03-30T13:13:43.298" v="1246" actId="478"/>
          <ac:spMkLst>
            <pc:docMk/>
            <pc:sldMk cId="2283045370" sldId="2147479600"/>
            <ac:spMk id="95" creationId="{34F01614-2150-7E32-28E0-968E84AF1DAC}"/>
          </ac:spMkLst>
        </pc:spChg>
        <pc:spChg chg="del topLvl">
          <ac:chgData name="Ma, Mandy Hongyang" userId="c8c44b64-cf2b-42a5-ad81-5888bcc9e90b" providerId="ADAL" clId="{E87DE2B3-A1BB-44E1-82F4-A4093DC29FAD}" dt="2023-03-30T13:13:43.861" v="1247" actId="478"/>
          <ac:spMkLst>
            <pc:docMk/>
            <pc:sldMk cId="2283045370" sldId="2147479600"/>
            <ac:spMk id="96" creationId="{3D98A2DA-CC59-0B07-92AD-715ADEAD39DF}"/>
          </ac:spMkLst>
        </pc:spChg>
        <pc:spChg chg="del mod">
          <ac:chgData name="Ma, Mandy Hongyang" userId="c8c44b64-cf2b-42a5-ad81-5888bcc9e90b" providerId="ADAL" clId="{E87DE2B3-A1BB-44E1-82F4-A4093DC29FAD}" dt="2023-03-30T13:14:02.263" v="1252" actId="478"/>
          <ac:spMkLst>
            <pc:docMk/>
            <pc:sldMk cId="2283045370" sldId="2147479600"/>
            <ac:spMk id="97" creationId="{034A0819-9554-E682-4BE0-E705F515277C}"/>
          </ac:spMkLst>
        </pc:spChg>
        <pc:spChg chg="del mod">
          <ac:chgData name="Ma, Mandy Hongyang" userId="c8c44b64-cf2b-42a5-ad81-5888bcc9e90b" providerId="ADAL" clId="{E87DE2B3-A1BB-44E1-82F4-A4093DC29FAD}" dt="2023-03-30T13:14:04.625" v="1253" actId="478"/>
          <ac:spMkLst>
            <pc:docMk/>
            <pc:sldMk cId="2283045370" sldId="2147479600"/>
            <ac:spMk id="98" creationId="{D048216C-3982-415A-F727-2BFAA5D87086}"/>
          </ac:spMkLst>
        </pc:spChg>
        <pc:spChg chg="del mod">
          <ac:chgData name="Ma, Mandy Hongyang" userId="c8c44b64-cf2b-42a5-ad81-5888bcc9e90b" providerId="ADAL" clId="{E87DE2B3-A1BB-44E1-82F4-A4093DC29FAD}" dt="2023-03-31T08:51:19.060" v="2927" actId="478"/>
          <ac:spMkLst>
            <pc:docMk/>
            <pc:sldMk cId="2283045370" sldId="2147479600"/>
            <ac:spMk id="99" creationId="{6825A358-BB95-5816-A287-371E4CFE9A85}"/>
          </ac:spMkLst>
        </pc:spChg>
        <pc:spChg chg="del topLvl">
          <ac:chgData name="Ma, Mandy Hongyang" userId="c8c44b64-cf2b-42a5-ad81-5888bcc9e90b" providerId="ADAL" clId="{E87DE2B3-A1BB-44E1-82F4-A4093DC29FAD}" dt="2023-03-30T13:13:41.307" v="1244" actId="478"/>
          <ac:spMkLst>
            <pc:docMk/>
            <pc:sldMk cId="2283045370" sldId="2147479600"/>
            <ac:spMk id="100" creationId="{CDCCF724-E1E4-3C6E-9D42-048C4F196354}"/>
          </ac:spMkLst>
        </pc:spChg>
        <pc:spChg chg="del topLvl">
          <ac:chgData name="Ma, Mandy Hongyang" userId="c8c44b64-cf2b-42a5-ad81-5888bcc9e90b" providerId="ADAL" clId="{E87DE2B3-A1BB-44E1-82F4-A4093DC29FAD}" dt="2023-03-30T13:13:40.365" v="1243" actId="478"/>
          <ac:spMkLst>
            <pc:docMk/>
            <pc:sldMk cId="2283045370" sldId="2147479600"/>
            <ac:spMk id="101" creationId="{99E840B3-E249-8C58-46C1-BAD0D4E210D1}"/>
          </ac:spMkLst>
        </pc:spChg>
        <pc:spChg chg="del mod">
          <ac:chgData name="Ma, Mandy Hongyang" userId="c8c44b64-cf2b-42a5-ad81-5888bcc9e90b" providerId="ADAL" clId="{E87DE2B3-A1BB-44E1-82F4-A4093DC29FAD}" dt="2023-03-30T13:31:06.695" v="1557" actId="478"/>
          <ac:spMkLst>
            <pc:docMk/>
            <pc:sldMk cId="2283045370" sldId="2147479600"/>
            <ac:spMk id="102" creationId="{27C1BF3F-2BEB-7847-58FA-F9A0A7008D9C}"/>
          </ac:spMkLst>
        </pc:spChg>
        <pc:spChg chg="add del mod">
          <ac:chgData name="Ma, Mandy Hongyang" userId="c8c44b64-cf2b-42a5-ad81-5888bcc9e90b" providerId="ADAL" clId="{E87DE2B3-A1BB-44E1-82F4-A4093DC29FAD}" dt="2023-03-30T13:30:30.682" v="1548" actId="478"/>
          <ac:spMkLst>
            <pc:docMk/>
            <pc:sldMk cId="2283045370" sldId="2147479600"/>
            <ac:spMk id="103" creationId="{5DA75B46-EF76-5934-3260-8A6E72C874FC}"/>
          </ac:spMkLst>
        </pc:spChg>
        <pc:spChg chg="add del mod">
          <ac:chgData name="Ma, Mandy Hongyang" userId="c8c44b64-cf2b-42a5-ad81-5888bcc9e90b" providerId="ADAL" clId="{E87DE2B3-A1BB-44E1-82F4-A4093DC29FAD}" dt="2023-03-31T08:52:12.389" v="2965" actId="478"/>
          <ac:spMkLst>
            <pc:docMk/>
            <pc:sldMk cId="2283045370" sldId="2147479600"/>
            <ac:spMk id="113" creationId="{4CCB2197-6E97-C82D-504B-B276E24FD7D8}"/>
          </ac:spMkLst>
        </pc:spChg>
        <pc:spChg chg="add mod">
          <ac:chgData name="Ma, Mandy Hongyang" userId="c8c44b64-cf2b-42a5-ad81-5888bcc9e90b" providerId="ADAL" clId="{E87DE2B3-A1BB-44E1-82F4-A4093DC29FAD}" dt="2023-03-31T08:55:58.465" v="3074" actId="1038"/>
          <ac:spMkLst>
            <pc:docMk/>
            <pc:sldMk cId="2283045370" sldId="2147479600"/>
            <ac:spMk id="116" creationId="{0C1FC772-72DC-62D5-FFEA-0E517E8CD237}"/>
          </ac:spMkLst>
        </pc:spChg>
        <pc:spChg chg="add mod">
          <ac:chgData name="Ma, Mandy Hongyang" userId="c8c44b64-cf2b-42a5-ad81-5888bcc9e90b" providerId="ADAL" clId="{E87DE2B3-A1BB-44E1-82F4-A4093DC29FAD}" dt="2023-03-30T13:35:44.070" v="1641" actId="14100"/>
          <ac:spMkLst>
            <pc:docMk/>
            <pc:sldMk cId="2283045370" sldId="2147479600"/>
            <ac:spMk id="160" creationId="{5E859BF2-C830-A093-7064-29220EFB5B9E}"/>
          </ac:spMkLst>
        </pc:spChg>
        <pc:spChg chg="add mod">
          <ac:chgData name="Ma, Mandy Hongyang" userId="c8c44b64-cf2b-42a5-ad81-5888bcc9e90b" providerId="ADAL" clId="{E87DE2B3-A1BB-44E1-82F4-A4093DC29FAD}" dt="2023-03-30T13:38:36.670" v="1659" actId="1076"/>
          <ac:spMkLst>
            <pc:docMk/>
            <pc:sldMk cId="2283045370" sldId="2147479600"/>
            <ac:spMk id="161" creationId="{40CD0688-A40C-313C-E8F4-F012757048EB}"/>
          </ac:spMkLst>
        </pc:spChg>
        <pc:spChg chg="add mod">
          <ac:chgData name="Ma, Mandy Hongyang" userId="c8c44b64-cf2b-42a5-ad81-5888bcc9e90b" providerId="ADAL" clId="{E87DE2B3-A1BB-44E1-82F4-A4093DC29FAD}" dt="2023-03-30T13:38:53.246" v="1661" actId="1076"/>
          <ac:spMkLst>
            <pc:docMk/>
            <pc:sldMk cId="2283045370" sldId="2147479600"/>
            <ac:spMk id="162" creationId="{8B9EE866-3120-9A1C-62F0-8D05EB07CB90}"/>
          </ac:spMkLst>
        </pc:spChg>
        <pc:spChg chg="add mod">
          <ac:chgData name="Ma, Mandy Hongyang" userId="c8c44b64-cf2b-42a5-ad81-5888bcc9e90b" providerId="ADAL" clId="{E87DE2B3-A1BB-44E1-82F4-A4093DC29FAD}" dt="2023-03-30T13:38:56.880" v="1663" actId="1076"/>
          <ac:spMkLst>
            <pc:docMk/>
            <pc:sldMk cId="2283045370" sldId="2147479600"/>
            <ac:spMk id="163" creationId="{6F912E37-8D3C-A097-C907-BFF1A8F2DD3C}"/>
          </ac:spMkLst>
        </pc:spChg>
        <pc:grpChg chg="add del mod">
          <ac:chgData name="Ma, Mandy Hongyang" userId="c8c44b64-cf2b-42a5-ad81-5888bcc9e90b" providerId="ADAL" clId="{E87DE2B3-A1BB-44E1-82F4-A4093DC29FAD}" dt="2023-03-30T13:11:24.296" v="1241" actId="478"/>
          <ac:grpSpMkLst>
            <pc:docMk/>
            <pc:sldMk cId="2283045370" sldId="2147479600"/>
            <ac:grpSpMk id="3" creationId="{67776B01-3A41-6B0E-375A-719148FD5C31}"/>
          </ac:grpSpMkLst>
        </pc:grpChg>
        <pc:grpChg chg="del">
          <ac:chgData name="Ma, Mandy Hongyang" userId="c8c44b64-cf2b-42a5-ad81-5888bcc9e90b" providerId="ADAL" clId="{E87DE2B3-A1BB-44E1-82F4-A4093DC29FAD}" dt="2023-03-30T13:13:33.714" v="1242" actId="478"/>
          <ac:grpSpMkLst>
            <pc:docMk/>
            <pc:sldMk cId="2283045370" sldId="2147479600"/>
            <ac:grpSpMk id="13" creationId="{05333B02-1D40-FFBB-16FE-F79C6CEC14E0}"/>
          </ac:grpSpMkLst>
        </pc:grpChg>
        <pc:grpChg chg="del">
          <ac:chgData name="Ma, Mandy Hongyang" userId="c8c44b64-cf2b-42a5-ad81-5888bcc9e90b" providerId="ADAL" clId="{E87DE2B3-A1BB-44E1-82F4-A4093DC29FAD}" dt="2023-03-30T13:13:42.082" v="1245" actId="478"/>
          <ac:grpSpMkLst>
            <pc:docMk/>
            <pc:sldMk cId="2283045370" sldId="2147479600"/>
            <ac:grpSpMk id="14" creationId="{5638179B-B102-0220-247F-DE5CD3D7CAD3}"/>
          </ac:grpSpMkLst>
        </pc:grpChg>
        <pc:grpChg chg="add mod">
          <ac:chgData name="Ma, Mandy Hongyang" userId="c8c44b64-cf2b-42a5-ad81-5888bcc9e90b" providerId="ADAL" clId="{E87DE2B3-A1BB-44E1-82F4-A4093DC29FAD}" dt="2023-03-30T13:15:58.434" v="1270" actId="1076"/>
          <ac:grpSpMkLst>
            <pc:docMk/>
            <pc:sldMk cId="2283045370" sldId="2147479600"/>
            <ac:grpSpMk id="33" creationId="{AD100C24-95D5-33B2-F609-91DEA219E34B}"/>
          </ac:grpSpMkLst>
        </pc:grpChg>
        <pc:grpChg chg="mod">
          <ac:chgData name="Ma, Mandy Hongyang" userId="c8c44b64-cf2b-42a5-ad81-5888bcc9e90b" providerId="ADAL" clId="{E87DE2B3-A1BB-44E1-82F4-A4093DC29FAD}" dt="2023-03-30T13:14:12.867" v="1254"/>
          <ac:grpSpMkLst>
            <pc:docMk/>
            <pc:sldMk cId="2283045370" sldId="2147479600"/>
            <ac:grpSpMk id="35" creationId="{A2E82739-FF28-122E-5416-FDFE8026D276}"/>
          </ac:grpSpMkLst>
        </pc:grpChg>
        <pc:grpChg chg="add mod">
          <ac:chgData name="Ma, Mandy Hongyang" userId="c8c44b64-cf2b-42a5-ad81-5888bcc9e90b" providerId="ADAL" clId="{E87DE2B3-A1BB-44E1-82F4-A4093DC29FAD}" dt="2023-03-31T08:42:54.421" v="2733" actId="1076"/>
          <ac:grpSpMkLst>
            <pc:docMk/>
            <pc:sldMk cId="2283045370" sldId="2147479600"/>
            <ac:grpSpMk id="51" creationId="{9F7355B7-6613-6045-5761-BC4605B59223}"/>
          </ac:grpSpMkLst>
        </pc:grpChg>
        <pc:grpChg chg="add del mod">
          <ac:chgData name="Ma, Mandy Hongyang" userId="c8c44b64-cf2b-42a5-ad81-5888bcc9e90b" providerId="ADAL" clId="{E87DE2B3-A1BB-44E1-82F4-A4093DC29FAD}" dt="2023-03-31T08:53:01.458" v="2983" actId="165"/>
          <ac:grpSpMkLst>
            <pc:docMk/>
            <pc:sldMk cId="2283045370" sldId="2147479600"/>
            <ac:grpSpMk id="81" creationId="{523B2074-2DA1-EF26-50FA-4642DFD18B13}"/>
          </ac:grpSpMkLst>
        </pc:grpChg>
        <pc:grpChg chg="del">
          <ac:chgData name="Ma, Mandy Hongyang" userId="c8c44b64-cf2b-42a5-ad81-5888bcc9e90b" providerId="ADAL" clId="{E87DE2B3-A1BB-44E1-82F4-A4093DC29FAD}" dt="2023-03-30T13:13:40.365" v="1243" actId="478"/>
          <ac:grpSpMkLst>
            <pc:docMk/>
            <pc:sldMk cId="2283045370" sldId="2147479600"/>
            <ac:grpSpMk id="106" creationId="{151D8B97-8354-16EF-E759-F06BA9756263}"/>
          </ac:grpSpMkLst>
        </pc:grpChg>
        <pc:grpChg chg="del">
          <ac:chgData name="Ma, Mandy Hongyang" userId="c8c44b64-cf2b-42a5-ad81-5888bcc9e90b" providerId="ADAL" clId="{E87DE2B3-A1BB-44E1-82F4-A4093DC29FAD}" dt="2023-03-30T13:13:43.298" v="1246" actId="478"/>
          <ac:grpSpMkLst>
            <pc:docMk/>
            <pc:sldMk cId="2283045370" sldId="2147479600"/>
            <ac:grpSpMk id="107" creationId="{BA474D5E-1310-3975-218E-633B02CFEFD4}"/>
          </ac:grpSpMkLst>
        </pc:grpChg>
        <pc:cxnChg chg="add del mod">
          <ac:chgData name="Ma, Mandy Hongyang" userId="c8c44b64-cf2b-42a5-ad81-5888bcc9e90b" providerId="ADAL" clId="{E87DE2B3-A1BB-44E1-82F4-A4093DC29FAD}" dt="2023-03-31T08:49:20.895" v="2835" actId="478"/>
          <ac:cxnSpMkLst>
            <pc:docMk/>
            <pc:sldMk cId="2283045370" sldId="2147479600"/>
            <ac:cxnSpMk id="14" creationId="{BB13999D-F907-8D46-A7E0-71015E5E5FF2}"/>
          </ac:cxnSpMkLst>
        </pc:cxnChg>
        <pc:cxnChg chg="add del mod">
          <ac:chgData name="Ma, Mandy Hongyang" userId="c8c44b64-cf2b-42a5-ad81-5888bcc9e90b" providerId="ADAL" clId="{E87DE2B3-A1BB-44E1-82F4-A4093DC29FAD}" dt="2023-03-31T08:49:20.895" v="2835" actId="478"/>
          <ac:cxnSpMkLst>
            <pc:docMk/>
            <pc:sldMk cId="2283045370" sldId="2147479600"/>
            <ac:cxnSpMk id="15" creationId="{F6526ABC-D024-E120-8049-8BBF62170824}"/>
          </ac:cxnSpMkLst>
        </pc:cxnChg>
        <pc:cxnChg chg="mod">
          <ac:chgData name="Ma, Mandy Hongyang" userId="c8c44b64-cf2b-42a5-ad81-5888bcc9e90b" providerId="ADAL" clId="{E87DE2B3-A1BB-44E1-82F4-A4093DC29FAD}" dt="2023-03-30T13:11:24.296" v="1241" actId="478"/>
          <ac:cxnSpMkLst>
            <pc:docMk/>
            <pc:sldMk cId="2283045370" sldId="2147479600"/>
            <ac:cxnSpMk id="19" creationId="{50F63064-9576-225F-F251-957FF828571D}"/>
          </ac:cxnSpMkLst>
        </pc:cxnChg>
        <pc:cxnChg chg="mod">
          <ac:chgData name="Ma, Mandy Hongyang" userId="c8c44b64-cf2b-42a5-ad81-5888bcc9e90b" providerId="ADAL" clId="{E87DE2B3-A1BB-44E1-82F4-A4093DC29FAD}" dt="2023-03-30T13:11:24.296" v="1241" actId="478"/>
          <ac:cxnSpMkLst>
            <pc:docMk/>
            <pc:sldMk cId="2283045370" sldId="2147479600"/>
            <ac:cxnSpMk id="20" creationId="{DA838B94-5153-E860-EEF8-A867831FF14C}"/>
          </ac:cxnSpMkLst>
        </pc:cxnChg>
        <pc:cxnChg chg="add mod">
          <ac:chgData name="Ma, Mandy Hongyang" userId="c8c44b64-cf2b-42a5-ad81-5888bcc9e90b" providerId="ADAL" clId="{E87DE2B3-A1BB-44E1-82F4-A4093DC29FAD}" dt="2023-03-31T08:55:58.465" v="3074" actId="1038"/>
          <ac:cxnSpMkLst>
            <pc:docMk/>
            <pc:sldMk cId="2283045370" sldId="2147479600"/>
            <ac:cxnSpMk id="22" creationId="{7445BD37-119B-B5F7-5B38-D67BB2D1DCF7}"/>
          </ac:cxnSpMkLst>
        </pc:cxnChg>
        <pc:cxnChg chg="mod">
          <ac:chgData name="Ma, Mandy Hongyang" userId="c8c44b64-cf2b-42a5-ad81-5888bcc9e90b" providerId="ADAL" clId="{E87DE2B3-A1BB-44E1-82F4-A4093DC29FAD}" dt="2023-03-30T13:11:24.296" v="1241" actId="478"/>
          <ac:cxnSpMkLst>
            <pc:docMk/>
            <pc:sldMk cId="2283045370" sldId="2147479600"/>
            <ac:cxnSpMk id="23" creationId="{4F4EB4C2-88A8-213B-FA16-C66A7622A36A}"/>
          </ac:cxnSpMkLst>
        </pc:cxnChg>
        <pc:cxnChg chg="mod">
          <ac:chgData name="Ma, Mandy Hongyang" userId="c8c44b64-cf2b-42a5-ad81-5888bcc9e90b" providerId="ADAL" clId="{E87DE2B3-A1BB-44E1-82F4-A4093DC29FAD}" dt="2023-03-30T13:11:24.296" v="1241" actId="478"/>
          <ac:cxnSpMkLst>
            <pc:docMk/>
            <pc:sldMk cId="2283045370" sldId="2147479600"/>
            <ac:cxnSpMk id="24" creationId="{CA43841D-71F3-A667-AE98-946259485FA5}"/>
          </ac:cxnSpMkLst>
        </pc:cxnChg>
        <pc:cxnChg chg="add mod">
          <ac:chgData name="Ma, Mandy Hongyang" userId="c8c44b64-cf2b-42a5-ad81-5888bcc9e90b" providerId="ADAL" clId="{E87DE2B3-A1BB-44E1-82F4-A4093DC29FAD}" dt="2023-03-31T08:55:58.465" v="3074" actId="1038"/>
          <ac:cxnSpMkLst>
            <pc:docMk/>
            <pc:sldMk cId="2283045370" sldId="2147479600"/>
            <ac:cxnSpMk id="25" creationId="{6B4DE1FB-421C-B8D2-6B87-6F890618A185}"/>
          </ac:cxnSpMkLst>
        </pc:cxnChg>
        <pc:cxnChg chg="mod">
          <ac:chgData name="Ma, Mandy Hongyang" userId="c8c44b64-cf2b-42a5-ad81-5888bcc9e90b" providerId="ADAL" clId="{E87DE2B3-A1BB-44E1-82F4-A4093DC29FAD}" dt="2023-03-30T13:11:24.296" v="1241" actId="478"/>
          <ac:cxnSpMkLst>
            <pc:docMk/>
            <pc:sldMk cId="2283045370" sldId="2147479600"/>
            <ac:cxnSpMk id="25" creationId="{F02CEC7F-7A04-339E-EFF7-2F224C136259}"/>
          </ac:cxnSpMkLst>
        </pc:cxnChg>
        <pc:cxnChg chg="add del mod">
          <ac:chgData name="Ma, Mandy Hongyang" userId="c8c44b64-cf2b-42a5-ad81-5888bcc9e90b" providerId="ADAL" clId="{E87DE2B3-A1BB-44E1-82F4-A4093DC29FAD}" dt="2023-03-30T13:11:24.296" v="1241" actId="478"/>
          <ac:cxnSpMkLst>
            <pc:docMk/>
            <pc:sldMk cId="2283045370" sldId="2147479600"/>
            <ac:cxnSpMk id="31" creationId="{71CC7274-B50A-024E-4A2B-25DD5BBEB18D}"/>
          </ac:cxnSpMkLst>
        </pc:cxnChg>
        <pc:cxnChg chg="del">
          <ac:chgData name="Ma, Mandy Hongyang" userId="c8c44b64-cf2b-42a5-ad81-5888bcc9e90b" providerId="ADAL" clId="{E87DE2B3-A1BB-44E1-82F4-A4093DC29FAD}" dt="2023-03-30T13:13:48.337" v="1249" actId="478"/>
          <ac:cxnSpMkLst>
            <pc:docMk/>
            <pc:sldMk cId="2283045370" sldId="2147479600"/>
            <ac:cxnSpMk id="37" creationId="{832F3C93-EEE1-C02D-0361-1A9746C9BDFC}"/>
          </ac:cxnSpMkLst>
        </pc:cxnChg>
        <pc:cxnChg chg="add del mod">
          <ac:chgData name="Ma, Mandy Hongyang" userId="c8c44b64-cf2b-42a5-ad81-5888bcc9e90b" providerId="ADAL" clId="{E87DE2B3-A1BB-44E1-82F4-A4093DC29FAD}" dt="2023-03-31T08:53:27.038" v="2991" actId="478"/>
          <ac:cxnSpMkLst>
            <pc:docMk/>
            <pc:sldMk cId="2283045370" sldId="2147479600"/>
            <ac:cxnSpMk id="37" creationId="{9D040502-55A8-239E-A635-36FFA2CC53BE}"/>
          </ac:cxnSpMkLst>
        </pc:cxnChg>
        <pc:cxnChg chg="add mod">
          <ac:chgData name="Ma, Mandy Hongyang" userId="c8c44b64-cf2b-42a5-ad81-5888bcc9e90b" providerId="ADAL" clId="{E87DE2B3-A1BB-44E1-82F4-A4093DC29FAD}" dt="2023-03-31T08:55:58.465" v="3074" actId="1038"/>
          <ac:cxnSpMkLst>
            <pc:docMk/>
            <pc:sldMk cId="2283045370" sldId="2147479600"/>
            <ac:cxnSpMk id="43" creationId="{7E64A748-D544-73BA-710D-4513408A80B5}"/>
          </ac:cxnSpMkLst>
        </pc:cxnChg>
        <pc:cxnChg chg="add mod">
          <ac:chgData name="Ma, Mandy Hongyang" userId="c8c44b64-cf2b-42a5-ad81-5888bcc9e90b" providerId="ADAL" clId="{E87DE2B3-A1BB-44E1-82F4-A4093DC29FAD}" dt="2023-03-31T08:55:58.465" v="3074" actId="1038"/>
          <ac:cxnSpMkLst>
            <pc:docMk/>
            <pc:sldMk cId="2283045370" sldId="2147479600"/>
            <ac:cxnSpMk id="54" creationId="{545806EF-A988-6E35-2E33-DFAED133FBB1}"/>
          </ac:cxnSpMkLst>
        </pc:cxnChg>
        <pc:cxnChg chg="mod">
          <ac:chgData name="Ma, Mandy Hongyang" userId="c8c44b64-cf2b-42a5-ad81-5888bcc9e90b" providerId="ADAL" clId="{E87DE2B3-A1BB-44E1-82F4-A4093DC29FAD}" dt="2023-03-30T13:36:21.151" v="1650" actId="408"/>
          <ac:cxnSpMkLst>
            <pc:docMk/>
            <pc:sldMk cId="2283045370" sldId="2147479600"/>
            <ac:cxnSpMk id="56" creationId="{16F2AD42-9852-C47C-8802-E455ECAA8C3C}"/>
          </ac:cxnSpMkLst>
        </pc:cxnChg>
        <pc:cxnChg chg="del mod">
          <ac:chgData name="Ma, Mandy Hongyang" userId="c8c44b64-cf2b-42a5-ad81-5888bcc9e90b" providerId="ADAL" clId="{E87DE2B3-A1BB-44E1-82F4-A4093DC29FAD}" dt="2023-03-30T13:23:27.163" v="1421" actId="478"/>
          <ac:cxnSpMkLst>
            <pc:docMk/>
            <pc:sldMk cId="2283045370" sldId="2147479600"/>
            <ac:cxnSpMk id="57" creationId="{73D33147-8591-D85A-DE13-B434BCE7085A}"/>
          </ac:cxnSpMkLst>
        </pc:cxnChg>
        <pc:cxnChg chg="del mod">
          <ac:chgData name="Ma, Mandy Hongyang" userId="c8c44b64-cf2b-42a5-ad81-5888bcc9e90b" providerId="ADAL" clId="{E87DE2B3-A1BB-44E1-82F4-A4093DC29FAD}" dt="2023-03-30T13:35:03.064" v="1626" actId="478"/>
          <ac:cxnSpMkLst>
            <pc:docMk/>
            <pc:sldMk cId="2283045370" sldId="2147479600"/>
            <ac:cxnSpMk id="60" creationId="{52B5282F-4A0F-6649-F48B-668A27411716}"/>
          </ac:cxnSpMkLst>
        </pc:cxnChg>
        <pc:cxnChg chg="del mod">
          <ac:chgData name="Ma, Mandy Hongyang" userId="c8c44b64-cf2b-42a5-ad81-5888bcc9e90b" providerId="ADAL" clId="{E87DE2B3-A1BB-44E1-82F4-A4093DC29FAD}" dt="2023-03-30T13:35:11.160" v="1629" actId="478"/>
          <ac:cxnSpMkLst>
            <pc:docMk/>
            <pc:sldMk cId="2283045370" sldId="2147479600"/>
            <ac:cxnSpMk id="61" creationId="{5ED21162-D2A7-E51C-520E-AF92E952E661}"/>
          </ac:cxnSpMkLst>
        </pc:cxnChg>
        <pc:cxnChg chg="mod">
          <ac:chgData name="Ma, Mandy Hongyang" userId="c8c44b64-cf2b-42a5-ad81-5888bcc9e90b" providerId="ADAL" clId="{E87DE2B3-A1BB-44E1-82F4-A4093DC29FAD}" dt="2023-03-30T13:36:21.151" v="1650" actId="408"/>
          <ac:cxnSpMkLst>
            <pc:docMk/>
            <pc:sldMk cId="2283045370" sldId="2147479600"/>
            <ac:cxnSpMk id="62" creationId="{AF2C63C5-ECAA-3C80-1597-8763FCA2E37A}"/>
          </ac:cxnSpMkLst>
        </pc:cxnChg>
        <pc:cxnChg chg="add mod">
          <ac:chgData name="Ma, Mandy Hongyang" userId="c8c44b64-cf2b-42a5-ad81-5888bcc9e90b" providerId="ADAL" clId="{E87DE2B3-A1BB-44E1-82F4-A4093DC29FAD}" dt="2023-03-31T08:55:58.465" v="3074" actId="1038"/>
          <ac:cxnSpMkLst>
            <pc:docMk/>
            <pc:sldMk cId="2283045370" sldId="2147479600"/>
            <ac:cxnSpMk id="63" creationId="{F588C43A-0E1F-33A3-61E7-84AECCB04065}"/>
          </ac:cxnSpMkLst>
        </pc:cxnChg>
        <pc:cxnChg chg="add del mod">
          <ac:chgData name="Ma, Mandy Hongyang" userId="c8c44b64-cf2b-42a5-ad81-5888bcc9e90b" providerId="ADAL" clId="{E87DE2B3-A1BB-44E1-82F4-A4093DC29FAD}" dt="2023-03-30T13:14:33.925" v="1260" actId="478"/>
          <ac:cxnSpMkLst>
            <pc:docMk/>
            <pc:sldMk cId="2283045370" sldId="2147479600"/>
            <ac:cxnSpMk id="68" creationId="{7C531F0E-BE53-FD4B-DC1E-45E099E7BAC3}"/>
          </ac:cxnSpMkLst>
        </pc:cxnChg>
        <pc:cxnChg chg="add del mod">
          <ac:chgData name="Ma, Mandy Hongyang" userId="c8c44b64-cf2b-42a5-ad81-5888bcc9e90b" providerId="ADAL" clId="{E87DE2B3-A1BB-44E1-82F4-A4093DC29FAD}" dt="2023-03-30T13:15:32.162" v="1264" actId="478"/>
          <ac:cxnSpMkLst>
            <pc:docMk/>
            <pc:sldMk cId="2283045370" sldId="2147479600"/>
            <ac:cxnSpMk id="69" creationId="{F9695323-55BA-29DE-0E64-59DA6F0A44B3}"/>
          </ac:cxnSpMkLst>
        </pc:cxnChg>
        <pc:cxnChg chg="add mod">
          <ac:chgData name="Ma, Mandy Hongyang" userId="c8c44b64-cf2b-42a5-ad81-5888bcc9e90b" providerId="ADAL" clId="{E87DE2B3-A1BB-44E1-82F4-A4093DC29FAD}" dt="2023-03-31T08:55:58.465" v="3074" actId="1038"/>
          <ac:cxnSpMkLst>
            <pc:docMk/>
            <pc:sldMk cId="2283045370" sldId="2147479600"/>
            <ac:cxnSpMk id="72" creationId="{B71CA69B-6A46-DCE8-7B5E-AFEAF8C6414B}"/>
          </ac:cxnSpMkLst>
        </pc:cxnChg>
        <pc:cxnChg chg="add mod">
          <ac:chgData name="Ma, Mandy Hongyang" userId="c8c44b64-cf2b-42a5-ad81-5888bcc9e90b" providerId="ADAL" clId="{E87DE2B3-A1BB-44E1-82F4-A4093DC29FAD}" dt="2023-03-31T08:55:58.465" v="3074" actId="1038"/>
          <ac:cxnSpMkLst>
            <pc:docMk/>
            <pc:sldMk cId="2283045370" sldId="2147479600"/>
            <ac:cxnSpMk id="77" creationId="{41007A69-210C-6931-51E4-0DCC67A6ED16}"/>
          </ac:cxnSpMkLst>
        </pc:cxnChg>
        <pc:cxnChg chg="mod topLvl">
          <ac:chgData name="Ma, Mandy Hongyang" userId="c8c44b64-cf2b-42a5-ad81-5888bcc9e90b" providerId="ADAL" clId="{E87DE2B3-A1BB-44E1-82F4-A4093DC29FAD}" dt="2023-03-31T08:55:58.465" v="3074" actId="1038"/>
          <ac:cxnSpMkLst>
            <pc:docMk/>
            <pc:sldMk cId="2283045370" sldId="2147479600"/>
            <ac:cxnSpMk id="85" creationId="{34FD9CAA-91A5-76F0-A928-0ED13228C7FC}"/>
          </ac:cxnSpMkLst>
        </pc:cxnChg>
        <pc:cxnChg chg="del mod">
          <ac:chgData name="Ma, Mandy Hongyang" userId="c8c44b64-cf2b-42a5-ad81-5888bcc9e90b" providerId="ADAL" clId="{E87DE2B3-A1BB-44E1-82F4-A4093DC29FAD}" dt="2023-03-30T13:31:32.693" v="1560" actId="478"/>
          <ac:cxnSpMkLst>
            <pc:docMk/>
            <pc:sldMk cId="2283045370" sldId="2147479600"/>
            <ac:cxnSpMk id="88" creationId="{3615DBA2-2AE7-1315-E240-257EBCB3B6BB}"/>
          </ac:cxnSpMkLst>
        </pc:cxnChg>
        <pc:cxnChg chg="del mod">
          <ac:chgData name="Ma, Mandy Hongyang" userId="c8c44b64-cf2b-42a5-ad81-5888bcc9e90b" providerId="ADAL" clId="{E87DE2B3-A1BB-44E1-82F4-A4093DC29FAD}" dt="2023-03-30T13:34:16.379" v="1590" actId="478"/>
          <ac:cxnSpMkLst>
            <pc:docMk/>
            <pc:sldMk cId="2283045370" sldId="2147479600"/>
            <ac:cxnSpMk id="89" creationId="{91A4CA4B-766A-9CA0-0626-BE9EFF4678E2}"/>
          </ac:cxnSpMkLst>
        </pc:cxnChg>
        <pc:cxnChg chg="del mod">
          <ac:chgData name="Ma, Mandy Hongyang" userId="c8c44b64-cf2b-42a5-ad81-5888bcc9e90b" providerId="ADAL" clId="{E87DE2B3-A1BB-44E1-82F4-A4093DC29FAD}" dt="2023-03-31T08:52:27.431" v="2975" actId="478"/>
          <ac:cxnSpMkLst>
            <pc:docMk/>
            <pc:sldMk cId="2283045370" sldId="2147479600"/>
            <ac:cxnSpMk id="90" creationId="{BE0BA734-AACF-833C-E03E-4A8E7D6C1264}"/>
          </ac:cxnSpMkLst>
        </pc:cxnChg>
        <pc:cxnChg chg="add del mod">
          <ac:chgData name="Ma, Mandy Hongyang" userId="c8c44b64-cf2b-42a5-ad81-5888bcc9e90b" providerId="ADAL" clId="{E87DE2B3-A1BB-44E1-82F4-A4093DC29FAD}" dt="2023-03-30T13:34:13.696" v="1589" actId="478"/>
          <ac:cxnSpMkLst>
            <pc:docMk/>
            <pc:sldMk cId="2283045370" sldId="2147479600"/>
            <ac:cxnSpMk id="130" creationId="{6A0A884C-6682-70BF-B87E-F4156E4E0793}"/>
          </ac:cxnSpMkLst>
        </pc:cxnChg>
        <pc:cxnChg chg="add del mod">
          <ac:chgData name="Ma, Mandy Hongyang" userId="c8c44b64-cf2b-42a5-ad81-5888bcc9e90b" providerId="ADAL" clId="{E87DE2B3-A1BB-44E1-82F4-A4093DC29FAD}" dt="2023-03-30T13:34:17.466" v="1591" actId="478"/>
          <ac:cxnSpMkLst>
            <pc:docMk/>
            <pc:sldMk cId="2283045370" sldId="2147479600"/>
            <ac:cxnSpMk id="133" creationId="{53481272-76DE-466C-F10B-3988C1689A0F}"/>
          </ac:cxnSpMkLst>
        </pc:cxnChg>
        <pc:cxnChg chg="add del mod">
          <ac:chgData name="Ma, Mandy Hongyang" userId="c8c44b64-cf2b-42a5-ad81-5888bcc9e90b" providerId="ADAL" clId="{E87DE2B3-A1BB-44E1-82F4-A4093DC29FAD}" dt="2023-03-31T08:52:15.788" v="2968" actId="478"/>
          <ac:cxnSpMkLst>
            <pc:docMk/>
            <pc:sldMk cId="2283045370" sldId="2147479600"/>
            <ac:cxnSpMk id="142" creationId="{52C2694E-D034-E7AF-4D54-15A86A75FC34}"/>
          </ac:cxnSpMkLst>
        </pc:cxnChg>
        <pc:cxnChg chg="add del mod">
          <ac:chgData name="Ma, Mandy Hongyang" userId="c8c44b64-cf2b-42a5-ad81-5888bcc9e90b" providerId="ADAL" clId="{E87DE2B3-A1BB-44E1-82F4-A4093DC29FAD}" dt="2023-03-31T08:52:16.739" v="2969" actId="478"/>
          <ac:cxnSpMkLst>
            <pc:docMk/>
            <pc:sldMk cId="2283045370" sldId="2147479600"/>
            <ac:cxnSpMk id="146" creationId="{1F695657-53C9-693E-5E1F-5859B8D63C4C}"/>
          </ac:cxnSpMkLst>
        </pc:cxnChg>
        <pc:cxnChg chg="add mod">
          <ac:chgData name="Ma, Mandy Hongyang" userId="c8c44b64-cf2b-42a5-ad81-5888bcc9e90b" providerId="ADAL" clId="{E87DE2B3-A1BB-44E1-82F4-A4093DC29FAD}" dt="2023-03-31T08:42:54.421" v="2733" actId="1076"/>
          <ac:cxnSpMkLst>
            <pc:docMk/>
            <pc:sldMk cId="2283045370" sldId="2147479600"/>
            <ac:cxnSpMk id="153" creationId="{FFA986D0-531F-1C65-69DB-696373D1A875}"/>
          </ac:cxnSpMkLst>
        </pc:cxnChg>
      </pc:sldChg>
      <pc:sldChg chg="add del">
        <pc:chgData name="Ma, Mandy Hongyang" userId="c8c44b64-cf2b-42a5-ad81-5888bcc9e90b" providerId="ADAL" clId="{E87DE2B3-A1BB-44E1-82F4-A4093DC29FAD}" dt="2023-03-30T14:17:48.319" v="2732" actId="47"/>
        <pc:sldMkLst>
          <pc:docMk/>
          <pc:sldMk cId="2191632023" sldId="2147479601"/>
        </pc:sldMkLst>
      </pc:sldChg>
      <pc:sldChg chg="add ord">
        <pc:chgData name="Ma, Mandy Hongyang" userId="c8c44b64-cf2b-42a5-ad81-5888bcc9e90b" providerId="ADAL" clId="{E87DE2B3-A1BB-44E1-82F4-A4093DC29FAD}" dt="2023-03-31T09:20:49.158" v="3319"/>
        <pc:sldMkLst>
          <pc:docMk/>
          <pc:sldMk cId="3529416156" sldId="2147479602"/>
        </pc:sldMkLst>
      </pc:sldChg>
      <pc:sldChg chg="ord">
        <pc:chgData name="Ma, Mandy Hongyang" userId="c8c44b64-cf2b-42a5-ad81-5888bcc9e90b" providerId="ADAL" clId="{E87DE2B3-A1BB-44E1-82F4-A4093DC29FAD}" dt="2023-03-31T09:20:49.158" v="3319"/>
        <pc:sldMkLst>
          <pc:docMk/>
          <pc:sldMk cId="4122430690" sldId="2147479619"/>
        </pc:sldMkLst>
      </pc:sldChg>
      <pc:sldChg chg="addSp delSp modSp add mod">
        <pc:chgData name="Ma, Mandy Hongyang" userId="c8c44b64-cf2b-42a5-ad81-5888bcc9e90b" providerId="ADAL" clId="{E87DE2B3-A1BB-44E1-82F4-A4093DC29FAD}" dt="2023-04-10T01:51:11.742" v="3349" actId="1076"/>
        <pc:sldMkLst>
          <pc:docMk/>
          <pc:sldMk cId="3083748365" sldId="2147479667"/>
        </pc:sldMkLst>
        <pc:spChg chg="mod">
          <ac:chgData name="Ma, Mandy Hongyang" userId="c8c44b64-cf2b-42a5-ad81-5888bcc9e90b" providerId="ADAL" clId="{E87DE2B3-A1BB-44E1-82F4-A4093DC29FAD}" dt="2023-04-10T01:44:11.578" v="3338" actId="1076"/>
          <ac:spMkLst>
            <pc:docMk/>
            <pc:sldMk cId="3083748365" sldId="2147479667"/>
            <ac:spMk id="7" creationId="{7DB22AF5-BAC5-902E-F5C8-B86B603DE846}"/>
          </ac:spMkLst>
        </pc:spChg>
        <pc:spChg chg="mod">
          <ac:chgData name="Ma, Mandy Hongyang" userId="c8c44b64-cf2b-42a5-ad81-5888bcc9e90b" providerId="ADAL" clId="{E87DE2B3-A1BB-44E1-82F4-A4093DC29FAD}" dt="2023-04-10T01:44:11.578" v="3338" actId="1076"/>
          <ac:spMkLst>
            <pc:docMk/>
            <pc:sldMk cId="3083748365" sldId="2147479667"/>
            <ac:spMk id="8" creationId="{91AC2D51-2161-8661-1945-3EE380E4E1BA}"/>
          </ac:spMkLst>
        </pc:spChg>
        <pc:spChg chg="mod">
          <ac:chgData name="Ma, Mandy Hongyang" userId="c8c44b64-cf2b-42a5-ad81-5888bcc9e90b" providerId="ADAL" clId="{E87DE2B3-A1BB-44E1-82F4-A4093DC29FAD}" dt="2023-04-10T01:44:11.578" v="3338" actId="1076"/>
          <ac:spMkLst>
            <pc:docMk/>
            <pc:sldMk cId="3083748365" sldId="2147479667"/>
            <ac:spMk id="9" creationId="{0A84FDE8-FCF8-2DF5-B5BF-6A5DCD206B12}"/>
          </ac:spMkLst>
        </pc:spChg>
        <pc:spChg chg="mod">
          <ac:chgData name="Ma, Mandy Hongyang" userId="c8c44b64-cf2b-42a5-ad81-5888bcc9e90b" providerId="ADAL" clId="{E87DE2B3-A1BB-44E1-82F4-A4093DC29FAD}" dt="2023-04-10T01:44:11.578" v="3338" actId="1076"/>
          <ac:spMkLst>
            <pc:docMk/>
            <pc:sldMk cId="3083748365" sldId="2147479667"/>
            <ac:spMk id="10" creationId="{7C112D3C-A170-C5DA-72CE-C6599B5C9BA0}"/>
          </ac:spMkLst>
        </pc:spChg>
        <pc:spChg chg="mod">
          <ac:chgData name="Ma, Mandy Hongyang" userId="c8c44b64-cf2b-42a5-ad81-5888bcc9e90b" providerId="ADAL" clId="{E87DE2B3-A1BB-44E1-82F4-A4093DC29FAD}" dt="2023-04-10T01:44:11.578" v="3338" actId="1076"/>
          <ac:spMkLst>
            <pc:docMk/>
            <pc:sldMk cId="3083748365" sldId="2147479667"/>
            <ac:spMk id="11" creationId="{DDE2A1E0-4BD9-F0F2-A8BB-B3E97ECBBB14}"/>
          </ac:spMkLst>
        </pc:spChg>
        <pc:spChg chg="mod">
          <ac:chgData name="Ma, Mandy Hongyang" userId="c8c44b64-cf2b-42a5-ad81-5888bcc9e90b" providerId="ADAL" clId="{E87DE2B3-A1BB-44E1-82F4-A4093DC29FAD}" dt="2023-04-10T01:44:11.578" v="3338" actId="1076"/>
          <ac:spMkLst>
            <pc:docMk/>
            <pc:sldMk cId="3083748365" sldId="2147479667"/>
            <ac:spMk id="12" creationId="{394C7ED8-678D-FE15-F153-7B7A84033A2B}"/>
          </ac:spMkLst>
        </pc:spChg>
        <pc:spChg chg="mod">
          <ac:chgData name="Ma, Mandy Hongyang" userId="c8c44b64-cf2b-42a5-ad81-5888bcc9e90b" providerId="ADAL" clId="{E87DE2B3-A1BB-44E1-82F4-A4093DC29FAD}" dt="2023-04-10T01:51:06.254" v="3347" actId="1076"/>
          <ac:spMkLst>
            <pc:docMk/>
            <pc:sldMk cId="3083748365" sldId="2147479667"/>
            <ac:spMk id="13" creationId="{DEDDEE1E-CA50-A531-01DC-E660B780AE73}"/>
          </ac:spMkLst>
        </pc:spChg>
        <pc:spChg chg="mod">
          <ac:chgData name="Ma, Mandy Hongyang" userId="c8c44b64-cf2b-42a5-ad81-5888bcc9e90b" providerId="ADAL" clId="{E87DE2B3-A1BB-44E1-82F4-A4093DC29FAD}" dt="2023-04-10T01:44:11.578" v="3338" actId="1076"/>
          <ac:spMkLst>
            <pc:docMk/>
            <pc:sldMk cId="3083748365" sldId="2147479667"/>
            <ac:spMk id="15" creationId="{4CF9433E-2310-DE83-2E19-F17CDC19CF82}"/>
          </ac:spMkLst>
        </pc:spChg>
        <pc:spChg chg="add del mod">
          <ac:chgData name="Ma, Mandy Hongyang" userId="c8c44b64-cf2b-42a5-ad81-5888bcc9e90b" providerId="ADAL" clId="{E87DE2B3-A1BB-44E1-82F4-A4093DC29FAD}" dt="2023-04-10T01:44:43.482" v="3345" actId="478"/>
          <ac:spMkLst>
            <pc:docMk/>
            <pc:sldMk cId="3083748365" sldId="2147479667"/>
            <ac:spMk id="22" creationId="{171328AC-8B28-0B9D-5301-DED210D9941C}"/>
          </ac:spMkLst>
        </pc:spChg>
        <pc:spChg chg="add del mod">
          <ac:chgData name="Ma, Mandy Hongyang" userId="c8c44b64-cf2b-42a5-ad81-5888bcc9e90b" providerId="ADAL" clId="{E87DE2B3-A1BB-44E1-82F4-A4093DC29FAD}" dt="2023-04-10T01:44:43.265" v="3344" actId="478"/>
          <ac:spMkLst>
            <pc:docMk/>
            <pc:sldMk cId="3083748365" sldId="2147479667"/>
            <ac:spMk id="24" creationId="{EC2AF732-5463-12C5-569C-B0DFD96B09C8}"/>
          </ac:spMkLst>
        </pc:spChg>
        <pc:spChg chg="add mod">
          <ac:chgData name="Ma, Mandy Hongyang" userId="c8c44b64-cf2b-42a5-ad81-5888bcc9e90b" providerId="ADAL" clId="{E87DE2B3-A1BB-44E1-82F4-A4093DC29FAD}" dt="2023-04-10T01:44:26.444" v="3341" actId="1076"/>
          <ac:spMkLst>
            <pc:docMk/>
            <pc:sldMk cId="3083748365" sldId="2147479667"/>
            <ac:spMk id="42" creationId="{FFB19AAF-BE32-55E9-30C1-1307C81B111B}"/>
          </ac:spMkLst>
        </pc:spChg>
        <pc:spChg chg="mod">
          <ac:chgData name="Ma, Mandy Hongyang" userId="c8c44b64-cf2b-42a5-ad81-5888bcc9e90b" providerId="ADAL" clId="{E87DE2B3-A1BB-44E1-82F4-A4093DC29FAD}" dt="2023-04-10T01:44:11.578" v="3338" actId="1076"/>
          <ac:spMkLst>
            <pc:docMk/>
            <pc:sldMk cId="3083748365" sldId="2147479667"/>
            <ac:spMk id="43" creationId="{63B4EB4D-803B-B99B-F427-61856A1A5984}"/>
          </ac:spMkLst>
        </pc:spChg>
        <pc:spChg chg="add mod">
          <ac:chgData name="Ma, Mandy Hongyang" userId="c8c44b64-cf2b-42a5-ad81-5888bcc9e90b" providerId="ADAL" clId="{E87DE2B3-A1BB-44E1-82F4-A4093DC29FAD}" dt="2023-04-10T01:44:26.444" v="3341" actId="1076"/>
          <ac:spMkLst>
            <pc:docMk/>
            <pc:sldMk cId="3083748365" sldId="2147479667"/>
            <ac:spMk id="45" creationId="{DB528820-D7FF-C53B-AE08-1CA29824E965}"/>
          </ac:spMkLst>
        </pc:spChg>
        <pc:spChg chg="mod">
          <ac:chgData name="Ma, Mandy Hongyang" userId="c8c44b64-cf2b-42a5-ad81-5888bcc9e90b" providerId="ADAL" clId="{E87DE2B3-A1BB-44E1-82F4-A4093DC29FAD}" dt="2023-04-10T01:51:09.328" v="3348" actId="1076"/>
          <ac:spMkLst>
            <pc:docMk/>
            <pc:sldMk cId="3083748365" sldId="2147479667"/>
            <ac:spMk id="54" creationId="{54B97630-6241-36C2-FFE8-A75A6011F381}"/>
          </ac:spMkLst>
        </pc:spChg>
        <pc:spChg chg="mod">
          <ac:chgData name="Ma, Mandy Hongyang" userId="c8c44b64-cf2b-42a5-ad81-5888bcc9e90b" providerId="ADAL" clId="{E87DE2B3-A1BB-44E1-82F4-A4093DC29FAD}" dt="2023-04-10T01:51:11.742" v="3349" actId="1076"/>
          <ac:spMkLst>
            <pc:docMk/>
            <pc:sldMk cId="3083748365" sldId="2147479667"/>
            <ac:spMk id="57" creationId="{0D8ACFED-24A3-854F-7A43-37B500AEA3B7}"/>
          </ac:spMkLst>
        </pc:spChg>
        <pc:spChg chg="mod">
          <ac:chgData name="Ma, Mandy Hongyang" userId="c8c44b64-cf2b-42a5-ad81-5888bcc9e90b" providerId="ADAL" clId="{E87DE2B3-A1BB-44E1-82F4-A4093DC29FAD}" dt="2023-04-10T01:43:58.476" v="3337" actId="1076"/>
          <ac:spMkLst>
            <pc:docMk/>
            <pc:sldMk cId="3083748365" sldId="2147479667"/>
            <ac:spMk id="61" creationId="{3BC0909C-192F-24F4-4945-CCD30F696A08}"/>
          </ac:spMkLst>
        </pc:spChg>
        <pc:spChg chg="mod">
          <ac:chgData name="Ma, Mandy Hongyang" userId="c8c44b64-cf2b-42a5-ad81-5888bcc9e90b" providerId="ADAL" clId="{E87DE2B3-A1BB-44E1-82F4-A4093DC29FAD}" dt="2023-04-10T01:40:59.731" v="3334" actId="20577"/>
          <ac:spMkLst>
            <pc:docMk/>
            <pc:sldMk cId="3083748365" sldId="2147479667"/>
            <ac:spMk id="62" creationId="{D0A540FA-02CA-2729-343D-ACD21C960C1B}"/>
          </ac:spMkLst>
        </pc:spChg>
        <pc:spChg chg="mod">
          <ac:chgData name="Ma, Mandy Hongyang" userId="c8c44b64-cf2b-42a5-ad81-5888bcc9e90b" providerId="ADAL" clId="{E87DE2B3-A1BB-44E1-82F4-A4093DC29FAD}" dt="2023-04-10T01:44:19.111" v="3339" actId="1076"/>
          <ac:spMkLst>
            <pc:docMk/>
            <pc:sldMk cId="3083748365" sldId="2147479667"/>
            <ac:spMk id="63" creationId="{F5ADB45B-B6B8-A873-767B-EFC33CC8D182}"/>
          </ac:spMkLst>
        </pc:spChg>
        <pc:spChg chg="mod">
          <ac:chgData name="Ma, Mandy Hongyang" userId="c8c44b64-cf2b-42a5-ad81-5888bcc9e90b" providerId="ADAL" clId="{E87DE2B3-A1BB-44E1-82F4-A4093DC29FAD}" dt="2023-04-10T01:43:58.476" v="3337" actId="1076"/>
          <ac:spMkLst>
            <pc:docMk/>
            <pc:sldMk cId="3083748365" sldId="2147479667"/>
            <ac:spMk id="67" creationId="{7F551EA3-7122-523E-54D1-33A217CD05DC}"/>
          </ac:spMkLst>
        </pc:spChg>
        <pc:spChg chg="mod">
          <ac:chgData name="Ma, Mandy Hongyang" userId="c8c44b64-cf2b-42a5-ad81-5888bcc9e90b" providerId="ADAL" clId="{E87DE2B3-A1BB-44E1-82F4-A4093DC29FAD}" dt="2023-04-06T07:19:06.387" v="3322" actId="20577"/>
          <ac:spMkLst>
            <pc:docMk/>
            <pc:sldMk cId="3083748365" sldId="2147479667"/>
            <ac:spMk id="68" creationId="{F4278DE9-3955-53EB-9783-BF9CF760E40D}"/>
          </ac:spMkLst>
        </pc:spChg>
        <pc:spChg chg="mod">
          <ac:chgData name="Ma, Mandy Hongyang" userId="c8c44b64-cf2b-42a5-ad81-5888bcc9e90b" providerId="ADAL" clId="{E87DE2B3-A1BB-44E1-82F4-A4093DC29FAD}" dt="2023-04-10T01:44:11.578" v="3338" actId="1076"/>
          <ac:spMkLst>
            <pc:docMk/>
            <pc:sldMk cId="3083748365" sldId="2147479667"/>
            <ac:spMk id="73" creationId="{6E65EC3F-FF48-9B95-A785-B384250A13B2}"/>
          </ac:spMkLst>
        </pc:spChg>
        <pc:grpChg chg="mod">
          <ac:chgData name="Ma, Mandy Hongyang" userId="c8c44b64-cf2b-42a5-ad81-5888bcc9e90b" providerId="ADAL" clId="{E87DE2B3-A1BB-44E1-82F4-A4093DC29FAD}" dt="2023-04-10T01:44:19.111" v="3339" actId="1076"/>
          <ac:grpSpMkLst>
            <pc:docMk/>
            <pc:sldMk cId="3083748365" sldId="2147479667"/>
            <ac:grpSpMk id="6" creationId="{1D8E1593-11E0-54C5-E190-C88203F0DDB6}"/>
          </ac:grpSpMkLst>
        </pc:grpChg>
      </pc:sldChg>
      <pc:sldChg chg="add mod modShow">
        <pc:chgData name="Ma, Mandy Hongyang" userId="c8c44b64-cf2b-42a5-ad81-5888bcc9e90b" providerId="ADAL" clId="{E87DE2B3-A1BB-44E1-82F4-A4093DC29FAD}" dt="2023-04-10T01:43:42.708" v="3336" actId="729"/>
        <pc:sldMkLst>
          <pc:docMk/>
          <pc:sldMk cId="3001350397" sldId="2147479670"/>
        </pc:sldMkLst>
      </pc:sldChg>
      <pc:sldChg chg="mod ord modShow">
        <pc:chgData name="Ma, Mandy Hongyang" userId="c8c44b64-cf2b-42a5-ad81-5888bcc9e90b" providerId="ADAL" clId="{E87DE2B3-A1BB-44E1-82F4-A4093DC29FAD}" dt="2023-04-13T05:46:28.838" v="3352" actId="729"/>
        <pc:sldMkLst>
          <pc:docMk/>
          <pc:sldMk cId="958827785" sldId="2147479677"/>
        </pc:sldMkLst>
      </pc:sldChg>
      <pc:sldChg chg="add mod modShow">
        <pc:chgData name="Ma, Mandy Hongyang" userId="c8c44b64-cf2b-42a5-ad81-5888bcc9e90b" providerId="ADAL" clId="{E87DE2B3-A1BB-44E1-82F4-A4093DC29FAD}" dt="2023-04-14T03:41:49.444" v="3377" actId="729"/>
        <pc:sldMkLst>
          <pc:docMk/>
          <pc:sldMk cId="3436245431" sldId="2147479678"/>
        </pc:sldMkLst>
      </pc:sldChg>
      <pc:sldChg chg="modSp add del mod">
        <pc:chgData name="Ma, Mandy Hongyang" userId="c8c44b64-cf2b-42a5-ad81-5888bcc9e90b" providerId="ADAL" clId="{E87DE2B3-A1BB-44E1-82F4-A4093DC29FAD}" dt="2023-04-14T03:41:42.551" v="3375" actId="2696"/>
        <pc:sldMkLst>
          <pc:docMk/>
          <pc:sldMk cId="3508984705" sldId="2147479678"/>
        </pc:sldMkLst>
        <pc:spChg chg="mod">
          <ac:chgData name="Ma, Mandy Hongyang" userId="c8c44b64-cf2b-42a5-ad81-5888bcc9e90b" providerId="ADAL" clId="{E87DE2B3-A1BB-44E1-82F4-A4093DC29FAD}" dt="2023-04-13T06:41:04.682" v="3372" actId="20577"/>
          <ac:spMkLst>
            <pc:docMk/>
            <pc:sldMk cId="3508984705" sldId="2147479678"/>
            <ac:spMk id="15" creationId="{4CF9433E-2310-DE83-2E19-F17CDC19CF82}"/>
          </ac:spMkLst>
        </pc:spChg>
      </pc:sldChg>
      <pc:sldChg chg="modSp add del">
        <pc:chgData name="Ma, Mandy Hongyang" userId="c8c44b64-cf2b-42a5-ad81-5888bcc9e90b" providerId="ADAL" clId="{E87DE2B3-A1BB-44E1-82F4-A4093DC29FAD}" dt="2023-04-19T06:18:37.409" v="3382"/>
        <pc:sldMkLst>
          <pc:docMk/>
          <pc:sldMk cId="1017949021" sldId="2147479688"/>
        </pc:sldMkLst>
        <pc:spChg chg="mod">
          <ac:chgData name="Ma, Mandy Hongyang" userId="c8c44b64-cf2b-42a5-ad81-5888bcc9e90b" providerId="ADAL" clId="{E87DE2B3-A1BB-44E1-82F4-A4093DC29FAD}" dt="2023-04-19T06:18:37.409" v="3382"/>
          <ac:spMkLst>
            <pc:docMk/>
            <pc:sldMk cId="1017949021" sldId="2147479688"/>
            <ac:spMk id="2" creationId="{613E9A57-CB75-5562-65AA-BBEC656EC238}"/>
          </ac:spMkLst>
        </pc:spChg>
      </pc:sldChg>
      <pc:sldChg chg="add mod modShow">
        <pc:chgData name="Ma, Mandy Hongyang" userId="c8c44b64-cf2b-42a5-ad81-5888bcc9e90b" providerId="ADAL" clId="{E87DE2B3-A1BB-44E1-82F4-A4093DC29FAD}" dt="2023-04-17T01:34:28.202" v="3379" actId="729"/>
        <pc:sldMkLst>
          <pc:docMk/>
          <pc:sldMk cId="3163395216" sldId="2147479723"/>
        </pc:sldMkLst>
      </pc:sldChg>
      <pc:sldChg chg="modSp add del">
        <pc:chgData name="Ma, Mandy Hongyang" userId="c8c44b64-cf2b-42a5-ad81-5888bcc9e90b" providerId="ADAL" clId="{E87DE2B3-A1BB-44E1-82F4-A4093DC29FAD}" dt="2023-04-19T06:18:39.366" v="3383" actId="2696"/>
        <pc:sldMkLst>
          <pc:docMk/>
          <pc:sldMk cId="1484323689" sldId="2147479724"/>
        </pc:sldMkLst>
        <pc:spChg chg="mod">
          <ac:chgData name="Ma, Mandy Hongyang" userId="c8c44b64-cf2b-42a5-ad81-5888bcc9e90b" providerId="ADAL" clId="{E87DE2B3-A1BB-44E1-82F4-A4093DC29FAD}" dt="2023-04-17T01:34:37.256" v="3380"/>
          <ac:spMkLst>
            <pc:docMk/>
            <pc:sldMk cId="1484323689" sldId="2147479724"/>
            <ac:spMk id="2" creationId="{613E9A57-CB75-5562-65AA-BBEC656EC238}"/>
          </ac:spMkLst>
        </pc:spChg>
      </pc:sldChg>
      <pc:sldChg chg="add mod modShow">
        <pc:chgData name="Ma, Mandy Hongyang" userId="c8c44b64-cf2b-42a5-ad81-5888bcc9e90b" providerId="ADAL" clId="{E87DE2B3-A1BB-44E1-82F4-A4093DC29FAD}" dt="2023-04-19T06:18:44.072" v="3385" actId="729"/>
        <pc:sldMkLst>
          <pc:docMk/>
          <pc:sldMk cId="3362558633" sldId="2147479724"/>
        </pc:sldMkLst>
      </pc:sldChg>
    </pc:docChg>
  </pc:docChgLst>
  <pc:docChgLst>
    <pc:chgData name="Ma, Mandy Hongyang" userId="c8c44b64-cf2b-42a5-ad81-5888bcc9e90b" providerId="ADAL" clId="{5B7DD70F-423A-4C9F-9DE0-C8CA962E8E77}"/>
    <pc:docChg chg="undo custSel addSld delSld modSld sldOrd">
      <pc:chgData name="Ma, Mandy Hongyang" userId="c8c44b64-cf2b-42a5-ad81-5888bcc9e90b" providerId="ADAL" clId="{5B7DD70F-423A-4C9F-9DE0-C8CA962E8E77}" dt="2023-03-23T10:19:04.670" v="4644" actId="20577"/>
      <pc:docMkLst>
        <pc:docMk/>
      </pc:docMkLst>
      <pc:sldChg chg="ord">
        <pc:chgData name="Ma, Mandy Hongyang" userId="c8c44b64-cf2b-42a5-ad81-5888bcc9e90b" providerId="ADAL" clId="{5B7DD70F-423A-4C9F-9DE0-C8CA962E8E77}" dt="2023-03-23T01:31:56.735" v="1"/>
        <pc:sldMkLst>
          <pc:docMk/>
          <pc:sldMk cId="1401306855" sldId="2147474143"/>
        </pc:sldMkLst>
      </pc:sldChg>
      <pc:sldChg chg="addSp modSp mod">
        <pc:chgData name="Ma, Mandy Hongyang" userId="c8c44b64-cf2b-42a5-ad81-5888bcc9e90b" providerId="ADAL" clId="{5B7DD70F-423A-4C9F-9DE0-C8CA962E8E77}" dt="2023-03-23T05:41:24.308" v="1515" actId="14100"/>
        <pc:sldMkLst>
          <pc:docMk/>
          <pc:sldMk cId="3872608267" sldId="2147479198"/>
        </pc:sldMkLst>
        <pc:spChg chg="add mod">
          <ac:chgData name="Ma, Mandy Hongyang" userId="c8c44b64-cf2b-42a5-ad81-5888bcc9e90b" providerId="ADAL" clId="{5B7DD70F-423A-4C9F-9DE0-C8CA962E8E77}" dt="2023-03-23T05:38:29.864" v="1458" actId="1076"/>
          <ac:spMkLst>
            <pc:docMk/>
            <pc:sldMk cId="3872608267" sldId="2147479198"/>
            <ac:spMk id="7" creationId="{3142965B-0D4B-9FEE-6167-860A0C5A3E52}"/>
          </ac:spMkLst>
        </pc:spChg>
        <pc:spChg chg="add mod">
          <ac:chgData name="Ma, Mandy Hongyang" userId="c8c44b64-cf2b-42a5-ad81-5888bcc9e90b" providerId="ADAL" clId="{5B7DD70F-423A-4C9F-9DE0-C8CA962E8E77}" dt="2023-03-23T05:39:20.313" v="1504" actId="1076"/>
          <ac:spMkLst>
            <pc:docMk/>
            <pc:sldMk cId="3872608267" sldId="2147479198"/>
            <ac:spMk id="10" creationId="{33EC9261-A3CC-4D43-F1E6-095C18889AF0}"/>
          </ac:spMkLst>
        </pc:spChg>
        <pc:graphicFrameChg chg="add mod modGraphic">
          <ac:chgData name="Ma, Mandy Hongyang" userId="c8c44b64-cf2b-42a5-ad81-5888bcc9e90b" providerId="ADAL" clId="{5B7DD70F-423A-4C9F-9DE0-C8CA962E8E77}" dt="2023-03-23T05:38:26.082" v="1457" actId="1076"/>
          <ac:graphicFrameMkLst>
            <pc:docMk/>
            <pc:sldMk cId="3872608267" sldId="2147479198"/>
            <ac:graphicFrameMk id="5" creationId="{6433BA20-C636-C455-4DFD-EBA9454D3E07}"/>
          </ac:graphicFrameMkLst>
        </pc:graphicFrameChg>
        <pc:graphicFrameChg chg="mod modGraphic">
          <ac:chgData name="Ma, Mandy Hongyang" userId="c8c44b64-cf2b-42a5-ad81-5888bcc9e90b" providerId="ADAL" clId="{5B7DD70F-423A-4C9F-9DE0-C8CA962E8E77}" dt="2023-03-23T05:41:24.308" v="1515" actId="14100"/>
          <ac:graphicFrameMkLst>
            <pc:docMk/>
            <pc:sldMk cId="3872608267" sldId="2147479198"/>
            <ac:graphicFrameMk id="6" creationId="{91A767DE-3033-7506-C44C-D9D640121202}"/>
          </ac:graphicFrameMkLst>
        </pc:graphicFrameChg>
        <pc:picChg chg="add mod">
          <ac:chgData name="Ma, Mandy Hongyang" userId="c8c44b64-cf2b-42a5-ad81-5888bcc9e90b" providerId="ADAL" clId="{5B7DD70F-423A-4C9F-9DE0-C8CA962E8E77}" dt="2023-03-23T05:39:22.192" v="1505" actId="1076"/>
          <ac:picMkLst>
            <pc:docMk/>
            <pc:sldMk cId="3872608267" sldId="2147479198"/>
            <ac:picMk id="9" creationId="{0CAC94CB-4191-B9E3-8510-76171A421A96}"/>
          </ac:picMkLst>
        </pc:picChg>
        <pc:picChg chg="add mod">
          <ac:chgData name="Ma, Mandy Hongyang" userId="c8c44b64-cf2b-42a5-ad81-5888bcc9e90b" providerId="ADAL" clId="{5B7DD70F-423A-4C9F-9DE0-C8CA962E8E77}" dt="2023-03-23T05:39:30.942" v="1508" actId="1076"/>
          <ac:picMkLst>
            <pc:docMk/>
            <pc:sldMk cId="3872608267" sldId="2147479198"/>
            <ac:picMk id="12" creationId="{A0F6C641-EE6E-3CAE-A801-72444B9E560A}"/>
          </ac:picMkLst>
        </pc:picChg>
        <pc:picChg chg="add mod">
          <ac:chgData name="Ma, Mandy Hongyang" userId="c8c44b64-cf2b-42a5-ad81-5888bcc9e90b" providerId="ADAL" clId="{5B7DD70F-423A-4C9F-9DE0-C8CA962E8E77}" dt="2023-03-23T05:39:44.671" v="1513" actId="1076"/>
          <ac:picMkLst>
            <pc:docMk/>
            <pc:sldMk cId="3872608267" sldId="2147479198"/>
            <ac:picMk id="14" creationId="{7ACB0C9C-0E31-FAEA-E091-2E6093E90DD0}"/>
          </ac:picMkLst>
        </pc:picChg>
      </pc:sldChg>
      <pc:sldChg chg="modSp mod">
        <pc:chgData name="Ma, Mandy Hongyang" userId="c8c44b64-cf2b-42a5-ad81-5888bcc9e90b" providerId="ADAL" clId="{5B7DD70F-423A-4C9F-9DE0-C8CA962E8E77}" dt="2023-03-23T10:19:04.670" v="4644" actId="20577"/>
        <pc:sldMkLst>
          <pc:docMk/>
          <pc:sldMk cId="1739901954" sldId="2147479199"/>
        </pc:sldMkLst>
        <pc:graphicFrameChg chg="mod modGraphic">
          <ac:chgData name="Ma, Mandy Hongyang" userId="c8c44b64-cf2b-42a5-ad81-5888bcc9e90b" providerId="ADAL" clId="{5B7DD70F-423A-4C9F-9DE0-C8CA962E8E77}" dt="2023-03-23T10:19:04.670" v="4644" actId="20577"/>
          <ac:graphicFrameMkLst>
            <pc:docMk/>
            <pc:sldMk cId="1739901954" sldId="2147479199"/>
            <ac:graphicFrameMk id="5" creationId="{AC3AAA03-45B4-A976-9A3F-E8F1CDCFDCA2}"/>
          </ac:graphicFrameMkLst>
        </pc:graphicFrameChg>
      </pc:sldChg>
      <pc:sldChg chg="addSp modSp mod">
        <pc:chgData name="Ma, Mandy Hongyang" userId="c8c44b64-cf2b-42a5-ad81-5888bcc9e90b" providerId="ADAL" clId="{5B7DD70F-423A-4C9F-9DE0-C8CA962E8E77}" dt="2023-03-23T10:13:43.993" v="4587" actId="20577"/>
        <pc:sldMkLst>
          <pc:docMk/>
          <pc:sldMk cId="3201368661" sldId="2147479201"/>
        </pc:sldMkLst>
        <pc:spChg chg="add mod">
          <ac:chgData name="Ma, Mandy Hongyang" userId="c8c44b64-cf2b-42a5-ad81-5888bcc9e90b" providerId="ADAL" clId="{5B7DD70F-423A-4C9F-9DE0-C8CA962E8E77}" dt="2023-03-23T10:13:43.993" v="4587" actId="20577"/>
          <ac:spMkLst>
            <pc:docMk/>
            <pc:sldMk cId="3201368661" sldId="2147479201"/>
            <ac:spMk id="6" creationId="{45D886EF-11D6-4B98-BEB6-CE2B64677DDE}"/>
          </ac:spMkLst>
        </pc:spChg>
        <pc:graphicFrameChg chg="mod modGraphic">
          <ac:chgData name="Ma, Mandy Hongyang" userId="c8c44b64-cf2b-42a5-ad81-5888bcc9e90b" providerId="ADAL" clId="{5B7DD70F-423A-4C9F-9DE0-C8CA962E8E77}" dt="2023-03-23T10:02:40.289" v="4371" actId="1076"/>
          <ac:graphicFrameMkLst>
            <pc:docMk/>
            <pc:sldMk cId="3201368661" sldId="2147479201"/>
            <ac:graphicFrameMk id="5" creationId="{9E296B13-D1C2-B83C-7EB6-1EB33B5ADEF8}"/>
          </ac:graphicFrameMkLst>
        </pc:graphicFrameChg>
      </pc:sldChg>
      <pc:sldChg chg="addSp delSp modSp add del mod">
        <pc:chgData name="Ma, Mandy Hongyang" userId="c8c44b64-cf2b-42a5-ad81-5888bcc9e90b" providerId="ADAL" clId="{5B7DD70F-423A-4C9F-9DE0-C8CA962E8E77}" dt="2023-03-23T10:03:45.971" v="4534" actId="47"/>
        <pc:sldMkLst>
          <pc:docMk/>
          <pc:sldMk cId="2338328786" sldId="2147479586"/>
        </pc:sldMkLst>
        <pc:spChg chg="mod">
          <ac:chgData name="Ma, Mandy Hongyang" userId="c8c44b64-cf2b-42a5-ad81-5888bcc9e90b" providerId="ADAL" clId="{5B7DD70F-423A-4C9F-9DE0-C8CA962E8E77}" dt="2023-03-23T06:44:45.119" v="2407" actId="20577"/>
          <ac:spMkLst>
            <pc:docMk/>
            <pc:sldMk cId="2338328786" sldId="2147479586"/>
            <ac:spMk id="2" creationId="{7756B8F4-874A-CFB5-B37C-9B912FD9E344}"/>
          </ac:spMkLst>
        </pc:spChg>
        <pc:spChg chg="add mod">
          <ac:chgData name="Ma, Mandy Hongyang" userId="c8c44b64-cf2b-42a5-ad81-5888bcc9e90b" providerId="ADAL" clId="{5B7DD70F-423A-4C9F-9DE0-C8CA962E8E77}" dt="2023-03-23T07:01:58.164" v="3119" actId="1076"/>
          <ac:spMkLst>
            <pc:docMk/>
            <pc:sldMk cId="2338328786" sldId="2147479586"/>
            <ac:spMk id="6" creationId="{ECE1E1BE-C4A5-6D15-E5B3-4C193091B31D}"/>
          </ac:spMkLst>
        </pc:spChg>
        <pc:spChg chg="add del mod">
          <ac:chgData name="Ma, Mandy Hongyang" userId="c8c44b64-cf2b-42a5-ad81-5888bcc9e90b" providerId="ADAL" clId="{5B7DD70F-423A-4C9F-9DE0-C8CA962E8E77}" dt="2023-03-23T06:41:43.997" v="2260" actId="478"/>
          <ac:spMkLst>
            <pc:docMk/>
            <pc:sldMk cId="2338328786" sldId="2147479586"/>
            <ac:spMk id="8" creationId="{73450615-6869-AD54-4FB1-F09D15BE3AE4}"/>
          </ac:spMkLst>
        </pc:spChg>
        <pc:spChg chg="add mod">
          <ac:chgData name="Ma, Mandy Hongyang" userId="c8c44b64-cf2b-42a5-ad81-5888bcc9e90b" providerId="ADAL" clId="{5B7DD70F-423A-4C9F-9DE0-C8CA962E8E77}" dt="2023-03-23T07:01:59.975" v="3120" actId="1076"/>
          <ac:spMkLst>
            <pc:docMk/>
            <pc:sldMk cId="2338328786" sldId="2147479586"/>
            <ac:spMk id="9" creationId="{8771B11F-17BA-B366-B63D-D207B6B1F6CA}"/>
          </ac:spMkLst>
        </pc:spChg>
        <pc:spChg chg="add mod">
          <ac:chgData name="Ma, Mandy Hongyang" userId="c8c44b64-cf2b-42a5-ad81-5888bcc9e90b" providerId="ADAL" clId="{5B7DD70F-423A-4C9F-9DE0-C8CA962E8E77}" dt="2023-03-23T06:50:52.471" v="2599" actId="1038"/>
          <ac:spMkLst>
            <pc:docMk/>
            <pc:sldMk cId="2338328786" sldId="2147479586"/>
            <ac:spMk id="10" creationId="{72A1E31E-F75F-1B70-531B-9F39B029C93B}"/>
          </ac:spMkLst>
        </pc:spChg>
        <pc:spChg chg="add mod ord">
          <ac:chgData name="Ma, Mandy Hongyang" userId="c8c44b64-cf2b-42a5-ad81-5888bcc9e90b" providerId="ADAL" clId="{5B7DD70F-423A-4C9F-9DE0-C8CA962E8E77}" dt="2023-03-23T06:50:52.471" v="2599" actId="1038"/>
          <ac:spMkLst>
            <pc:docMk/>
            <pc:sldMk cId="2338328786" sldId="2147479586"/>
            <ac:spMk id="11" creationId="{AC530CA9-1C41-8727-5FA8-1F19593B28A7}"/>
          </ac:spMkLst>
        </pc:spChg>
        <pc:spChg chg="mod">
          <ac:chgData name="Ma, Mandy Hongyang" userId="c8c44b64-cf2b-42a5-ad81-5888bcc9e90b" providerId="ADAL" clId="{5B7DD70F-423A-4C9F-9DE0-C8CA962E8E77}" dt="2023-03-23T08:22:34.866" v="4255" actId="1038"/>
          <ac:spMkLst>
            <pc:docMk/>
            <pc:sldMk cId="2338328786" sldId="2147479586"/>
            <ac:spMk id="14" creationId="{1F35ADC9-3DE8-6CE9-2568-054BDBE4736F}"/>
          </ac:spMkLst>
        </pc:spChg>
        <pc:spChg chg="mod">
          <ac:chgData name="Ma, Mandy Hongyang" userId="c8c44b64-cf2b-42a5-ad81-5888bcc9e90b" providerId="ADAL" clId="{5B7DD70F-423A-4C9F-9DE0-C8CA962E8E77}" dt="2023-03-23T08:22:38.185" v="4257" actId="1038"/>
          <ac:spMkLst>
            <pc:docMk/>
            <pc:sldMk cId="2338328786" sldId="2147479586"/>
            <ac:spMk id="17" creationId="{C3AA990C-1229-5E4B-449C-26A8F49FEC56}"/>
          </ac:spMkLst>
        </pc:spChg>
        <pc:spChg chg="add mod">
          <ac:chgData name="Ma, Mandy Hongyang" userId="c8c44b64-cf2b-42a5-ad81-5888bcc9e90b" providerId="ADAL" clId="{5B7DD70F-423A-4C9F-9DE0-C8CA962E8E77}" dt="2023-03-23T07:01:56.206" v="3118" actId="1076"/>
          <ac:spMkLst>
            <pc:docMk/>
            <pc:sldMk cId="2338328786" sldId="2147479586"/>
            <ac:spMk id="18" creationId="{B6C6FE26-07B8-C460-5D1F-026D47F3B3D3}"/>
          </ac:spMkLst>
        </pc:spChg>
        <pc:spChg chg="add mod">
          <ac:chgData name="Ma, Mandy Hongyang" userId="c8c44b64-cf2b-42a5-ad81-5888bcc9e90b" providerId="ADAL" clId="{5B7DD70F-423A-4C9F-9DE0-C8CA962E8E77}" dt="2023-03-23T07:01:56.206" v="3118" actId="1076"/>
          <ac:spMkLst>
            <pc:docMk/>
            <pc:sldMk cId="2338328786" sldId="2147479586"/>
            <ac:spMk id="19" creationId="{F33F50F0-A3E1-9BDD-97A0-5502CF44CD69}"/>
          </ac:spMkLst>
        </pc:spChg>
        <pc:spChg chg="add mod">
          <ac:chgData name="Ma, Mandy Hongyang" userId="c8c44b64-cf2b-42a5-ad81-5888bcc9e90b" providerId="ADAL" clId="{5B7DD70F-423A-4C9F-9DE0-C8CA962E8E77}" dt="2023-03-23T06:50:52.471" v="2599" actId="1038"/>
          <ac:spMkLst>
            <pc:docMk/>
            <pc:sldMk cId="2338328786" sldId="2147479586"/>
            <ac:spMk id="20" creationId="{DEE025B3-58C4-C89F-EBB2-B45839D5ADE6}"/>
          </ac:spMkLst>
        </pc:spChg>
        <pc:spChg chg="add del mod">
          <ac:chgData name="Ma, Mandy Hongyang" userId="c8c44b64-cf2b-42a5-ad81-5888bcc9e90b" providerId="ADAL" clId="{5B7DD70F-423A-4C9F-9DE0-C8CA962E8E77}" dt="2023-03-23T06:50:44.720" v="2586" actId="478"/>
          <ac:spMkLst>
            <pc:docMk/>
            <pc:sldMk cId="2338328786" sldId="2147479586"/>
            <ac:spMk id="21" creationId="{F2279ADF-E851-C69C-5F7F-4DA7DEBC74E0}"/>
          </ac:spMkLst>
        </pc:spChg>
        <pc:spChg chg="add mod ord">
          <ac:chgData name="Ma, Mandy Hongyang" userId="c8c44b64-cf2b-42a5-ad81-5888bcc9e90b" providerId="ADAL" clId="{5B7DD70F-423A-4C9F-9DE0-C8CA962E8E77}" dt="2023-03-23T07:02:40.083" v="3215" actId="167"/>
          <ac:spMkLst>
            <pc:docMk/>
            <pc:sldMk cId="2338328786" sldId="2147479586"/>
            <ac:spMk id="22" creationId="{11F32430-510C-9A22-3095-0E74D55829E9}"/>
          </ac:spMkLst>
        </pc:spChg>
        <pc:spChg chg="add mod">
          <ac:chgData name="Ma, Mandy Hongyang" userId="c8c44b64-cf2b-42a5-ad81-5888bcc9e90b" providerId="ADAL" clId="{5B7DD70F-423A-4C9F-9DE0-C8CA962E8E77}" dt="2023-03-23T06:55:12.689" v="2754" actId="113"/>
          <ac:spMkLst>
            <pc:docMk/>
            <pc:sldMk cId="2338328786" sldId="2147479586"/>
            <ac:spMk id="23" creationId="{A364ECDA-E009-068A-CD2F-6B9709ADA846}"/>
          </ac:spMkLst>
        </pc:spChg>
        <pc:spChg chg="add mod">
          <ac:chgData name="Ma, Mandy Hongyang" userId="c8c44b64-cf2b-42a5-ad81-5888bcc9e90b" providerId="ADAL" clId="{5B7DD70F-423A-4C9F-9DE0-C8CA962E8E77}" dt="2023-03-23T08:19:48.197" v="4248" actId="1076"/>
          <ac:spMkLst>
            <pc:docMk/>
            <pc:sldMk cId="2338328786" sldId="2147479586"/>
            <ac:spMk id="24" creationId="{6339B276-3373-94EE-F091-187958264CF3}"/>
          </ac:spMkLst>
        </pc:spChg>
        <pc:grpChg chg="add mod">
          <ac:chgData name="Ma, Mandy Hongyang" userId="c8c44b64-cf2b-42a5-ad81-5888bcc9e90b" providerId="ADAL" clId="{5B7DD70F-423A-4C9F-9DE0-C8CA962E8E77}" dt="2023-03-23T07:01:56.206" v="3118" actId="1076"/>
          <ac:grpSpMkLst>
            <pc:docMk/>
            <pc:sldMk cId="2338328786" sldId="2147479586"/>
            <ac:grpSpMk id="12" creationId="{2AA6BB81-CAA0-678D-62FF-8CB97F966155}"/>
          </ac:grpSpMkLst>
        </pc:grpChg>
        <pc:grpChg chg="add mod">
          <ac:chgData name="Ma, Mandy Hongyang" userId="c8c44b64-cf2b-42a5-ad81-5888bcc9e90b" providerId="ADAL" clId="{5B7DD70F-423A-4C9F-9DE0-C8CA962E8E77}" dt="2023-03-23T07:01:56.206" v="3118" actId="1076"/>
          <ac:grpSpMkLst>
            <pc:docMk/>
            <pc:sldMk cId="2338328786" sldId="2147479586"/>
            <ac:grpSpMk id="15" creationId="{049C237D-7164-EB4D-63A1-3EA0AA4B3E28}"/>
          </ac:grpSpMkLst>
        </pc:grpChg>
        <pc:graphicFrameChg chg="del">
          <ac:chgData name="Ma, Mandy Hongyang" userId="c8c44b64-cf2b-42a5-ad81-5888bcc9e90b" providerId="ADAL" clId="{5B7DD70F-423A-4C9F-9DE0-C8CA962E8E77}" dt="2023-03-23T06:40:27.384" v="2153" actId="478"/>
          <ac:graphicFrameMkLst>
            <pc:docMk/>
            <pc:sldMk cId="2338328786" sldId="2147479586"/>
            <ac:graphicFrameMk id="5" creationId="{9E296B13-D1C2-B83C-7EB6-1EB33B5ADEF8}"/>
          </ac:graphicFrameMkLst>
        </pc:graphicFrameChg>
        <pc:graphicFrameChg chg="add mod modGraphic">
          <ac:chgData name="Ma, Mandy Hongyang" userId="c8c44b64-cf2b-42a5-ad81-5888bcc9e90b" providerId="ADAL" clId="{5B7DD70F-423A-4C9F-9DE0-C8CA962E8E77}" dt="2023-03-23T08:16:53.141" v="4241" actId="1076"/>
          <ac:graphicFrameMkLst>
            <pc:docMk/>
            <pc:sldMk cId="2338328786" sldId="2147479586"/>
            <ac:graphicFrameMk id="7" creationId="{8D9F87DC-B055-8D73-CFC5-B9804D1B2E69}"/>
          </ac:graphicFrameMkLst>
        </pc:graphicFrameChg>
        <pc:picChg chg="mod">
          <ac:chgData name="Ma, Mandy Hongyang" userId="c8c44b64-cf2b-42a5-ad81-5888bcc9e90b" providerId="ADAL" clId="{5B7DD70F-423A-4C9F-9DE0-C8CA962E8E77}" dt="2023-03-23T06:48:51.564" v="2522"/>
          <ac:picMkLst>
            <pc:docMk/>
            <pc:sldMk cId="2338328786" sldId="2147479586"/>
            <ac:picMk id="13" creationId="{4E46B9D9-2A59-CBA9-BCAD-47A995905F7F}"/>
          </ac:picMkLst>
        </pc:picChg>
        <pc:picChg chg="mod">
          <ac:chgData name="Ma, Mandy Hongyang" userId="c8c44b64-cf2b-42a5-ad81-5888bcc9e90b" providerId="ADAL" clId="{5B7DD70F-423A-4C9F-9DE0-C8CA962E8E77}" dt="2023-03-23T06:48:58.373" v="2524"/>
          <ac:picMkLst>
            <pc:docMk/>
            <pc:sldMk cId="2338328786" sldId="2147479586"/>
            <ac:picMk id="16" creationId="{2689FC88-8347-F5A9-5A35-756612BAE112}"/>
          </ac:picMkLst>
        </pc:picChg>
      </pc:sldChg>
      <pc:sldChg chg="addSp delSp modSp add del mod">
        <pc:chgData name="Ma, Mandy Hongyang" userId="c8c44b64-cf2b-42a5-ad81-5888bcc9e90b" providerId="ADAL" clId="{5B7DD70F-423A-4C9F-9DE0-C8CA962E8E77}" dt="2023-03-23T05:41:32.312" v="1516" actId="47"/>
        <pc:sldMkLst>
          <pc:docMk/>
          <pc:sldMk cId="2513232443" sldId="2147479586"/>
        </pc:sldMkLst>
        <pc:spChg chg="mod">
          <ac:chgData name="Ma, Mandy Hongyang" userId="c8c44b64-cf2b-42a5-ad81-5888bcc9e90b" providerId="ADAL" clId="{5B7DD70F-423A-4C9F-9DE0-C8CA962E8E77}" dt="2023-03-23T02:06:28.494" v="636" actId="20577"/>
          <ac:spMkLst>
            <pc:docMk/>
            <pc:sldMk cId="2513232443" sldId="2147479586"/>
            <ac:spMk id="2" creationId="{7756B8F4-874A-CFB5-B37C-9B912FD9E344}"/>
          </ac:spMkLst>
        </pc:spChg>
        <pc:spChg chg="del">
          <ac:chgData name="Ma, Mandy Hongyang" userId="c8c44b64-cf2b-42a5-ad81-5888bcc9e90b" providerId="ADAL" clId="{5B7DD70F-423A-4C9F-9DE0-C8CA962E8E77}" dt="2023-03-23T02:06:21.610" v="605" actId="478"/>
          <ac:spMkLst>
            <pc:docMk/>
            <pc:sldMk cId="2513232443" sldId="2147479586"/>
            <ac:spMk id="7" creationId="{3142965B-0D4B-9FEE-6167-860A0C5A3E52}"/>
          </ac:spMkLst>
        </pc:spChg>
        <pc:spChg chg="add mod">
          <ac:chgData name="Ma, Mandy Hongyang" userId="c8c44b64-cf2b-42a5-ad81-5888bcc9e90b" providerId="ADAL" clId="{5B7DD70F-423A-4C9F-9DE0-C8CA962E8E77}" dt="2023-03-23T02:19:41.383" v="710" actId="20577"/>
          <ac:spMkLst>
            <pc:docMk/>
            <pc:sldMk cId="2513232443" sldId="2147479586"/>
            <ac:spMk id="10" creationId="{37AC2E68-8D0D-1BB1-4777-BA15612C31BC}"/>
          </ac:spMkLst>
        </pc:spChg>
        <pc:graphicFrameChg chg="del">
          <ac:chgData name="Ma, Mandy Hongyang" userId="c8c44b64-cf2b-42a5-ad81-5888bcc9e90b" providerId="ADAL" clId="{5B7DD70F-423A-4C9F-9DE0-C8CA962E8E77}" dt="2023-03-23T02:06:21.610" v="605" actId="478"/>
          <ac:graphicFrameMkLst>
            <pc:docMk/>
            <pc:sldMk cId="2513232443" sldId="2147479586"/>
            <ac:graphicFrameMk id="5" creationId="{6433BA20-C636-C455-4DFD-EBA9454D3E07}"/>
          </ac:graphicFrameMkLst>
        </pc:graphicFrameChg>
        <pc:graphicFrameChg chg="del">
          <ac:chgData name="Ma, Mandy Hongyang" userId="c8c44b64-cf2b-42a5-ad81-5888bcc9e90b" providerId="ADAL" clId="{5B7DD70F-423A-4C9F-9DE0-C8CA962E8E77}" dt="2023-03-23T02:06:21.610" v="605" actId="478"/>
          <ac:graphicFrameMkLst>
            <pc:docMk/>
            <pc:sldMk cId="2513232443" sldId="2147479586"/>
            <ac:graphicFrameMk id="6" creationId="{91A767DE-3033-7506-C44C-D9D640121202}"/>
          </ac:graphicFrameMkLst>
        </pc:graphicFrameChg>
        <pc:picChg chg="add del mod">
          <ac:chgData name="Ma, Mandy Hongyang" userId="c8c44b64-cf2b-42a5-ad81-5888bcc9e90b" providerId="ADAL" clId="{5B7DD70F-423A-4C9F-9DE0-C8CA962E8E77}" dt="2023-03-23T05:38:36.884" v="1459" actId="478"/>
          <ac:picMkLst>
            <pc:docMk/>
            <pc:sldMk cId="2513232443" sldId="2147479586"/>
            <ac:picMk id="9" creationId="{C32265F3-B4D9-5E65-8845-87EAD6C22200}"/>
          </ac:picMkLst>
        </pc:picChg>
      </pc:sldChg>
      <pc:sldChg chg="addSp modSp add del mod modShow">
        <pc:chgData name="Ma, Mandy Hongyang" userId="c8c44b64-cf2b-42a5-ad81-5888bcc9e90b" providerId="ADAL" clId="{5B7DD70F-423A-4C9F-9DE0-C8CA962E8E77}" dt="2023-03-23T10:03:44.307" v="4533" actId="47"/>
        <pc:sldMkLst>
          <pc:docMk/>
          <pc:sldMk cId="3487961782" sldId="2147479587"/>
        </pc:sldMkLst>
        <pc:spChg chg="add mod">
          <ac:chgData name="Ma, Mandy Hongyang" userId="c8c44b64-cf2b-42a5-ad81-5888bcc9e90b" providerId="ADAL" clId="{5B7DD70F-423A-4C9F-9DE0-C8CA962E8E77}" dt="2023-03-23T07:55:06.778" v="3883" actId="13926"/>
          <ac:spMkLst>
            <pc:docMk/>
            <pc:sldMk cId="3487961782" sldId="2147479587"/>
            <ac:spMk id="5" creationId="{A2037C1D-7690-9B5D-C565-246C01B3A5F1}"/>
          </ac:spMkLst>
        </pc:spChg>
      </pc:sldChg>
      <pc:sldChg chg="addSp delSp modSp add del mod">
        <pc:chgData name="Ma, Mandy Hongyang" userId="c8c44b64-cf2b-42a5-ad81-5888bcc9e90b" providerId="ADAL" clId="{5B7DD70F-423A-4C9F-9DE0-C8CA962E8E77}" dt="2023-03-23T10:11:09.781" v="4535" actId="47"/>
        <pc:sldMkLst>
          <pc:docMk/>
          <pc:sldMk cId="642654724" sldId="2147479588"/>
        </pc:sldMkLst>
        <pc:spChg chg="mod">
          <ac:chgData name="Ma, Mandy Hongyang" userId="c8c44b64-cf2b-42a5-ad81-5888bcc9e90b" providerId="ADAL" clId="{5B7DD70F-423A-4C9F-9DE0-C8CA962E8E77}" dt="2023-03-23T07:10:50.145" v="3239" actId="20577"/>
          <ac:spMkLst>
            <pc:docMk/>
            <pc:sldMk cId="642654724" sldId="2147479588"/>
            <ac:spMk id="2" creationId="{7756B8F4-874A-CFB5-B37C-9B912FD9E344}"/>
          </ac:spMkLst>
        </pc:spChg>
        <pc:spChg chg="add mod">
          <ac:chgData name="Ma, Mandy Hongyang" userId="c8c44b64-cf2b-42a5-ad81-5888bcc9e90b" providerId="ADAL" clId="{5B7DD70F-423A-4C9F-9DE0-C8CA962E8E77}" dt="2023-03-23T08:16:00.747" v="4192" actId="20577"/>
          <ac:spMkLst>
            <pc:docMk/>
            <pc:sldMk cId="642654724" sldId="2147479588"/>
            <ac:spMk id="5" creationId="{5EB4E925-0B4F-9028-30C5-4C90A5CBBDA7}"/>
          </ac:spMkLst>
        </pc:spChg>
        <pc:spChg chg="del">
          <ac:chgData name="Ma, Mandy Hongyang" userId="c8c44b64-cf2b-42a5-ad81-5888bcc9e90b" providerId="ADAL" clId="{5B7DD70F-423A-4C9F-9DE0-C8CA962E8E77}" dt="2023-03-23T07:10:43.859" v="3227" actId="478"/>
          <ac:spMkLst>
            <pc:docMk/>
            <pc:sldMk cId="642654724" sldId="2147479588"/>
            <ac:spMk id="6" creationId="{ECE1E1BE-C4A5-6D15-E5B3-4C193091B31D}"/>
          </ac:spMkLst>
        </pc:spChg>
        <pc:spChg chg="del">
          <ac:chgData name="Ma, Mandy Hongyang" userId="c8c44b64-cf2b-42a5-ad81-5888bcc9e90b" providerId="ADAL" clId="{5B7DD70F-423A-4C9F-9DE0-C8CA962E8E77}" dt="2023-03-23T07:10:43.859" v="3227" actId="478"/>
          <ac:spMkLst>
            <pc:docMk/>
            <pc:sldMk cId="642654724" sldId="2147479588"/>
            <ac:spMk id="9" creationId="{8771B11F-17BA-B366-B63D-D207B6B1F6CA}"/>
          </ac:spMkLst>
        </pc:spChg>
        <pc:spChg chg="del">
          <ac:chgData name="Ma, Mandy Hongyang" userId="c8c44b64-cf2b-42a5-ad81-5888bcc9e90b" providerId="ADAL" clId="{5B7DD70F-423A-4C9F-9DE0-C8CA962E8E77}" dt="2023-03-23T07:10:43.859" v="3227" actId="478"/>
          <ac:spMkLst>
            <pc:docMk/>
            <pc:sldMk cId="642654724" sldId="2147479588"/>
            <ac:spMk id="10" creationId="{72A1E31E-F75F-1B70-531B-9F39B029C93B}"/>
          </ac:spMkLst>
        </pc:spChg>
        <pc:spChg chg="del">
          <ac:chgData name="Ma, Mandy Hongyang" userId="c8c44b64-cf2b-42a5-ad81-5888bcc9e90b" providerId="ADAL" clId="{5B7DD70F-423A-4C9F-9DE0-C8CA962E8E77}" dt="2023-03-23T07:10:43.859" v="3227" actId="478"/>
          <ac:spMkLst>
            <pc:docMk/>
            <pc:sldMk cId="642654724" sldId="2147479588"/>
            <ac:spMk id="11" creationId="{AC530CA9-1C41-8727-5FA8-1F19593B28A7}"/>
          </ac:spMkLst>
        </pc:spChg>
        <pc:spChg chg="del">
          <ac:chgData name="Ma, Mandy Hongyang" userId="c8c44b64-cf2b-42a5-ad81-5888bcc9e90b" providerId="ADAL" clId="{5B7DD70F-423A-4C9F-9DE0-C8CA962E8E77}" dt="2023-03-23T07:10:43.859" v="3227" actId="478"/>
          <ac:spMkLst>
            <pc:docMk/>
            <pc:sldMk cId="642654724" sldId="2147479588"/>
            <ac:spMk id="18" creationId="{B6C6FE26-07B8-C460-5D1F-026D47F3B3D3}"/>
          </ac:spMkLst>
        </pc:spChg>
        <pc:spChg chg="del">
          <ac:chgData name="Ma, Mandy Hongyang" userId="c8c44b64-cf2b-42a5-ad81-5888bcc9e90b" providerId="ADAL" clId="{5B7DD70F-423A-4C9F-9DE0-C8CA962E8E77}" dt="2023-03-23T07:10:43.859" v="3227" actId="478"/>
          <ac:spMkLst>
            <pc:docMk/>
            <pc:sldMk cId="642654724" sldId="2147479588"/>
            <ac:spMk id="19" creationId="{F33F50F0-A3E1-9BDD-97A0-5502CF44CD69}"/>
          </ac:spMkLst>
        </pc:spChg>
        <pc:spChg chg="del">
          <ac:chgData name="Ma, Mandy Hongyang" userId="c8c44b64-cf2b-42a5-ad81-5888bcc9e90b" providerId="ADAL" clId="{5B7DD70F-423A-4C9F-9DE0-C8CA962E8E77}" dt="2023-03-23T07:10:43.859" v="3227" actId="478"/>
          <ac:spMkLst>
            <pc:docMk/>
            <pc:sldMk cId="642654724" sldId="2147479588"/>
            <ac:spMk id="20" creationId="{DEE025B3-58C4-C89F-EBB2-B45839D5ADE6}"/>
          </ac:spMkLst>
        </pc:spChg>
        <pc:spChg chg="del">
          <ac:chgData name="Ma, Mandy Hongyang" userId="c8c44b64-cf2b-42a5-ad81-5888bcc9e90b" providerId="ADAL" clId="{5B7DD70F-423A-4C9F-9DE0-C8CA962E8E77}" dt="2023-03-23T07:10:43.859" v="3227" actId="478"/>
          <ac:spMkLst>
            <pc:docMk/>
            <pc:sldMk cId="642654724" sldId="2147479588"/>
            <ac:spMk id="22" creationId="{11F32430-510C-9A22-3095-0E74D55829E9}"/>
          </ac:spMkLst>
        </pc:spChg>
        <pc:spChg chg="del">
          <ac:chgData name="Ma, Mandy Hongyang" userId="c8c44b64-cf2b-42a5-ad81-5888bcc9e90b" providerId="ADAL" clId="{5B7DD70F-423A-4C9F-9DE0-C8CA962E8E77}" dt="2023-03-23T07:10:43.859" v="3227" actId="478"/>
          <ac:spMkLst>
            <pc:docMk/>
            <pc:sldMk cId="642654724" sldId="2147479588"/>
            <ac:spMk id="23" creationId="{A364ECDA-E009-068A-CD2F-6B9709ADA846}"/>
          </ac:spMkLst>
        </pc:spChg>
        <pc:grpChg chg="del">
          <ac:chgData name="Ma, Mandy Hongyang" userId="c8c44b64-cf2b-42a5-ad81-5888bcc9e90b" providerId="ADAL" clId="{5B7DD70F-423A-4C9F-9DE0-C8CA962E8E77}" dt="2023-03-23T07:10:43.859" v="3227" actId="478"/>
          <ac:grpSpMkLst>
            <pc:docMk/>
            <pc:sldMk cId="642654724" sldId="2147479588"/>
            <ac:grpSpMk id="12" creationId="{2AA6BB81-CAA0-678D-62FF-8CB97F966155}"/>
          </ac:grpSpMkLst>
        </pc:grpChg>
        <pc:grpChg chg="del">
          <ac:chgData name="Ma, Mandy Hongyang" userId="c8c44b64-cf2b-42a5-ad81-5888bcc9e90b" providerId="ADAL" clId="{5B7DD70F-423A-4C9F-9DE0-C8CA962E8E77}" dt="2023-03-23T07:10:43.859" v="3227" actId="478"/>
          <ac:grpSpMkLst>
            <pc:docMk/>
            <pc:sldMk cId="642654724" sldId="2147479588"/>
            <ac:grpSpMk id="15" creationId="{049C237D-7164-EB4D-63A1-3EA0AA4B3E28}"/>
          </ac:grpSpMkLst>
        </pc:grpChg>
        <pc:graphicFrameChg chg="del">
          <ac:chgData name="Ma, Mandy Hongyang" userId="c8c44b64-cf2b-42a5-ad81-5888bcc9e90b" providerId="ADAL" clId="{5B7DD70F-423A-4C9F-9DE0-C8CA962E8E77}" dt="2023-03-23T07:10:45.716" v="3228" actId="478"/>
          <ac:graphicFrameMkLst>
            <pc:docMk/>
            <pc:sldMk cId="642654724" sldId="2147479588"/>
            <ac:graphicFrameMk id="7" creationId="{8D9F87DC-B055-8D73-CFC5-B9804D1B2E69}"/>
          </ac:graphicFrameMkLst>
        </pc:graphicFrameChg>
      </pc:sldChg>
    </pc:docChg>
  </pc:docChgLst>
  <pc:docChgLst>
    <pc:chgData name="Wang, Jianshe" userId="0adcebf5-5993-4b3b-b36d-4985c3d3c815" providerId="ADAL" clId="{BC468552-9CC4-4C41-B7A5-ED20A6E630DB}"/>
    <pc:docChg chg="addSld">
      <pc:chgData name="Wang, Jianshe" userId="0adcebf5-5993-4b3b-b36d-4985c3d3c815" providerId="ADAL" clId="{BC468552-9CC4-4C41-B7A5-ED20A6E630DB}" dt="2023-03-27T01:34:27.104" v="0" actId="680"/>
      <pc:docMkLst>
        <pc:docMk/>
      </pc:docMkLst>
      <pc:sldChg chg="new">
        <pc:chgData name="Wang, Jianshe" userId="0adcebf5-5993-4b3b-b36d-4985c3d3c815" providerId="ADAL" clId="{BC468552-9CC4-4C41-B7A5-ED20A6E630DB}" dt="2023-03-27T01:34:27.104" v="0" actId="680"/>
        <pc:sldMkLst>
          <pc:docMk/>
          <pc:sldMk cId="3856341451" sldId="2147479586"/>
        </pc:sldMkLst>
      </pc:sldChg>
    </pc:docChg>
  </pc:docChgLst>
  <pc:docChgLst>
    <pc:chgData name="邢维钊" userId="S::weizhao.xing@tcl.com::d3f31f82-757d-45b4-bbe5-573fe182f33c" providerId="AD" clId="Web-{1FEE304A-E120-51C9-2C1B-58F9E1CA636B}"/>
    <pc:docChg chg="modSld">
      <pc:chgData name="邢维钊" userId="S::weizhao.xing@tcl.com::d3f31f82-757d-45b4-bbe5-573fe182f33c" providerId="AD" clId="Web-{1FEE304A-E120-51C9-2C1B-58F9E1CA636B}" dt="2023-04-24T05:45:09.880" v="3" actId="20577"/>
      <pc:docMkLst>
        <pc:docMk/>
      </pc:docMkLst>
      <pc:sldChg chg="modSp">
        <pc:chgData name="邢维钊" userId="S::weizhao.xing@tcl.com::d3f31f82-757d-45b4-bbe5-573fe182f33c" providerId="AD" clId="Web-{1FEE304A-E120-51C9-2C1B-58F9E1CA636B}" dt="2023-04-24T05:45:09.880" v="3" actId="20577"/>
        <pc:sldMkLst>
          <pc:docMk/>
          <pc:sldMk cId="1202851494" sldId="2147479522"/>
        </pc:sldMkLst>
        <pc:spChg chg="mod">
          <ac:chgData name="邢维钊" userId="S::weizhao.xing@tcl.com::d3f31f82-757d-45b4-bbe5-573fe182f33c" providerId="AD" clId="Web-{1FEE304A-E120-51C9-2C1B-58F9E1CA636B}" dt="2023-04-24T05:45:09.880" v="3" actId="20577"/>
          <ac:spMkLst>
            <pc:docMk/>
            <pc:sldMk cId="1202851494" sldId="2147479522"/>
            <ac:spMk id="3" creationId="{A89DC960-B882-A672-52DC-8B1DBC1D9F39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4682623-73B9-4CAF-892A-6F192451EDCE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B50EF143-8BAC-41FE-A8F8-3E1EA04B5058}">
      <dgm:prSet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zh-CN" altLang="en-US" sz="140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rPr>
            <a:t>推广项目管理</a:t>
          </a:r>
          <a:endParaRPr lang="de-DE" sz="1400">
            <a:solidFill>
              <a:schemeClr val="tx1"/>
            </a:solidFill>
            <a:latin typeface="+mn-lt"/>
            <a:ea typeface="+mn-ea"/>
            <a:cs typeface="+mn-ea"/>
            <a:sym typeface="+mn-lt"/>
          </a:endParaRPr>
        </a:p>
      </dgm:t>
    </dgm:pt>
    <dgm:pt modelId="{32209A89-E62D-4884-B097-27E7E3BAD292}" type="parTrans" cxnId="{0A455F51-3AE1-4492-ADE2-865D899E3DD3}">
      <dgm:prSet/>
      <dgm:spPr/>
      <dgm:t>
        <a:bodyPr/>
        <a:lstStyle/>
        <a:p>
          <a:endParaRPr lang="de-DE" sz="14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1AEE788E-AE6C-4C9D-AE91-990915A71444}" type="sibTrans" cxnId="{0A455F51-3AE1-4492-ADE2-865D899E3DD3}">
      <dgm:prSet custT="1"/>
      <dgm:spPr>
        <a:solidFill>
          <a:srgbClr val="C0E9FF"/>
        </a:solidFill>
      </dgm:spPr>
      <dgm:t>
        <a:bodyPr/>
        <a:lstStyle/>
        <a:p>
          <a:endParaRPr lang="de-DE" sz="14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C8FD9DB5-F982-44E7-858C-94D01ADADE2C}">
      <dgm:prSet custT="1"/>
      <dgm:spPr>
        <a:solidFill>
          <a:srgbClr val="C5D3ED"/>
        </a:solidFill>
      </dgm:spPr>
      <dgm:t>
        <a:bodyPr/>
        <a:lstStyle/>
        <a:p>
          <a:r>
            <a:rPr lang="zh-CN" altLang="en-US" sz="140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rPr>
            <a:t>费用计提</a:t>
          </a:r>
          <a:r>
            <a:rPr lang="en-US" altLang="zh-CN" sz="140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rPr>
            <a:t>/</a:t>
          </a:r>
          <a:r>
            <a:rPr lang="zh-CN" altLang="en-US" sz="140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rPr>
            <a:t>报销</a:t>
          </a:r>
          <a:endParaRPr lang="de-DE" sz="1400">
            <a:solidFill>
              <a:schemeClr val="tx1"/>
            </a:solidFill>
            <a:latin typeface="+mn-lt"/>
            <a:ea typeface="+mn-ea"/>
            <a:cs typeface="+mn-ea"/>
            <a:sym typeface="+mn-lt"/>
          </a:endParaRPr>
        </a:p>
      </dgm:t>
    </dgm:pt>
    <dgm:pt modelId="{092DEF55-2DE7-4D55-B2BD-A54238320B87}" type="parTrans" cxnId="{C6CB4DB7-358A-40DA-A748-9AD8440A7190}">
      <dgm:prSet/>
      <dgm:spPr/>
      <dgm:t>
        <a:bodyPr/>
        <a:lstStyle/>
        <a:p>
          <a:endParaRPr lang="de-DE" sz="14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B4AF082-4D7E-450B-B172-5D3CBBA4112E}" type="sibTrans" cxnId="{C6CB4DB7-358A-40DA-A748-9AD8440A7190}">
      <dgm:prSet custT="1"/>
      <dgm:spPr>
        <a:solidFill>
          <a:srgbClr val="C0E9FF"/>
        </a:solidFill>
      </dgm:spPr>
      <dgm:t>
        <a:bodyPr/>
        <a:lstStyle/>
        <a:p>
          <a:endParaRPr lang="de-DE" sz="14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EABEDAE-56E3-4EFA-8313-F77593DF1CC6}">
      <dgm:prSet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zh-CN" altLang="en-US" sz="140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rPr>
            <a:t>财务核算</a:t>
          </a:r>
          <a:endParaRPr lang="de-DE" sz="1400">
            <a:solidFill>
              <a:schemeClr val="tx1"/>
            </a:solidFill>
            <a:latin typeface="+mn-lt"/>
            <a:ea typeface="+mn-ea"/>
            <a:cs typeface="+mn-ea"/>
            <a:sym typeface="+mn-lt"/>
          </a:endParaRPr>
        </a:p>
      </dgm:t>
    </dgm:pt>
    <dgm:pt modelId="{B343D870-D702-4485-894D-B82F1176B8FE}" type="parTrans" cxnId="{17DD1BF8-A718-48C0-B36A-9DAAFD81C9DC}">
      <dgm:prSet/>
      <dgm:spPr/>
      <dgm:t>
        <a:bodyPr/>
        <a:lstStyle/>
        <a:p>
          <a:endParaRPr lang="de-DE" sz="14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93898D3-4753-4FB2-8A4A-75A392812DDD}" type="sibTrans" cxnId="{17DD1BF8-A718-48C0-B36A-9DAAFD81C9DC}">
      <dgm:prSet/>
      <dgm:spPr/>
      <dgm:t>
        <a:bodyPr/>
        <a:lstStyle/>
        <a:p>
          <a:endParaRPr lang="de-DE" sz="14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B1BEC02-24AB-4B1D-8EA8-C55B2E3F73D4}" type="pres">
      <dgm:prSet presAssocID="{D4682623-73B9-4CAF-892A-6F192451EDCE}" presName="Name0" presStyleCnt="0">
        <dgm:presLayoutVars>
          <dgm:dir/>
          <dgm:resizeHandles val="exact"/>
        </dgm:presLayoutVars>
      </dgm:prSet>
      <dgm:spPr/>
    </dgm:pt>
    <dgm:pt modelId="{6DB78DDB-7664-4AFD-8E01-012D45BD9E50}" type="pres">
      <dgm:prSet presAssocID="{B50EF143-8BAC-41FE-A8F8-3E1EA04B5058}" presName="node" presStyleLbl="node1" presStyleIdx="0" presStyleCnt="3">
        <dgm:presLayoutVars>
          <dgm:bulletEnabled val="1"/>
        </dgm:presLayoutVars>
      </dgm:prSet>
      <dgm:spPr/>
    </dgm:pt>
    <dgm:pt modelId="{9E14FF3E-3BC6-419D-AEF1-B49D1603B576}" type="pres">
      <dgm:prSet presAssocID="{1AEE788E-AE6C-4C9D-AE91-990915A71444}" presName="sibTrans" presStyleLbl="sibTrans2D1" presStyleIdx="0" presStyleCnt="2"/>
      <dgm:spPr/>
    </dgm:pt>
    <dgm:pt modelId="{EFB15000-A5BB-4BAA-98E0-B91F58A12125}" type="pres">
      <dgm:prSet presAssocID="{1AEE788E-AE6C-4C9D-AE91-990915A71444}" presName="connectorText" presStyleLbl="sibTrans2D1" presStyleIdx="0" presStyleCnt="2"/>
      <dgm:spPr/>
    </dgm:pt>
    <dgm:pt modelId="{DA339250-9854-4C7F-8EB7-CB33AE165534}" type="pres">
      <dgm:prSet presAssocID="{C8FD9DB5-F982-44E7-858C-94D01ADADE2C}" presName="node" presStyleLbl="node1" presStyleIdx="1" presStyleCnt="3">
        <dgm:presLayoutVars>
          <dgm:bulletEnabled val="1"/>
        </dgm:presLayoutVars>
      </dgm:prSet>
      <dgm:spPr/>
    </dgm:pt>
    <dgm:pt modelId="{10A44080-8931-4D4D-A2CF-E992BFAB8018}" type="pres">
      <dgm:prSet presAssocID="{3B4AF082-4D7E-450B-B172-5D3CBBA4112E}" presName="sibTrans" presStyleLbl="sibTrans2D1" presStyleIdx="1" presStyleCnt="2"/>
      <dgm:spPr/>
    </dgm:pt>
    <dgm:pt modelId="{8037AACE-7DFF-44AC-8D37-1E086956764F}" type="pres">
      <dgm:prSet presAssocID="{3B4AF082-4D7E-450B-B172-5D3CBBA4112E}" presName="connectorText" presStyleLbl="sibTrans2D1" presStyleIdx="1" presStyleCnt="2"/>
      <dgm:spPr/>
    </dgm:pt>
    <dgm:pt modelId="{5BB98AE5-E19C-4DFD-A20D-44F28FE29755}" type="pres">
      <dgm:prSet presAssocID="{FEABEDAE-56E3-4EFA-8313-F77593DF1CC6}" presName="node" presStyleLbl="node1" presStyleIdx="2" presStyleCnt="3">
        <dgm:presLayoutVars>
          <dgm:bulletEnabled val="1"/>
        </dgm:presLayoutVars>
      </dgm:prSet>
      <dgm:spPr/>
    </dgm:pt>
  </dgm:ptLst>
  <dgm:cxnLst>
    <dgm:cxn modelId="{90003907-4369-4D5F-92DF-25E3990D2FDC}" type="presOf" srcId="{D4682623-73B9-4CAF-892A-6F192451EDCE}" destId="{8B1BEC02-24AB-4B1D-8EA8-C55B2E3F73D4}" srcOrd="0" destOrd="0" presId="urn:microsoft.com/office/officeart/2005/8/layout/process1"/>
    <dgm:cxn modelId="{78FC5117-1974-462F-B5D1-E0471AAE2D62}" type="presOf" srcId="{1AEE788E-AE6C-4C9D-AE91-990915A71444}" destId="{9E14FF3E-3BC6-419D-AEF1-B49D1603B576}" srcOrd="0" destOrd="0" presId="urn:microsoft.com/office/officeart/2005/8/layout/process1"/>
    <dgm:cxn modelId="{0A455F51-3AE1-4492-ADE2-865D899E3DD3}" srcId="{D4682623-73B9-4CAF-892A-6F192451EDCE}" destId="{B50EF143-8BAC-41FE-A8F8-3E1EA04B5058}" srcOrd="0" destOrd="0" parTransId="{32209A89-E62D-4884-B097-27E7E3BAD292}" sibTransId="{1AEE788E-AE6C-4C9D-AE91-990915A71444}"/>
    <dgm:cxn modelId="{A6632658-DE7E-4876-AE12-9B34A21D6CA2}" type="presOf" srcId="{3B4AF082-4D7E-450B-B172-5D3CBBA4112E}" destId="{8037AACE-7DFF-44AC-8D37-1E086956764F}" srcOrd="1" destOrd="0" presId="urn:microsoft.com/office/officeart/2005/8/layout/process1"/>
    <dgm:cxn modelId="{3D96737D-4534-4867-9D3F-1234F1C76E28}" type="presOf" srcId="{1AEE788E-AE6C-4C9D-AE91-990915A71444}" destId="{EFB15000-A5BB-4BAA-98E0-B91F58A12125}" srcOrd="1" destOrd="0" presId="urn:microsoft.com/office/officeart/2005/8/layout/process1"/>
    <dgm:cxn modelId="{70189D80-9C7A-4CDF-99AB-5CD06AAFF478}" type="presOf" srcId="{FEABEDAE-56E3-4EFA-8313-F77593DF1CC6}" destId="{5BB98AE5-E19C-4DFD-A20D-44F28FE29755}" srcOrd="0" destOrd="0" presId="urn:microsoft.com/office/officeart/2005/8/layout/process1"/>
    <dgm:cxn modelId="{1E3852AE-BE4A-4077-BBA1-5553B5881A12}" type="presOf" srcId="{B50EF143-8BAC-41FE-A8F8-3E1EA04B5058}" destId="{6DB78DDB-7664-4AFD-8E01-012D45BD9E50}" srcOrd="0" destOrd="0" presId="urn:microsoft.com/office/officeart/2005/8/layout/process1"/>
    <dgm:cxn modelId="{C6CB4DB7-358A-40DA-A748-9AD8440A7190}" srcId="{D4682623-73B9-4CAF-892A-6F192451EDCE}" destId="{C8FD9DB5-F982-44E7-858C-94D01ADADE2C}" srcOrd="1" destOrd="0" parTransId="{092DEF55-2DE7-4D55-B2BD-A54238320B87}" sibTransId="{3B4AF082-4D7E-450B-B172-5D3CBBA4112E}"/>
    <dgm:cxn modelId="{634F37BA-AA5B-4857-BFE4-2810BF45A837}" type="presOf" srcId="{3B4AF082-4D7E-450B-B172-5D3CBBA4112E}" destId="{10A44080-8931-4D4D-A2CF-E992BFAB8018}" srcOrd="0" destOrd="0" presId="urn:microsoft.com/office/officeart/2005/8/layout/process1"/>
    <dgm:cxn modelId="{709C0FE1-DB6C-47AA-86F4-9B777225FA34}" type="presOf" srcId="{C8FD9DB5-F982-44E7-858C-94D01ADADE2C}" destId="{DA339250-9854-4C7F-8EB7-CB33AE165534}" srcOrd="0" destOrd="0" presId="urn:microsoft.com/office/officeart/2005/8/layout/process1"/>
    <dgm:cxn modelId="{17DD1BF8-A718-48C0-B36A-9DAAFD81C9DC}" srcId="{D4682623-73B9-4CAF-892A-6F192451EDCE}" destId="{FEABEDAE-56E3-4EFA-8313-F77593DF1CC6}" srcOrd="2" destOrd="0" parTransId="{B343D870-D702-4485-894D-B82F1176B8FE}" sibTransId="{093898D3-4753-4FB2-8A4A-75A392812DDD}"/>
    <dgm:cxn modelId="{3F5AEF3A-5DEF-4D16-9D71-48B40983BD7E}" type="presParOf" srcId="{8B1BEC02-24AB-4B1D-8EA8-C55B2E3F73D4}" destId="{6DB78DDB-7664-4AFD-8E01-012D45BD9E50}" srcOrd="0" destOrd="0" presId="urn:microsoft.com/office/officeart/2005/8/layout/process1"/>
    <dgm:cxn modelId="{6FC9BAEC-13A6-490A-B4BF-A8DE05E4C8D2}" type="presParOf" srcId="{8B1BEC02-24AB-4B1D-8EA8-C55B2E3F73D4}" destId="{9E14FF3E-3BC6-419D-AEF1-B49D1603B576}" srcOrd="1" destOrd="0" presId="urn:microsoft.com/office/officeart/2005/8/layout/process1"/>
    <dgm:cxn modelId="{A1EC8A88-5C5A-4B22-9C2D-90258ED73078}" type="presParOf" srcId="{9E14FF3E-3BC6-419D-AEF1-B49D1603B576}" destId="{EFB15000-A5BB-4BAA-98E0-B91F58A12125}" srcOrd="0" destOrd="0" presId="urn:microsoft.com/office/officeart/2005/8/layout/process1"/>
    <dgm:cxn modelId="{E54A7E79-D968-442D-8565-ED2F211BBF0C}" type="presParOf" srcId="{8B1BEC02-24AB-4B1D-8EA8-C55B2E3F73D4}" destId="{DA339250-9854-4C7F-8EB7-CB33AE165534}" srcOrd="2" destOrd="0" presId="urn:microsoft.com/office/officeart/2005/8/layout/process1"/>
    <dgm:cxn modelId="{1D6CDF1B-99D6-40A9-A0A3-4AA83A9DD90D}" type="presParOf" srcId="{8B1BEC02-24AB-4B1D-8EA8-C55B2E3F73D4}" destId="{10A44080-8931-4D4D-A2CF-E992BFAB8018}" srcOrd="3" destOrd="0" presId="urn:microsoft.com/office/officeart/2005/8/layout/process1"/>
    <dgm:cxn modelId="{8CB43019-D326-4D98-87D8-E059BEA3D790}" type="presParOf" srcId="{10A44080-8931-4D4D-A2CF-E992BFAB8018}" destId="{8037AACE-7DFF-44AC-8D37-1E086956764F}" srcOrd="0" destOrd="0" presId="urn:microsoft.com/office/officeart/2005/8/layout/process1"/>
    <dgm:cxn modelId="{B0F2EBDE-4B9E-4CC9-8F95-783D80E73B64}" type="presParOf" srcId="{8B1BEC02-24AB-4B1D-8EA8-C55B2E3F73D4}" destId="{5BB98AE5-E19C-4DFD-A20D-44F28FE29755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B78DDB-7664-4AFD-8E01-012D45BD9E50}">
      <dsp:nvSpPr>
        <dsp:cNvPr id="0" name=""/>
        <dsp:cNvSpPr/>
      </dsp:nvSpPr>
      <dsp:spPr>
        <a:xfrm>
          <a:off x="8407" y="0"/>
          <a:ext cx="1614876" cy="385646"/>
        </a:xfrm>
        <a:prstGeom prst="roundRect">
          <a:avLst>
            <a:gd name="adj" fmla="val 10000"/>
          </a:avLst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400" kern="120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rPr>
            <a:t>推广项目管理</a:t>
          </a:r>
          <a:endParaRPr lang="de-DE" sz="1400" kern="1200">
            <a:solidFill>
              <a:schemeClr val="tx1"/>
            </a:solidFill>
            <a:latin typeface="+mn-lt"/>
            <a:ea typeface="+mn-ea"/>
            <a:cs typeface="+mn-ea"/>
            <a:sym typeface="+mn-lt"/>
          </a:endParaRPr>
        </a:p>
      </dsp:txBody>
      <dsp:txXfrm>
        <a:off x="19702" y="11295"/>
        <a:ext cx="1592286" cy="363056"/>
      </dsp:txXfrm>
    </dsp:sp>
    <dsp:sp modelId="{9E14FF3E-3BC6-419D-AEF1-B49D1603B576}">
      <dsp:nvSpPr>
        <dsp:cNvPr id="0" name=""/>
        <dsp:cNvSpPr/>
      </dsp:nvSpPr>
      <dsp:spPr>
        <a:xfrm>
          <a:off x="1784771" y="0"/>
          <a:ext cx="342353" cy="385646"/>
        </a:xfrm>
        <a:prstGeom prst="rightArrow">
          <a:avLst>
            <a:gd name="adj1" fmla="val 60000"/>
            <a:gd name="adj2" fmla="val 50000"/>
          </a:avLst>
        </a:prstGeom>
        <a:solidFill>
          <a:srgbClr val="C0E9FF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400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784771" y="77129"/>
        <a:ext cx="239647" cy="231388"/>
      </dsp:txXfrm>
    </dsp:sp>
    <dsp:sp modelId="{DA339250-9854-4C7F-8EB7-CB33AE165534}">
      <dsp:nvSpPr>
        <dsp:cNvPr id="0" name=""/>
        <dsp:cNvSpPr/>
      </dsp:nvSpPr>
      <dsp:spPr>
        <a:xfrm>
          <a:off x="2269233" y="0"/>
          <a:ext cx="1614876" cy="385646"/>
        </a:xfrm>
        <a:prstGeom prst="roundRect">
          <a:avLst>
            <a:gd name="adj" fmla="val 10000"/>
          </a:avLst>
        </a:prstGeom>
        <a:solidFill>
          <a:srgbClr val="C5D3E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400" kern="120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rPr>
            <a:t>费用计提</a:t>
          </a:r>
          <a:r>
            <a:rPr lang="en-US" altLang="zh-CN" sz="1400" kern="120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rPr>
            <a:t>/</a:t>
          </a:r>
          <a:r>
            <a:rPr lang="zh-CN" altLang="en-US" sz="1400" kern="120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rPr>
            <a:t>报销</a:t>
          </a:r>
          <a:endParaRPr lang="de-DE" sz="1400" kern="1200">
            <a:solidFill>
              <a:schemeClr val="tx1"/>
            </a:solidFill>
            <a:latin typeface="+mn-lt"/>
            <a:ea typeface="+mn-ea"/>
            <a:cs typeface="+mn-ea"/>
            <a:sym typeface="+mn-lt"/>
          </a:endParaRPr>
        </a:p>
      </dsp:txBody>
      <dsp:txXfrm>
        <a:off x="2280528" y="11295"/>
        <a:ext cx="1592286" cy="363056"/>
      </dsp:txXfrm>
    </dsp:sp>
    <dsp:sp modelId="{10A44080-8931-4D4D-A2CF-E992BFAB8018}">
      <dsp:nvSpPr>
        <dsp:cNvPr id="0" name=""/>
        <dsp:cNvSpPr/>
      </dsp:nvSpPr>
      <dsp:spPr>
        <a:xfrm>
          <a:off x="4045597" y="0"/>
          <a:ext cx="342353" cy="385646"/>
        </a:xfrm>
        <a:prstGeom prst="rightArrow">
          <a:avLst>
            <a:gd name="adj1" fmla="val 60000"/>
            <a:gd name="adj2" fmla="val 50000"/>
          </a:avLst>
        </a:prstGeom>
        <a:solidFill>
          <a:srgbClr val="C0E9FF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400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045597" y="77129"/>
        <a:ext cx="239647" cy="231388"/>
      </dsp:txXfrm>
    </dsp:sp>
    <dsp:sp modelId="{5BB98AE5-E19C-4DFD-A20D-44F28FE29755}">
      <dsp:nvSpPr>
        <dsp:cNvPr id="0" name=""/>
        <dsp:cNvSpPr/>
      </dsp:nvSpPr>
      <dsp:spPr>
        <a:xfrm>
          <a:off x="4530060" y="0"/>
          <a:ext cx="1614876" cy="385646"/>
        </a:xfrm>
        <a:prstGeom prst="roundRect">
          <a:avLst>
            <a:gd name="adj" fmla="val 10000"/>
          </a:avLst>
        </a:prstGeom>
        <a:solidFill>
          <a:schemeClr val="bg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400" kern="120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rPr>
            <a:t>财务核算</a:t>
          </a:r>
          <a:endParaRPr lang="de-DE" sz="1400" kern="1200">
            <a:solidFill>
              <a:schemeClr val="tx1"/>
            </a:solidFill>
            <a:latin typeface="+mn-lt"/>
            <a:ea typeface="+mn-ea"/>
            <a:cs typeface="+mn-ea"/>
            <a:sym typeface="+mn-lt"/>
          </a:endParaRPr>
        </a:p>
      </dsp:txBody>
      <dsp:txXfrm>
        <a:off x="4541355" y="11295"/>
        <a:ext cx="1592286" cy="3630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C2AC93-06A0-48AA-9BA1-A307D8F7E81D}" type="datetimeFigureOut">
              <a:rPr lang="zh-CN" altLang="en-US" smtClean="0"/>
              <a:t>2023/4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682960-28FC-46AF-B9C2-0B8A3983015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3525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682960-28FC-46AF-B9C2-0B8A39830150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757266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7D1C2-519D-4D8B-A8DF-AA0FFFE46EAD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73522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7D1C2-519D-4D8B-A8DF-AA0FFFE46EAD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51782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7D1C2-519D-4D8B-A8DF-AA0FFFE46EAD}" type="slidenum">
              <a:rPr lang="zh-CN" altLang="en-US" smtClean="0"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68720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7D1C2-519D-4D8B-A8DF-AA0FFFE46EAD}" type="slidenum">
              <a:rPr lang="zh-CN" altLang="en-US" smtClean="0"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51782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7D1C2-519D-4D8B-A8DF-AA0FFFE46EAD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698601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7D1C2-519D-4D8B-A8DF-AA0FFFE46EAD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764646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7D1C2-519D-4D8B-A8DF-AA0FFFE46EAD}" type="slidenum">
              <a:rPr lang="zh-CN" altLang="en-US" smtClean="0"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35369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7D1C2-519D-4D8B-A8DF-AA0FFFE46EAD}" type="slidenum">
              <a:rPr lang="zh-CN" altLang="en-US" smtClean="0"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29411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7D1C2-519D-4D8B-A8DF-AA0FFFE46EAD}" type="slidenum">
              <a:rPr lang="zh-CN" altLang="en-US" smtClean="0"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33802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7D1C2-519D-4D8B-A8DF-AA0FFFE46EA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21394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69F79E-B6B7-534B-AAEE-1F443B7D50DA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84205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7D1C2-519D-4D8B-A8DF-AA0FFFE46EAD}" type="slidenum">
              <a:rPr lang="zh-CN" altLang="en-US" smtClean="0"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78226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7D1C2-519D-4D8B-A8DF-AA0FFFE46EAD}" type="slidenum">
              <a:rPr lang="zh-CN" altLang="en-US" smtClean="0"/>
              <a:t>3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663176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7D1C2-519D-4D8B-A8DF-AA0FFFE46EAD}" type="slidenum">
              <a:rPr lang="zh-CN" altLang="en-US" smtClean="0"/>
              <a:t>3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474874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lvl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b="1" kern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线上店铺类推广费：</a:t>
            </a:r>
            <a:endParaRPr lang="en-US" altLang="zh-CN" sz="1200" b="1" kern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R="0" lvl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kern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如京东平台店铺推广费，发放优惠券，投向固定，先充值，后报销</a:t>
            </a:r>
            <a:endParaRPr lang="en-US" altLang="zh-CN" sz="1200" kern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R="0" lvl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kern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无需进行寻源报价、无需签合同</a:t>
            </a:r>
            <a:endParaRPr lang="en-US" altLang="zh-CN" kern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R="0" lvl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kern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对账、开票在对方系统</a:t>
            </a:r>
            <a:endParaRPr lang="en-US" altLang="zh-CN" sz="1200" kern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R="0" lvl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kern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不适用</a:t>
            </a:r>
            <a:r>
              <a:rPr lang="en-US" altLang="zh-CN" sz="1200" kern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lang="zh-CN" altLang="en-US" sz="1200" kern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</a:t>
            </a:r>
            <a:endParaRPr lang="en-US" altLang="zh-CN" sz="1200" kern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7D1C2-519D-4D8B-A8DF-AA0FFFE46EA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21394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7D1C2-519D-4D8B-A8DF-AA0FFFE46EAD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328548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682960-28FC-46AF-B9C2-0B8A39830150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542100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69F79E-B6B7-534B-AAEE-1F443B7D50DA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7735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682960-28FC-46AF-B9C2-0B8A39830150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68979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682960-28FC-46AF-B9C2-0B8A39830150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17956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69F79E-B6B7-534B-AAEE-1F443B7D50DA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3384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12208747" cy="6858000"/>
          </a:xfrm>
          <a:prstGeom prst="rect">
            <a:avLst/>
          </a:prstGeom>
        </p:spPr>
      </p:pic>
      <p:pic>
        <p:nvPicPr>
          <p:cNvPr id="4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71BF0A13-6F3E-436B-9ACB-9CE67F141D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2742" y="6291102"/>
            <a:ext cx="935015" cy="415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7614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 descr="徽标, 公司名称&#10;&#10;描述已自动生成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08600" y="2441487"/>
            <a:ext cx="1574800" cy="1752600"/>
          </a:xfrm>
          <a:prstGeom prst="rect">
            <a:avLst/>
          </a:prstGeom>
        </p:spPr>
      </p:pic>
      <p:pic>
        <p:nvPicPr>
          <p:cNvPr id="5" name="Picture 69" descr="A picture containing logo&#10;&#10;Description automatically generated">
            <a:extLst>
              <a:ext uri="{FF2B5EF4-FFF2-40B4-BE49-F238E27FC236}">
                <a16:creationId xmlns:a16="http://schemas.microsoft.com/office/drawing/2014/main" id="{A6A077B6-25DF-4148-AB7B-270FC3086F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375" y="6220558"/>
            <a:ext cx="983423" cy="436765"/>
          </a:xfrm>
          <a:prstGeom prst="rect">
            <a:avLst/>
          </a:prstGeom>
        </p:spPr>
      </p:pic>
      <p:pic>
        <p:nvPicPr>
          <p:cNvPr id="6" name="图片 6">
            <a:extLst>
              <a:ext uri="{FF2B5EF4-FFF2-40B4-BE49-F238E27FC236}">
                <a16:creationId xmlns:a16="http://schemas.microsoft.com/office/drawing/2014/main" id="{DFFEB068-2BD6-4F52-8E09-F00D9CA60B0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47723" y="314325"/>
            <a:ext cx="854075" cy="273050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3030720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1220874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8402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942228" y="6356350"/>
            <a:ext cx="2743200" cy="365125"/>
          </a:xfrm>
        </p:spPr>
        <p:txBody>
          <a:bodyPr/>
          <a:lstStyle/>
          <a:p>
            <a:fld id="{2BFE292F-1EBE-6D4A-B339-A324D614A372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8" name="组合 12"/>
          <p:cNvGrpSpPr/>
          <p:nvPr userDrawn="1"/>
        </p:nvGrpSpPr>
        <p:grpSpPr>
          <a:xfrm>
            <a:off x="0" y="0"/>
            <a:ext cx="3200400" cy="901700"/>
            <a:chOff x="0" y="0"/>
            <a:chExt cx="3200400" cy="901700"/>
          </a:xfrm>
        </p:grpSpPr>
        <p:pic>
          <p:nvPicPr>
            <p:cNvPr id="9" name="图片 8" descr="图片包含 图形用户界面&#10;&#10;描述已自动生成"/>
            <p:cNvPicPr>
              <a:picLocks noChangeAspect="1"/>
            </p:cNvPicPr>
            <p:nvPr/>
          </p:nvPicPr>
          <p:blipFill rotWithShape="1">
            <a:blip r:embed="rId2"/>
            <a:srcRect r="68049"/>
            <a:stretch>
              <a:fillRect/>
            </a:stretch>
          </p:blipFill>
          <p:spPr>
            <a:xfrm>
              <a:off x="0" y="0"/>
              <a:ext cx="1022559" cy="901700"/>
            </a:xfrm>
            <a:prstGeom prst="rect">
              <a:avLst/>
            </a:prstGeom>
            <a:ln>
              <a:noFill/>
            </a:ln>
          </p:spPr>
        </p:pic>
        <p:cxnSp>
          <p:nvCxnSpPr>
            <p:cNvPr id="10" name="直线连接符 9"/>
            <p:cNvCxnSpPr/>
            <p:nvPr/>
          </p:nvCxnSpPr>
          <p:spPr>
            <a:xfrm>
              <a:off x="1108710" y="593368"/>
              <a:ext cx="209169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77" name="图片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26128" y="209550"/>
            <a:ext cx="854075" cy="273050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41351934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942228" y="6356350"/>
            <a:ext cx="2743200" cy="365125"/>
          </a:xfrm>
        </p:spPr>
        <p:txBody>
          <a:bodyPr/>
          <a:lstStyle/>
          <a:p>
            <a:fld id="{2BFE292F-1EBE-6D4A-B339-A324D614A372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1" name="图片 10" descr="徽标&#10;&#10;描述已自动生成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0800" y="2997198"/>
            <a:ext cx="1231900" cy="863600"/>
          </a:xfrm>
          <a:prstGeom prst="rect">
            <a:avLst/>
          </a:prstGeom>
        </p:spPr>
      </p:pic>
      <p:pic>
        <p:nvPicPr>
          <p:cNvPr id="2" name="图片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26128" y="209550"/>
            <a:ext cx="854075" cy="273050"/>
          </a:xfrm>
          <a:prstGeom prst="rect">
            <a:avLst/>
          </a:prstGeom>
          <a:noFill/>
          <a:ln w="9525">
            <a:noFill/>
          </a:ln>
        </p:spPr>
      </p:pic>
      <p:grpSp>
        <p:nvGrpSpPr>
          <p:cNvPr id="10" name="组合 9"/>
          <p:cNvGrpSpPr/>
          <p:nvPr userDrawn="1"/>
        </p:nvGrpSpPr>
        <p:grpSpPr>
          <a:xfrm>
            <a:off x="11304905" y="0"/>
            <a:ext cx="886460" cy="504190"/>
            <a:chOff x="17803" y="0"/>
            <a:chExt cx="1396" cy="794"/>
          </a:xfrm>
        </p:grpSpPr>
        <p:cxnSp>
          <p:nvCxnSpPr>
            <p:cNvPr id="3" name="直接连接符 2"/>
            <p:cNvCxnSpPr/>
            <p:nvPr/>
          </p:nvCxnSpPr>
          <p:spPr>
            <a:xfrm>
              <a:off x="17911" y="0"/>
              <a:ext cx="0" cy="351"/>
            </a:xfrm>
            <a:prstGeom prst="line">
              <a:avLst/>
            </a:prstGeom>
            <a:ln w="127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直接连接符 3"/>
            <p:cNvCxnSpPr/>
            <p:nvPr/>
          </p:nvCxnSpPr>
          <p:spPr>
            <a:xfrm>
              <a:off x="17803" y="0"/>
              <a:ext cx="113" cy="0"/>
            </a:xfrm>
            <a:prstGeom prst="line">
              <a:avLst/>
            </a:prstGeom>
            <a:ln w="127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直接连接符 4"/>
            <p:cNvCxnSpPr/>
            <p:nvPr/>
          </p:nvCxnSpPr>
          <p:spPr>
            <a:xfrm>
              <a:off x="17803" y="351"/>
              <a:ext cx="113" cy="0"/>
            </a:xfrm>
            <a:prstGeom prst="line">
              <a:avLst/>
            </a:prstGeom>
            <a:ln w="127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/>
            <p:cNvCxnSpPr/>
            <p:nvPr/>
          </p:nvCxnSpPr>
          <p:spPr>
            <a:xfrm>
              <a:off x="18497" y="551"/>
              <a:ext cx="703" cy="0"/>
            </a:xfrm>
            <a:prstGeom prst="line">
              <a:avLst/>
            </a:prstGeom>
            <a:ln w="127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/>
            <p:cNvCxnSpPr/>
            <p:nvPr/>
          </p:nvCxnSpPr>
          <p:spPr>
            <a:xfrm>
              <a:off x="19195" y="438"/>
              <a:ext cx="0" cy="113"/>
            </a:xfrm>
            <a:prstGeom prst="line">
              <a:avLst/>
            </a:prstGeom>
            <a:ln w="127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8"/>
            <p:cNvCxnSpPr/>
            <p:nvPr/>
          </p:nvCxnSpPr>
          <p:spPr>
            <a:xfrm>
              <a:off x="18502" y="438"/>
              <a:ext cx="0" cy="113"/>
            </a:xfrm>
            <a:prstGeom prst="line">
              <a:avLst/>
            </a:prstGeom>
            <a:ln w="127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文本框 11"/>
            <p:cNvSpPr txBox="1"/>
            <p:nvPr/>
          </p:nvSpPr>
          <p:spPr>
            <a:xfrm>
              <a:off x="17826" y="43"/>
              <a:ext cx="241" cy="2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600">
                  <a:latin typeface="方正兰亭黑简体" panose="02000000000000000000" charset="-122"/>
                  <a:ea typeface="方正兰亭黑简体" panose="02000000000000000000" charset="-122"/>
                </a:rPr>
                <a:t>T</a:t>
              </a: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18597" y="506"/>
              <a:ext cx="503" cy="2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600">
                  <a:latin typeface="方正兰亭黑简体" panose="02000000000000000000" charset="-122"/>
                  <a:ea typeface="方正兰亭黑简体" panose="02000000000000000000" charset="-122"/>
                </a:rPr>
                <a:t>2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230752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 descr="徽标, 公司名称&#10;&#10;描述已自动生成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08600" y="2441487"/>
            <a:ext cx="1574800" cy="175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494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942228" y="6356350"/>
            <a:ext cx="2743200" cy="365125"/>
          </a:xfrm>
        </p:spPr>
        <p:txBody>
          <a:bodyPr/>
          <a:lstStyle/>
          <a:p>
            <a:fld id="{2BFE292F-1EBE-6D4A-B339-A324D614A372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2" name="图片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26128" y="209550"/>
            <a:ext cx="854075" cy="273050"/>
          </a:xfrm>
          <a:prstGeom prst="rect">
            <a:avLst/>
          </a:prstGeom>
          <a:noFill/>
          <a:ln w="9525">
            <a:noFill/>
          </a:ln>
        </p:spPr>
      </p:pic>
      <p:grpSp>
        <p:nvGrpSpPr>
          <p:cNvPr id="10" name="组合 9"/>
          <p:cNvGrpSpPr/>
          <p:nvPr userDrawn="1"/>
        </p:nvGrpSpPr>
        <p:grpSpPr>
          <a:xfrm>
            <a:off x="11304905" y="0"/>
            <a:ext cx="886460" cy="504190"/>
            <a:chOff x="17803" y="0"/>
            <a:chExt cx="1396" cy="794"/>
          </a:xfrm>
        </p:grpSpPr>
        <p:cxnSp>
          <p:nvCxnSpPr>
            <p:cNvPr id="3" name="直接连接符 2"/>
            <p:cNvCxnSpPr/>
            <p:nvPr/>
          </p:nvCxnSpPr>
          <p:spPr>
            <a:xfrm>
              <a:off x="17911" y="0"/>
              <a:ext cx="0" cy="351"/>
            </a:xfrm>
            <a:prstGeom prst="line">
              <a:avLst/>
            </a:prstGeom>
            <a:ln w="127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直接连接符 3"/>
            <p:cNvCxnSpPr/>
            <p:nvPr/>
          </p:nvCxnSpPr>
          <p:spPr>
            <a:xfrm>
              <a:off x="17803" y="0"/>
              <a:ext cx="113" cy="0"/>
            </a:xfrm>
            <a:prstGeom prst="line">
              <a:avLst/>
            </a:prstGeom>
            <a:ln w="127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直接连接符 4"/>
            <p:cNvCxnSpPr/>
            <p:nvPr/>
          </p:nvCxnSpPr>
          <p:spPr>
            <a:xfrm>
              <a:off x="17803" y="351"/>
              <a:ext cx="113" cy="0"/>
            </a:xfrm>
            <a:prstGeom prst="line">
              <a:avLst/>
            </a:prstGeom>
            <a:ln w="127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/>
            <p:cNvCxnSpPr/>
            <p:nvPr/>
          </p:nvCxnSpPr>
          <p:spPr>
            <a:xfrm>
              <a:off x="18497" y="551"/>
              <a:ext cx="703" cy="0"/>
            </a:xfrm>
            <a:prstGeom prst="line">
              <a:avLst/>
            </a:prstGeom>
            <a:ln w="127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/>
            <p:cNvCxnSpPr/>
            <p:nvPr/>
          </p:nvCxnSpPr>
          <p:spPr>
            <a:xfrm>
              <a:off x="19195" y="438"/>
              <a:ext cx="0" cy="113"/>
            </a:xfrm>
            <a:prstGeom prst="line">
              <a:avLst/>
            </a:prstGeom>
            <a:ln w="127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8"/>
            <p:cNvCxnSpPr/>
            <p:nvPr/>
          </p:nvCxnSpPr>
          <p:spPr>
            <a:xfrm>
              <a:off x="18502" y="438"/>
              <a:ext cx="0" cy="113"/>
            </a:xfrm>
            <a:prstGeom prst="line">
              <a:avLst/>
            </a:prstGeom>
            <a:ln w="127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文本框 10"/>
            <p:cNvSpPr txBox="1"/>
            <p:nvPr/>
          </p:nvSpPr>
          <p:spPr>
            <a:xfrm>
              <a:off x="17826" y="43"/>
              <a:ext cx="241" cy="2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600">
                  <a:latin typeface="方正兰亭黑简体" panose="02000000000000000000" charset="-122"/>
                  <a:ea typeface="方正兰亭黑简体" panose="02000000000000000000" charset="-122"/>
                </a:rPr>
                <a:t>T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18597" y="506"/>
              <a:ext cx="503" cy="2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600">
                  <a:latin typeface="方正兰亭黑简体" panose="02000000000000000000" charset="-122"/>
                  <a:ea typeface="方正兰亭黑简体" panose="02000000000000000000" charset="-122"/>
                </a:rPr>
                <a:t>2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35235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5803430" y="6424571"/>
            <a:ext cx="585140" cy="232752"/>
          </a:xfrm>
        </p:spPr>
        <p:txBody>
          <a:bodyPr/>
          <a:lstStyle>
            <a:lvl1pPr algn="ctr"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2BFE292F-1EBE-6D4A-B339-A324D614A37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pic>
        <p:nvPicPr>
          <p:cNvPr id="9" name="图片 8" descr="图片包含 图形用户界面&#10;&#10;描述已自动生成"/>
          <p:cNvPicPr>
            <a:picLocks noChangeAspect="1"/>
          </p:cNvPicPr>
          <p:nvPr/>
        </p:nvPicPr>
        <p:blipFill rotWithShape="1">
          <a:blip r:embed="rId2"/>
          <a:srcRect r="68049"/>
          <a:stretch>
            <a:fillRect/>
          </a:stretch>
        </p:blipFill>
        <p:spPr>
          <a:xfrm>
            <a:off x="0" y="0"/>
            <a:ext cx="1022559" cy="901700"/>
          </a:xfrm>
          <a:prstGeom prst="rect">
            <a:avLst/>
          </a:prstGeom>
          <a:ln>
            <a:noFill/>
          </a:ln>
        </p:spPr>
      </p:pic>
      <p:pic>
        <p:nvPicPr>
          <p:cNvPr id="3077" name="图片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47723" y="314325"/>
            <a:ext cx="854075" cy="273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" name="标题 4">
            <a:extLst>
              <a:ext uri="{FF2B5EF4-FFF2-40B4-BE49-F238E27FC236}">
                <a16:creationId xmlns:a16="http://schemas.microsoft.com/office/drawing/2014/main" id="{8AF13F08-64B5-48D4-84B9-B391BA3E6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9926956" cy="70629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pic>
        <p:nvPicPr>
          <p:cNvPr id="11" name="Picture 69" descr="A picture containing logo&#10;&#10;Description automatically generated">
            <a:extLst>
              <a:ext uri="{FF2B5EF4-FFF2-40B4-BE49-F238E27FC236}">
                <a16:creationId xmlns:a16="http://schemas.microsoft.com/office/drawing/2014/main" id="{E4A17200-1E6A-474E-B8A7-15AD1958CFF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5446" y="6299200"/>
            <a:ext cx="853200" cy="378929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360DE1F7-048F-9397-12DF-60F04C4E4DEE}"/>
              </a:ext>
            </a:extLst>
          </p:cNvPr>
          <p:cNvSpPr/>
          <p:nvPr userDrawn="1"/>
        </p:nvSpPr>
        <p:spPr>
          <a:xfrm>
            <a:off x="-501188" y="430272"/>
            <a:ext cx="306454" cy="304802"/>
          </a:xfrm>
          <a:prstGeom prst="rect">
            <a:avLst/>
          </a:prstGeom>
          <a:solidFill>
            <a:srgbClr val="007FC3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28600" marR="0" lvl="0" indent="-228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D8C4B5C-89E8-345A-22EC-1470C1BD06B2}"/>
              </a:ext>
            </a:extLst>
          </p:cNvPr>
          <p:cNvSpPr/>
          <p:nvPr userDrawn="1"/>
        </p:nvSpPr>
        <p:spPr>
          <a:xfrm>
            <a:off x="-501188" y="798572"/>
            <a:ext cx="306454" cy="304802"/>
          </a:xfrm>
          <a:prstGeom prst="rect">
            <a:avLst/>
          </a:prstGeom>
          <a:solidFill>
            <a:srgbClr val="007FC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28600" marR="0" lvl="0" indent="-228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53FD541-10CD-B512-CDB2-9DEA4E381363}"/>
              </a:ext>
            </a:extLst>
          </p:cNvPr>
          <p:cNvSpPr/>
          <p:nvPr userDrawn="1"/>
        </p:nvSpPr>
        <p:spPr>
          <a:xfrm>
            <a:off x="-501188" y="1166872"/>
            <a:ext cx="306454" cy="304802"/>
          </a:xfrm>
          <a:prstGeom prst="rect">
            <a:avLst/>
          </a:prstGeom>
          <a:solidFill>
            <a:srgbClr val="007FC3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28600" marR="0" lvl="0" indent="-228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2C50F7B-211C-3A78-1323-D89B2B03059F}"/>
              </a:ext>
            </a:extLst>
          </p:cNvPr>
          <p:cNvSpPr/>
          <p:nvPr userDrawn="1"/>
        </p:nvSpPr>
        <p:spPr>
          <a:xfrm>
            <a:off x="-501188" y="1535172"/>
            <a:ext cx="306454" cy="304802"/>
          </a:xfrm>
          <a:prstGeom prst="rect">
            <a:avLst/>
          </a:prstGeom>
          <a:solidFill>
            <a:srgbClr val="007FC3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28600" marR="0" lvl="0" indent="-228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2DB9A7F-0B65-C8B9-9D6F-0B306C35683B}"/>
              </a:ext>
            </a:extLst>
          </p:cNvPr>
          <p:cNvSpPr/>
          <p:nvPr userDrawn="1"/>
        </p:nvSpPr>
        <p:spPr>
          <a:xfrm>
            <a:off x="-501188" y="1903472"/>
            <a:ext cx="306454" cy="304802"/>
          </a:xfrm>
          <a:prstGeom prst="rect">
            <a:avLst/>
          </a:prstGeom>
          <a:solidFill>
            <a:srgbClr val="007FC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28600" marR="0" lvl="0" indent="-228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7834CBA-2476-108C-CDE7-EAB7D983C06D}"/>
              </a:ext>
            </a:extLst>
          </p:cNvPr>
          <p:cNvSpPr/>
          <p:nvPr userDrawn="1"/>
        </p:nvSpPr>
        <p:spPr>
          <a:xfrm>
            <a:off x="-501188" y="3008376"/>
            <a:ext cx="306454" cy="304802"/>
          </a:xfrm>
          <a:prstGeom prst="rect">
            <a:avLst/>
          </a:prstGeom>
          <a:solidFill>
            <a:srgbClr val="C5D3E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28600" marR="0" lvl="0" indent="-228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72A9872-378C-F23A-C37A-2B0C05F64071}"/>
              </a:ext>
            </a:extLst>
          </p:cNvPr>
          <p:cNvSpPr/>
          <p:nvPr userDrawn="1"/>
        </p:nvSpPr>
        <p:spPr>
          <a:xfrm>
            <a:off x="-501188" y="2271772"/>
            <a:ext cx="306454" cy="304802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28600" marR="0" lvl="0" indent="-228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218E48D-7381-D7D5-A383-D40C05F19C21}"/>
              </a:ext>
            </a:extLst>
          </p:cNvPr>
          <p:cNvSpPr/>
          <p:nvPr userDrawn="1"/>
        </p:nvSpPr>
        <p:spPr>
          <a:xfrm>
            <a:off x="-501188" y="2640074"/>
            <a:ext cx="306454" cy="304802"/>
          </a:xfrm>
          <a:prstGeom prst="rect">
            <a:avLst/>
          </a:prstGeom>
          <a:solidFill>
            <a:srgbClr val="7C9C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28600" marR="0" lvl="0" indent="-228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66177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12208747" cy="6858000"/>
          </a:xfrm>
          <a:prstGeom prst="rect">
            <a:avLst/>
          </a:prstGeom>
        </p:spPr>
      </p:pic>
      <p:pic>
        <p:nvPicPr>
          <p:cNvPr id="4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71BF0A13-6F3E-436B-9ACB-9CE67F141D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2742" y="6291102"/>
            <a:ext cx="935015" cy="415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5710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图片包含 图形用户界面&#10;&#10;描述已自动生成"/>
          <p:cNvPicPr>
            <a:picLocks noChangeAspect="1"/>
          </p:cNvPicPr>
          <p:nvPr/>
        </p:nvPicPr>
        <p:blipFill rotWithShape="1">
          <a:blip r:embed="rId2"/>
          <a:srcRect r="68049"/>
          <a:stretch>
            <a:fillRect/>
          </a:stretch>
        </p:blipFill>
        <p:spPr>
          <a:xfrm>
            <a:off x="0" y="0"/>
            <a:ext cx="1022559" cy="901700"/>
          </a:xfrm>
          <a:prstGeom prst="rect">
            <a:avLst/>
          </a:prstGeom>
          <a:ln>
            <a:noFill/>
          </a:ln>
        </p:spPr>
      </p:pic>
      <p:pic>
        <p:nvPicPr>
          <p:cNvPr id="3077" name="图片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47723" y="314325"/>
            <a:ext cx="854075" cy="273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" name="标题 4">
            <a:extLst>
              <a:ext uri="{FF2B5EF4-FFF2-40B4-BE49-F238E27FC236}">
                <a16:creationId xmlns:a16="http://schemas.microsoft.com/office/drawing/2014/main" id="{8AF13F08-64B5-48D4-84B9-B391BA3E6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9926956" cy="70629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pic>
        <p:nvPicPr>
          <p:cNvPr id="11" name="Picture 69" descr="A picture containing logo&#10;&#10;Description automatically generated">
            <a:extLst>
              <a:ext uri="{FF2B5EF4-FFF2-40B4-BE49-F238E27FC236}">
                <a16:creationId xmlns:a16="http://schemas.microsoft.com/office/drawing/2014/main" id="{E4A17200-1E6A-474E-B8A7-15AD1958CFF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5446" y="6299200"/>
            <a:ext cx="853200" cy="37892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F4645E-6610-ECD2-3765-CAFE2DB0F1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0607550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 descr="徽标&#10;&#10;描述已自动生成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0800" y="2997198"/>
            <a:ext cx="1231900" cy="863600"/>
          </a:xfrm>
          <a:prstGeom prst="rect">
            <a:avLst/>
          </a:prstGeom>
        </p:spPr>
      </p:pic>
      <p:pic>
        <p:nvPicPr>
          <p:cNvPr id="3077" name="图片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93413" y="269875"/>
            <a:ext cx="854075" cy="2730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" name="Picture 69" descr="A picture containing logo&#10;&#10;Description automatically generated">
            <a:extLst>
              <a:ext uri="{FF2B5EF4-FFF2-40B4-BE49-F238E27FC236}">
                <a16:creationId xmlns:a16="http://schemas.microsoft.com/office/drawing/2014/main" id="{DE310ED5-E662-4C53-9121-A6714257E3A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375" y="6220558"/>
            <a:ext cx="983423" cy="436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7946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图片包含 图形用户界面&#10;&#10;描述已自动生成"/>
          <p:cNvPicPr>
            <a:picLocks noChangeAspect="1"/>
          </p:cNvPicPr>
          <p:nvPr/>
        </p:nvPicPr>
        <p:blipFill rotWithShape="1">
          <a:blip r:embed="rId2"/>
          <a:srcRect r="68049"/>
          <a:stretch>
            <a:fillRect/>
          </a:stretch>
        </p:blipFill>
        <p:spPr>
          <a:xfrm>
            <a:off x="0" y="0"/>
            <a:ext cx="1022559" cy="901700"/>
          </a:xfrm>
          <a:prstGeom prst="rect">
            <a:avLst/>
          </a:prstGeom>
          <a:ln>
            <a:noFill/>
          </a:ln>
        </p:spPr>
      </p:pic>
      <p:pic>
        <p:nvPicPr>
          <p:cNvPr id="3077" name="图片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47723" y="314325"/>
            <a:ext cx="854075" cy="273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" name="标题 4">
            <a:extLst>
              <a:ext uri="{FF2B5EF4-FFF2-40B4-BE49-F238E27FC236}">
                <a16:creationId xmlns:a16="http://schemas.microsoft.com/office/drawing/2014/main" id="{8AF13F08-64B5-48D4-84B9-B391BA3E6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9926956" cy="70629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pic>
        <p:nvPicPr>
          <p:cNvPr id="11" name="Picture 69" descr="A picture containing logo&#10;&#10;Description automatically generated">
            <a:extLst>
              <a:ext uri="{FF2B5EF4-FFF2-40B4-BE49-F238E27FC236}">
                <a16:creationId xmlns:a16="http://schemas.microsoft.com/office/drawing/2014/main" id="{E4A17200-1E6A-474E-B8A7-15AD1958CFF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5446" y="6299200"/>
            <a:ext cx="853200" cy="37892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F4645E-6610-ECD2-3765-CAFE2DB0F1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312827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 descr="徽标, 公司名称&#10;&#10;描述已自动生成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08600" y="2441487"/>
            <a:ext cx="1574800" cy="1752600"/>
          </a:xfrm>
          <a:prstGeom prst="rect">
            <a:avLst/>
          </a:prstGeom>
        </p:spPr>
      </p:pic>
      <p:pic>
        <p:nvPicPr>
          <p:cNvPr id="5" name="Picture 69" descr="A picture containing logo&#10;&#10;Description automatically generated">
            <a:extLst>
              <a:ext uri="{FF2B5EF4-FFF2-40B4-BE49-F238E27FC236}">
                <a16:creationId xmlns:a16="http://schemas.microsoft.com/office/drawing/2014/main" id="{A6A077B6-25DF-4148-AB7B-270FC3086F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375" y="6220558"/>
            <a:ext cx="983423" cy="436765"/>
          </a:xfrm>
          <a:prstGeom prst="rect">
            <a:avLst/>
          </a:prstGeom>
        </p:spPr>
      </p:pic>
      <p:pic>
        <p:nvPicPr>
          <p:cNvPr id="6" name="图片 6">
            <a:extLst>
              <a:ext uri="{FF2B5EF4-FFF2-40B4-BE49-F238E27FC236}">
                <a16:creationId xmlns:a16="http://schemas.microsoft.com/office/drawing/2014/main" id="{DFFEB068-2BD6-4F52-8E09-F00D9CA60B0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47723" y="314325"/>
            <a:ext cx="854075" cy="273050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2632721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 descr="徽标&#10;&#10;描述已自动生成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0800" y="2997198"/>
            <a:ext cx="1231900" cy="863600"/>
          </a:xfrm>
          <a:prstGeom prst="rect">
            <a:avLst/>
          </a:prstGeom>
        </p:spPr>
      </p:pic>
      <p:pic>
        <p:nvPicPr>
          <p:cNvPr id="3077" name="图片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93413" y="269875"/>
            <a:ext cx="854075" cy="2730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" name="Picture 69" descr="A picture containing logo&#10;&#10;Description automatically generated">
            <a:extLst>
              <a:ext uri="{FF2B5EF4-FFF2-40B4-BE49-F238E27FC236}">
                <a16:creationId xmlns:a16="http://schemas.microsoft.com/office/drawing/2014/main" id="{DE310ED5-E662-4C53-9121-A6714257E3A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375" y="6220558"/>
            <a:ext cx="983423" cy="436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230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 descr="徽标, 公司名称&#10;&#10;描述已自动生成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08600" y="2441487"/>
            <a:ext cx="1574800" cy="1752600"/>
          </a:xfrm>
          <a:prstGeom prst="rect">
            <a:avLst/>
          </a:prstGeom>
        </p:spPr>
      </p:pic>
      <p:pic>
        <p:nvPicPr>
          <p:cNvPr id="5" name="Picture 69" descr="A picture containing logo&#10;&#10;Description automatically generated">
            <a:extLst>
              <a:ext uri="{FF2B5EF4-FFF2-40B4-BE49-F238E27FC236}">
                <a16:creationId xmlns:a16="http://schemas.microsoft.com/office/drawing/2014/main" id="{A6A077B6-25DF-4148-AB7B-270FC3086F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375" y="6220558"/>
            <a:ext cx="983423" cy="436765"/>
          </a:xfrm>
          <a:prstGeom prst="rect">
            <a:avLst/>
          </a:prstGeom>
        </p:spPr>
      </p:pic>
      <p:pic>
        <p:nvPicPr>
          <p:cNvPr id="6" name="图片 6">
            <a:extLst>
              <a:ext uri="{FF2B5EF4-FFF2-40B4-BE49-F238E27FC236}">
                <a16:creationId xmlns:a16="http://schemas.microsoft.com/office/drawing/2014/main" id="{DFFEB068-2BD6-4F52-8E09-F00D9CA60B0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47723" y="314325"/>
            <a:ext cx="854075" cy="273050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18139153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12208747" cy="6858000"/>
          </a:xfrm>
          <a:prstGeom prst="rect">
            <a:avLst/>
          </a:prstGeom>
        </p:spPr>
      </p:pic>
      <p:pic>
        <p:nvPicPr>
          <p:cNvPr id="4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71BF0A13-6F3E-436B-9ACB-9CE67F141D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2742" y="6291102"/>
            <a:ext cx="935015" cy="415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0858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5803430" y="6424571"/>
            <a:ext cx="585140" cy="232752"/>
          </a:xfrm>
        </p:spPr>
        <p:txBody>
          <a:bodyPr/>
          <a:lstStyle>
            <a:lvl1pPr algn="ctr"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2BFE292F-1EBE-6D4A-B339-A324D614A37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pic>
        <p:nvPicPr>
          <p:cNvPr id="9" name="图片 8" descr="图片包含 图形用户界面&#10;&#10;描述已自动生成"/>
          <p:cNvPicPr>
            <a:picLocks noChangeAspect="1"/>
          </p:cNvPicPr>
          <p:nvPr/>
        </p:nvPicPr>
        <p:blipFill rotWithShape="1">
          <a:blip r:embed="rId2"/>
          <a:srcRect r="68049"/>
          <a:stretch>
            <a:fillRect/>
          </a:stretch>
        </p:blipFill>
        <p:spPr>
          <a:xfrm>
            <a:off x="0" y="0"/>
            <a:ext cx="1022559" cy="901700"/>
          </a:xfrm>
          <a:prstGeom prst="rect">
            <a:avLst/>
          </a:prstGeom>
          <a:ln>
            <a:noFill/>
          </a:ln>
        </p:spPr>
      </p:pic>
      <p:pic>
        <p:nvPicPr>
          <p:cNvPr id="3077" name="图片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47723" y="314325"/>
            <a:ext cx="854075" cy="273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" name="标题 4">
            <a:extLst>
              <a:ext uri="{FF2B5EF4-FFF2-40B4-BE49-F238E27FC236}">
                <a16:creationId xmlns:a16="http://schemas.microsoft.com/office/drawing/2014/main" id="{8AF13F08-64B5-48D4-84B9-B391BA3E6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9926956" cy="70629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pic>
        <p:nvPicPr>
          <p:cNvPr id="11" name="Picture 69" descr="A picture containing logo&#10;&#10;Description automatically generated">
            <a:extLst>
              <a:ext uri="{FF2B5EF4-FFF2-40B4-BE49-F238E27FC236}">
                <a16:creationId xmlns:a16="http://schemas.microsoft.com/office/drawing/2014/main" id="{E4A17200-1E6A-474E-B8A7-15AD1958CFF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5446" y="6299200"/>
            <a:ext cx="853200" cy="37892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213538B-F9C2-4390-A26B-E1718D7B8A51}"/>
              </a:ext>
            </a:extLst>
          </p:cNvPr>
          <p:cNvSpPr/>
          <p:nvPr userDrawn="1"/>
        </p:nvSpPr>
        <p:spPr>
          <a:xfrm>
            <a:off x="-501188" y="430272"/>
            <a:ext cx="306454" cy="30480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4C368D-C427-45BA-8355-50F42199EF7F}"/>
              </a:ext>
            </a:extLst>
          </p:cNvPr>
          <p:cNvSpPr/>
          <p:nvPr userDrawn="1"/>
        </p:nvSpPr>
        <p:spPr>
          <a:xfrm>
            <a:off x="-501188" y="798572"/>
            <a:ext cx="306454" cy="30480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95534A-DD2E-408C-B1BE-4D7D50AA6E42}"/>
              </a:ext>
            </a:extLst>
          </p:cNvPr>
          <p:cNvSpPr/>
          <p:nvPr userDrawn="1"/>
        </p:nvSpPr>
        <p:spPr>
          <a:xfrm>
            <a:off x="-501188" y="1166872"/>
            <a:ext cx="306454" cy="30480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E80A91-CA6E-4942-A291-D74A94527036}"/>
              </a:ext>
            </a:extLst>
          </p:cNvPr>
          <p:cNvSpPr/>
          <p:nvPr userDrawn="1"/>
        </p:nvSpPr>
        <p:spPr>
          <a:xfrm>
            <a:off x="-501188" y="1535172"/>
            <a:ext cx="306454" cy="30480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27B86A8-827B-4CC6-8645-C358493F3039}"/>
              </a:ext>
            </a:extLst>
          </p:cNvPr>
          <p:cNvSpPr/>
          <p:nvPr userDrawn="1"/>
        </p:nvSpPr>
        <p:spPr>
          <a:xfrm>
            <a:off x="-501188" y="1903472"/>
            <a:ext cx="306454" cy="3048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7A3EFF-CE4C-4FCD-8EAB-A4356D79959F}"/>
              </a:ext>
            </a:extLst>
          </p:cNvPr>
          <p:cNvSpPr/>
          <p:nvPr userDrawn="1"/>
        </p:nvSpPr>
        <p:spPr>
          <a:xfrm>
            <a:off x="-501188" y="3008376"/>
            <a:ext cx="306454" cy="304802"/>
          </a:xfrm>
          <a:prstGeom prst="rect">
            <a:avLst/>
          </a:prstGeom>
          <a:solidFill>
            <a:srgbClr val="C5D3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E9C558B-5E6D-48AD-A5B8-0B1991EFB33A}"/>
              </a:ext>
            </a:extLst>
          </p:cNvPr>
          <p:cNvSpPr/>
          <p:nvPr userDrawn="1"/>
        </p:nvSpPr>
        <p:spPr>
          <a:xfrm>
            <a:off x="-501188" y="2271772"/>
            <a:ext cx="306454" cy="304802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DCCF5A-B3E9-462F-BFC5-27F1D9156D5D}"/>
              </a:ext>
            </a:extLst>
          </p:cNvPr>
          <p:cNvSpPr/>
          <p:nvPr userDrawn="1"/>
        </p:nvSpPr>
        <p:spPr>
          <a:xfrm>
            <a:off x="-501188" y="2640074"/>
            <a:ext cx="306454" cy="304802"/>
          </a:xfrm>
          <a:prstGeom prst="rect">
            <a:avLst/>
          </a:prstGeom>
          <a:solidFill>
            <a:srgbClr val="7C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CCD0947-2C79-0059-1A32-CBFBDD7A2C53}"/>
              </a:ext>
            </a:extLst>
          </p:cNvPr>
          <p:cNvSpPr/>
          <p:nvPr userDrawn="1"/>
        </p:nvSpPr>
        <p:spPr>
          <a:xfrm>
            <a:off x="-501188" y="3376678"/>
            <a:ext cx="306454" cy="304802"/>
          </a:xfrm>
          <a:prstGeom prst="rect">
            <a:avLst/>
          </a:prstGeom>
          <a:solidFill>
            <a:srgbClr val="E60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39318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5803430" y="6424571"/>
            <a:ext cx="585140" cy="232752"/>
          </a:xfrm>
        </p:spPr>
        <p:txBody>
          <a:bodyPr/>
          <a:lstStyle>
            <a:lvl1pPr algn="ctr"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2BFE292F-1EBE-6D4A-B339-A324D614A37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pic>
        <p:nvPicPr>
          <p:cNvPr id="9" name="图片 8" descr="图片包含 图形用户界面&#10;&#10;描述已自动生成"/>
          <p:cNvPicPr>
            <a:picLocks noChangeAspect="1"/>
          </p:cNvPicPr>
          <p:nvPr/>
        </p:nvPicPr>
        <p:blipFill rotWithShape="1">
          <a:blip r:embed="rId2"/>
          <a:srcRect r="68049"/>
          <a:stretch>
            <a:fillRect/>
          </a:stretch>
        </p:blipFill>
        <p:spPr>
          <a:xfrm>
            <a:off x="0" y="0"/>
            <a:ext cx="1022559" cy="901700"/>
          </a:xfrm>
          <a:prstGeom prst="rect">
            <a:avLst/>
          </a:prstGeom>
          <a:ln>
            <a:noFill/>
          </a:ln>
        </p:spPr>
      </p:pic>
      <p:pic>
        <p:nvPicPr>
          <p:cNvPr id="3077" name="图片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47723" y="314325"/>
            <a:ext cx="854075" cy="273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" name="标题 4">
            <a:extLst>
              <a:ext uri="{FF2B5EF4-FFF2-40B4-BE49-F238E27FC236}">
                <a16:creationId xmlns:a16="http://schemas.microsoft.com/office/drawing/2014/main" id="{8AF13F08-64B5-48D4-84B9-B391BA3E6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9926956" cy="70629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pic>
        <p:nvPicPr>
          <p:cNvPr id="11" name="Picture 69" descr="A picture containing logo&#10;&#10;Description automatically generated">
            <a:extLst>
              <a:ext uri="{FF2B5EF4-FFF2-40B4-BE49-F238E27FC236}">
                <a16:creationId xmlns:a16="http://schemas.microsoft.com/office/drawing/2014/main" id="{E4A17200-1E6A-474E-B8A7-15AD1958CFF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5446" y="6299200"/>
            <a:ext cx="853200" cy="37892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213538B-F9C2-4390-A26B-E1718D7B8A51}"/>
              </a:ext>
            </a:extLst>
          </p:cNvPr>
          <p:cNvSpPr/>
          <p:nvPr userDrawn="1"/>
        </p:nvSpPr>
        <p:spPr>
          <a:xfrm>
            <a:off x="-501188" y="430272"/>
            <a:ext cx="306454" cy="30480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4C368D-C427-45BA-8355-50F42199EF7F}"/>
              </a:ext>
            </a:extLst>
          </p:cNvPr>
          <p:cNvSpPr/>
          <p:nvPr userDrawn="1"/>
        </p:nvSpPr>
        <p:spPr>
          <a:xfrm>
            <a:off x="-501188" y="798572"/>
            <a:ext cx="306454" cy="30480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95534A-DD2E-408C-B1BE-4D7D50AA6E42}"/>
              </a:ext>
            </a:extLst>
          </p:cNvPr>
          <p:cNvSpPr/>
          <p:nvPr userDrawn="1"/>
        </p:nvSpPr>
        <p:spPr>
          <a:xfrm>
            <a:off x="-501188" y="1166872"/>
            <a:ext cx="306454" cy="30480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E80A91-CA6E-4942-A291-D74A94527036}"/>
              </a:ext>
            </a:extLst>
          </p:cNvPr>
          <p:cNvSpPr/>
          <p:nvPr userDrawn="1"/>
        </p:nvSpPr>
        <p:spPr>
          <a:xfrm>
            <a:off x="-501188" y="1535172"/>
            <a:ext cx="306454" cy="30480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27B86A8-827B-4CC6-8645-C358493F3039}"/>
              </a:ext>
            </a:extLst>
          </p:cNvPr>
          <p:cNvSpPr/>
          <p:nvPr userDrawn="1"/>
        </p:nvSpPr>
        <p:spPr>
          <a:xfrm>
            <a:off x="-501188" y="1903472"/>
            <a:ext cx="306454" cy="3048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7A3EFF-CE4C-4FCD-8EAB-A4356D79959F}"/>
              </a:ext>
            </a:extLst>
          </p:cNvPr>
          <p:cNvSpPr/>
          <p:nvPr userDrawn="1"/>
        </p:nvSpPr>
        <p:spPr>
          <a:xfrm>
            <a:off x="-501188" y="3008376"/>
            <a:ext cx="306454" cy="304802"/>
          </a:xfrm>
          <a:prstGeom prst="rect">
            <a:avLst/>
          </a:prstGeom>
          <a:solidFill>
            <a:srgbClr val="C5D3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E9C558B-5E6D-48AD-A5B8-0B1991EFB33A}"/>
              </a:ext>
            </a:extLst>
          </p:cNvPr>
          <p:cNvSpPr/>
          <p:nvPr userDrawn="1"/>
        </p:nvSpPr>
        <p:spPr>
          <a:xfrm>
            <a:off x="-501188" y="2271772"/>
            <a:ext cx="306454" cy="304802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DCCF5A-B3E9-462F-BFC5-27F1D9156D5D}"/>
              </a:ext>
            </a:extLst>
          </p:cNvPr>
          <p:cNvSpPr/>
          <p:nvPr userDrawn="1"/>
        </p:nvSpPr>
        <p:spPr>
          <a:xfrm>
            <a:off x="-501188" y="2640074"/>
            <a:ext cx="306454" cy="304802"/>
          </a:xfrm>
          <a:prstGeom prst="rect">
            <a:avLst/>
          </a:prstGeom>
          <a:solidFill>
            <a:srgbClr val="7C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1F1265-5145-4066-A4FF-FD666228BED5}"/>
              </a:ext>
            </a:extLst>
          </p:cNvPr>
          <p:cNvSpPr/>
          <p:nvPr userDrawn="1"/>
        </p:nvSpPr>
        <p:spPr>
          <a:xfrm>
            <a:off x="-501188" y="3376678"/>
            <a:ext cx="306454" cy="304802"/>
          </a:xfrm>
          <a:prstGeom prst="rect">
            <a:avLst/>
          </a:prstGeom>
          <a:solidFill>
            <a:srgbClr val="E60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9567255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5803430" y="6424571"/>
            <a:ext cx="585140" cy="232752"/>
          </a:xfrm>
        </p:spPr>
        <p:txBody>
          <a:bodyPr/>
          <a:lstStyle>
            <a:lvl1pPr algn="ctr"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2BFE292F-1EBE-6D4A-B339-A324D614A37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pic>
        <p:nvPicPr>
          <p:cNvPr id="9" name="图片 8" descr="图片包含 图形用户界面&#10;&#10;描述已自动生成"/>
          <p:cNvPicPr>
            <a:picLocks noChangeAspect="1"/>
          </p:cNvPicPr>
          <p:nvPr/>
        </p:nvPicPr>
        <p:blipFill rotWithShape="1">
          <a:blip r:embed="rId2"/>
          <a:srcRect r="68049"/>
          <a:stretch>
            <a:fillRect/>
          </a:stretch>
        </p:blipFill>
        <p:spPr>
          <a:xfrm>
            <a:off x="0" y="0"/>
            <a:ext cx="1022559" cy="901700"/>
          </a:xfrm>
          <a:prstGeom prst="rect">
            <a:avLst/>
          </a:prstGeom>
          <a:ln>
            <a:noFill/>
          </a:ln>
        </p:spPr>
      </p:pic>
      <p:pic>
        <p:nvPicPr>
          <p:cNvPr id="3077" name="图片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47723" y="314325"/>
            <a:ext cx="854075" cy="273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" name="标题 4">
            <a:extLst>
              <a:ext uri="{FF2B5EF4-FFF2-40B4-BE49-F238E27FC236}">
                <a16:creationId xmlns:a16="http://schemas.microsoft.com/office/drawing/2014/main" id="{8AF13F08-64B5-48D4-84B9-B391BA3E6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9926956" cy="70629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pic>
        <p:nvPicPr>
          <p:cNvPr id="11" name="Picture 69" descr="A picture containing logo&#10;&#10;Description automatically generated">
            <a:extLst>
              <a:ext uri="{FF2B5EF4-FFF2-40B4-BE49-F238E27FC236}">
                <a16:creationId xmlns:a16="http://schemas.microsoft.com/office/drawing/2014/main" id="{E4A17200-1E6A-474E-B8A7-15AD1958CFF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5446" y="6299200"/>
            <a:ext cx="853200" cy="37892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213538B-F9C2-4390-A26B-E1718D7B8A51}"/>
              </a:ext>
            </a:extLst>
          </p:cNvPr>
          <p:cNvSpPr/>
          <p:nvPr userDrawn="1"/>
        </p:nvSpPr>
        <p:spPr>
          <a:xfrm>
            <a:off x="-501188" y="430272"/>
            <a:ext cx="306454" cy="30480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4C368D-C427-45BA-8355-50F42199EF7F}"/>
              </a:ext>
            </a:extLst>
          </p:cNvPr>
          <p:cNvSpPr/>
          <p:nvPr userDrawn="1"/>
        </p:nvSpPr>
        <p:spPr>
          <a:xfrm>
            <a:off x="-501188" y="798572"/>
            <a:ext cx="306454" cy="30480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95534A-DD2E-408C-B1BE-4D7D50AA6E42}"/>
              </a:ext>
            </a:extLst>
          </p:cNvPr>
          <p:cNvSpPr/>
          <p:nvPr userDrawn="1"/>
        </p:nvSpPr>
        <p:spPr>
          <a:xfrm>
            <a:off x="-501188" y="1166872"/>
            <a:ext cx="306454" cy="30480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E80A91-CA6E-4942-A291-D74A94527036}"/>
              </a:ext>
            </a:extLst>
          </p:cNvPr>
          <p:cNvSpPr/>
          <p:nvPr userDrawn="1"/>
        </p:nvSpPr>
        <p:spPr>
          <a:xfrm>
            <a:off x="-501188" y="1535172"/>
            <a:ext cx="306454" cy="30480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27B86A8-827B-4CC6-8645-C358493F3039}"/>
              </a:ext>
            </a:extLst>
          </p:cNvPr>
          <p:cNvSpPr/>
          <p:nvPr userDrawn="1"/>
        </p:nvSpPr>
        <p:spPr>
          <a:xfrm>
            <a:off x="-501188" y="1903472"/>
            <a:ext cx="306454" cy="3048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7A3EFF-CE4C-4FCD-8EAB-A4356D79959F}"/>
              </a:ext>
            </a:extLst>
          </p:cNvPr>
          <p:cNvSpPr/>
          <p:nvPr userDrawn="1"/>
        </p:nvSpPr>
        <p:spPr>
          <a:xfrm>
            <a:off x="-501188" y="3008376"/>
            <a:ext cx="306454" cy="304802"/>
          </a:xfrm>
          <a:prstGeom prst="rect">
            <a:avLst/>
          </a:prstGeom>
          <a:solidFill>
            <a:srgbClr val="C5D3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E9C558B-5E6D-48AD-A5B8-0B1991EFB33A}"/>
              </a:ext>
            </a:extLst>
          </p:cNvPr>
          <p:cNvSpPr/>
          <p:nvPr userDrawn="1"/>
        </p:nvSpPr>
        <p:spPr>
          <a:xfrm>
            <a:off x="-501188" y="2271772"/>
            <a:ext cx="306454" cy="304802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DCCF5A-B3E9-462F-BFC5-27F1D9156D5D}"/>
              </a:ext>
            </a:extLst>
          </p:cNvPr>
          <p:cNvSpPr/>
          <p:nvPr userDrawn="1"/>
        </p:nvSpPr>
        <p:spPr>
          <a:xfrm>
            <a:off x="-501188" y="2640074"/>
            <a:ext cx="306454" cy="304802"/>
          </a:xfrm>
          <a:prstGeom prst="rect">
            <a:avLst/>
          </a:prstGeom>
          <a:solidFill>
            <a:srgbClr val="7C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CCB3898-DEFF-ABFB-F7BD-AFBC9084DFBA}"/>
              </a:ext>
            </a:extLst>
          </p:cNvPr>
          <p:cNvSpPr/>
          <p:nvPr userDrawn="1"/>
        </p:nvSpPr>
        <p:spPr>
          <a:xfrm>
            <a:off x="-501188" y="3376678"/>
            <a:ext cx="306454" cy="304802"/>
          </a:xfrm>
          <a:prstGeom prst="rect">
            <a:avLst/>
          </a:prstGeom>
          <a:solidFill>
            <a:srgbClr val="E60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0656900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 descr="徽标&#10;&#10;描述已自动生成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0800" y="2997198"/>
            <a:ext cx="1231900" cy="863600"/>
          </a:xfrm>
          <a:prstGeom prst="rect">
            <a:avLst/>
          </a:prstGeom>
        </p:spPr>
      </p:pic>
      <p:pic>
        <p:nvPicPr>
          <p:cNvPr id="3077" name="图片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93413" y="269875"/>
            <a:ext cx="854075" cy="2730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" name="Picture 69" descr="A picture containing logo&#10;&#10;Description automatically generated">
            <a:extLst>
              <a:ext uri="{FF2B5EF4-FFF2-40B4-BE49-F238E27FC236}">
                <a16:creationId xmlns:a16="http://schemas.microsoft.com/office/drawing/2014/main" id="{DE310ED5-E662-4C53-9121-A6714257E3A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375" y="6220558"/>
            <a:ext cx="983423" cy="436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0545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8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8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681385" y="6604000"/>
            <a:ext cx="526915" cy="2482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FE292F-1EBE-6D4A-B339-A324D614A37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B65D26-FD4D-DA04-09EE-58EAEC785450}"/>
              </a:ext>
            </a:extLst>
          </p:cNvPr>
          <p:cNvSpPr/>
          <p:nvPr userDrawn="1"/>
        </p:nvSpPr>
        <p:spPr>
          <a:xfrm>
            <a:off x="-501188" y="430272"/>
            <a:ext cx="306454" cy="30480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E97746-889A-4572-8AFB-AB46A5F160CF}"/>
              </a:ext>
            </a:extLst>
          </p:cNvPr>
          <p:cNvSpPr/>
          <p:nvPr userDrawn="1"/>
        </p:nvSpPr>
        <p:spPr>
          <a:xfrm>
            <a:off x="-501188" y="798572"/>
            <a:ext cx="306454" cy="30480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9491F7-8EFD-B3AD-0A1D-88AF700E9A10}"/>
              </a:ext>
            </a:extLst>
          </p:cNvPr>
          <p:cNvSpPr/>
          <p:nvPr userDrawn="1"/>
        </p:nvSpPr>
        <p:spPr>
          <a:xfrm>
            <a:off x="-501188" y="1166872"/>
            <a:ext cx="306454" cy="30480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E52437-3581-F2E8-B599-66513835D108}"/>
              </a:ext>
            </a:extLst>
          </p:cNvPr>
          <p:cNvSpPr/>
          <p:nvPr userDrawn="1"/>
        </p:nvSpPr>
        <p:spPr>
          <a:xfrm>
            <a:off x="-501188" y="1535172"/>
            <a:ext cx="306454" cy="30480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4F7852A-923C-F0BD-8B43-CF5138421EBF}"/>
              </a:ext>
            </a:extLst>
          </p:cNvPr>
          <p:cNvSpPr/>
          <p:nvPr userDrawn="1"/>
        </p:nvSpPr>
        <p:spPr>
          <a:xfrm>
            <a:off x="-501188" y="1903472"/>
            <a:ext cx="306454" cy="3048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3AAA827-A91D-4163-9920-27DAC280282D}"/>
              </a:ext>
            </a:extLst>
          </p:cNvPr>
          <p:cNvSpPr/>
          <p:nvPr userDrawn="1"/>
        </p:nvSpPr>
        <p:spPr>
          <a:xfrm>
            <a:off x="-501188" y="3008376"/>
            <a:ext cx="306454" cy="304802"/>
          </a:xfrm>
          <a:prstGeom prst="rect">
            <a:avLst/>
          </a:prstGeom>
          <a:solidFill>
            <a:srgbClr val="C5D3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3D6EA3F-25A6-2E6C-3800-4DE4410A7790}"/>
              </a:ext>
            </a:extLst>
          </p:cNvPr>
          <p:cNvSpPr/>
          <p:nvPr userDrawn="1"/>
        </p:nvSpPr>
        <p:spPr>
          <a:xfrm>
            <a:off x="-501188" y="2271772"/>
            <a:ext cx="306454" cy="304802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BE79BB7-E96D-A80C-BD80-3995852AAF36}"/>
              </a:ext>
            </a:extLst>
          </p:cNvPr>
          <p:cNvSpPr/>
          <p:nvPr userDrawn="1"/>
        </p:nvSpPr>
        <p:spPr>
          <a:xfrm>
            <a:off x="-501188" y="2640074"/>
            <a:ext cx="306454" cy="304802"/>
          </a:xfrm>
          <a:prstGeom prst="rect">
            <a:avLst/>
          </a:prstGeom>
          <a:solidFill>
            <a:srgbClr val="7C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6DAA30B-3755-DE86-93AC-BD1ED3500361}"/>
              </a:ext>
            </a:extLst>
          </p:cNvPr>
          <p:cNvSpPr/>
          <p:nvPr userDrawn="1"/>
        </p:nvSpPr>
        <p:spPr>
          <a:xfrm>
            <a:off x="-501188" y="3376678"/>
            <a:ext cx="306454" cy="304802"/>
          </a:xfrm>
          <a:prstGeom prst="rect">
            <a:avLst/>
          </a:prstGeom>
          <a:solidFill>
            <a:srgbClr val="E60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77168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80" r:id="rId3"/>
    <p:sldLayoutId id="2147483781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F118E2C-9913-4C1F-ACE1-858622A8B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0532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16" imgW="473" imgH="476" progId="TCLayout.ActiveDocument.1">
                  <p:embed/>
                </p:oleObj>
              </mc:Choice>
              <mc:Fallback>
                <p:oleObj name="think-cell Slide" r:id="rId16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F118E2C-9913-4C1F-ACE1-858622A8B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FE292F-1EBE-6D4A-B339-A324D614A37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99462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2C88CC-EE6C-908C-A344-D3E01440FA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13896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2C88CC-EE6C-908C-A344-D3E01440FA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681385" y="6604000"/>
            <a:ext cx="526915" cy="2482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FE292F-1EBE-6D4A-B339-A324D614A37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B65D26-FD4D-DA04-09EE-58EAEC785450}"/>
              </a:ext>
            </a:extLst>
          </p:cNvPr>
          <p:cNvSpPr/>
          <p:nvPr userDrawn="1"/>
        </p:nvSpPr>
        <p:spPr>
          <a:xfrm>
            <a:off x="-501188" y="430272"/>
            <a:ext cx="306454" cy="30480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E97746-889A-4572-8AFB-AB46A5F160CF}"/>
              </a:ext>
            </a:extLst>
          </p:cNvPr>
          <p:cNvSpPr/>
          <p:nvPr userDrawn="1"/>
        </p:nvSpPr>
        <p:spPr>
          <a:xfrm>
            <a:off x="-501188" y="798572"/>
            <a:ext cx="306454" cy="30480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9491F7-8EFD-B3AD-0A1D-88AF700E9A10}"/>
              </a:ext>
            </a:extLst>
          </p:cNvPr>
          <p:cNvSpPr/>
          <p:nvPr userDrawn="1"/>
        </p:nvSpPr>
        <p:spPr>
          <a:xfrm>
            <a:off x="-501188" y="1166872"/>
            <a:ext cx="306454" cy="30480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E52437-3581-F2E8-B599-66513835D108}"/>
              </a:ext>
            </a:extLst>
          </p:cNvPr>
          <p:cNvSpPr/>
          <p:nvPr userDrawn="1"/>
        </p:nvSpPr>
        <p:spPr>
          <a:xfrm>
            <a:off x="-501188" y="1535172"/>
            <a:ext cx="306454" cy="30480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4F7852A-923C-F0BD-8B43-CF5138421EBF}"/>
              </a:ext>
            </a:extLst>
          </p:cNvPr>
          <p:cNvSpPr/>
          <p:nvPr userDrawn="1"/>
        </p:nvSpPr>
        <p:spPr>
          <a:xfrm>
            <a:off x="-501188" y="1903472"/>
            <a:ext cx="306454" cy="3048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3AAA827-A91D-4163-9920-27DAC280282D}"/>
              </a:ext>
            </a:extLst>
          </p:cNvPr>
          <p:cNvSpPr/>
          <p:nvPr userDrawn="1"/>
        </p:nvSpPr>
        <p:spPr>
          <a:xfrm>
            <a:off x="-501188" y="3008376"/>
            <a:ext cx="306454" cy="304802"/>
          </a:xfrm>
          <a:prstGeom prst="rect">
            <a:avLst/>
          </a:prstGeom>
          <a:solidFill>
            <a:srgbClr val="C5D3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3D6EA3F-25A6-2E6C-3800-4DE4410A7790}"/>
              </a:ext>
            </a:extLst>
          </p:cNvPr>
          <p:cNvSpPr/>
          <p:nvPr userDrawn="1"/>
        </p:nvSpPr>
        <p:spPr>
          <a:xfrm>
            <a:off x="-501188" y="2271772"/>
            <a:ext cx="306454" cy="304802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BE79BB7-E96D-A80C-BD80-3995852AAF36}"/>
              </a:ext>
            </a:extLst>
          </p:cNvPr>
          <p:cNvSpPr/>
          <p:nvPr userDrawn="1"/>
        </p:nvSpPr>
        <p:spPr>
          <a:xfrm>
            <a:off x="-501188" y="2640074"/>
            <a:ext cx="306454" cy="304802"/>
          </a:xfrm>
          <a:prstGeom prst="rect">
            <a:avLst/>
          </a:prstGeom>
          <a:solidFill>
            <a:srgbClr val="7C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6DAA30B-3755-DE86-93AC-BD1ED3500361}"/>
              </a:ext>
            </a:extLst>
          </p:cNvPr>
          <p:cNvSpPr/>
          <p:nvPr userDrawn="1"/>
        </p:nvSpPr>
        <p:spPr>
          <a:xfrm>
            <a:off x="-501188" y="3376678"/>
            <a:ext cx="306454" cy="304802"/>
          </a:xfrm>
          <a:prstGeom prst="rect">
            <a:avLst/>
          </a:prstGeom>
          <a:solidFill>
            <a:srgbClr val="E60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Arial" panose="020B0604020202020204" pitchFamily="34" charset="0"/>
              <a:buChar char="•"/>
            </a:pPr>
            <a:endParaRPr lang="zh-CN" altLang="en-US" sz="1400"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933336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8.emf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4.png"/><Relationship Id="rId4" Type="http://schemas.openxmlformats.org/officeDocument/2006/relationships/image" Target="../media/image14.sv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4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8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6.sv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12.sv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1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AD8C2D-BB3A-D869-A219-3413B939917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604000"/>
            <a:ext cx="527050" cy="247650"/>
          </a:xfrm>
        </p:spPr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1</a:t>
            </a:fld>
            <a:endParaRPr kumimoji="1" lang="zh-CN" altLang="en-US"/>
          </a:p>
        </p:txBody>
      </p:sp>
      <p:sp>
        <p:nvSpPr>
          <p:cNvPr id="2" name="主标题为方正兰亭 , 最大30pt">
            <a:extLst>
              <a:ext uri="{FF2B5EF4-FFF2-40B4-BE49-F238E27FC236}">
                <a16:creationId xmlns:a16="http://schemas.microsoft.com/office/drawing/2014/main" id="{6F4402EC-067E-32C9-207F-58F72AE03BA3}"/>
              </a:ext>
            </a:extLst>
          </p:cNvPr>
          <p:cNvSpPr txBox="1"/>
          <p:nvPr/>
        </p:nvSpPr>
        <p:spPr>
          <a:xfrm>
            <a:off x="695580" y="2664688"/>
            <a:ext cx="5150049" cy="1528624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/>
          <a:p>
            <a:pPr marL="0" marR="0" lvl="0" indent="0" algn="l" defTabSz="205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5E5E5E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kumimoji="0" lang="en-US" altLang="zh-CN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TCL</a:t>
            </a:r>
            <a:r>
              <a:rPr kumimoji="0" lang="zh-CN" altLang="en-U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实业核算与报告项目</a:t>
            </a:r>
          </a:p>
          <a:p>
            <a:pPr marL="0" marR="0" lvl="0" indent="0" algn="l" defTabSz="205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5E5E5E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lang="zh-CN" altLang="en-US" sz="3200" b="1">
                <a:solidFill>
                  <a:prstClr val="white"/>
                </a:solidFill>
                <a:cs typeface="+mn-ea"/>
                <a:sym typeface="+mn-lt"/>
              </a:rPr>
              <a:t>变动销售费用</a:t>
            </a:r>
            <a:r>
              <a:rPr lang="en-US" altLang="zh-CN" sz="3200" b="1">
                <a:solidFill>
                  <a:prstClr val="white"/>
                </a:solidFill>
                <a:cs typeface="+mn-ea"/>
                <a:sym typeface="+mn-lt"/>
              </a:rPr>
              <a:t>-</a:t>
            </a:r>
            <a:r>
              <a:rPr lang="zh-CN" altLang="en-US" sz="3200" b="1">
                <a:solidFill>
                  <a:prstClr val="white"/>
                </a:solidFill>
                <a:cs typeface="+mn-ea"/>
                <a:sym typeface="+mn-lt"/>
              </a:rPr>
              <a:t>推广费</a:t>
            </a:r>
            <a:endParaRPr lang="en-US" altLang="zh-CN" sz="3200" b="1">
              <a:solidFill>
                <a:prstClr val="white"/>
              </a:solidFill>
              <a:cs typeface="+mn-ea"/>
              <a:sym typeface="+mn-lt"/>
            </a:endParaRPr>
          </a:p>
          <a:p>
            <a:pPr marL="0" marR="0" lvl="0" indent="0" algn="l" defTabSz="205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5E5E5E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lang="zh-CN" altLang="en-US" sz="3200" b="1">
                <a:solidFill>
                  <a:prstClr val="white"/>
                </a:solidFill>
                <a:cs typeface="+mn-ea"/>
                <a:sym typeface="+mn-lt"/>
              </a:rPr>
              <a:t>解决方案</a:t>
            </a:r>
            <a:endParaRPr kumimoji="0" lang="zh-CN" altLang="en-US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" name="副标题字体为方正兰亭, 14pt">
            <a:extLst>
              <a:ext uri="{FF2B5EF4-FFF2-40B4-BE49-F238E27FC236}">
                <a16:creationId xmlns:a16="http://schemas.microsoft.com/office/drawing/2014/main" id="{9A5168C6-4C68-2DC3-CC94-294F308229CE}"/>
              </a:ext>
            </a:extLst>
          </p:cNvPr>
          <p:cNvSpPr txBox="1"/>
          <p:nvPr/>
        </p:nvSpPr>
        <p:spPr>
          <a:xfrm>
            <a:off x="740174" y="4710540"/>
            <a:ext cx="849592" cy="359073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/>
          <a:p>
            <a:pPr marL="0" marR="0" lvl="0" indent="0" algn="l" defTabSz="2108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>
                <a:solidFill>
                  <a:srgbClr val="5E5E5E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2023</a:t>
            </a:r>
            <a:r>
              <a:rPr kumimoji="0" lang="en-US" altLang="zh-CN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-3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pic>
        <p:nvPicPr>
          <p:cNvPr id="5" name="图片 6">
            <a:extLst>
              <a:ext uri="{FF2B5EF4-FFF2-40B4-BE49-F238E27FC236}">
                <a16:creationId xmlns:a16="http://schemas.microsoft.com/office/drawing/2014/main" id="{CB13FE53-8997-60DA-C226-C30A1D5E33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581" y="1211127"/>
            <a:ext cx="168695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4720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ectangle 88">
            <a:extLst>
              <a:ext uri="{FF2B5EF4-FFF2-40B4-BE49-F238E27FC236}">
                <a16:creationId xmlns:a16="http://schemas.microsoft.com/office/drawing/2014/main" id="{B968377F-E9CA-FAA1-905A-F4E2299D5A4B}"/>
              </a:ext>
            </a:extLst>
          </p:cNvPr>
          <p:cNvSpPr/>
          <p:nvPr/>
        </p:nvSpPr>
        <p:spPr>
          <a:xfrm>
            <a:off x="1269638" y="1907204"/>
            <a:ext cx="3438169" cy="317346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96D9FD99-BB55-6E70-5164-30FA83BD47B7}"/>
              </a:ext>
            </a:extLst>
          </p:cNvPr>
          <p:cNvSpPr/>
          <p:nvPr/>
        </p:nvSpPr>
        <p:spPr>
          <a:xfrm>
            <a:off x="4704864" y="1901240"/>
            <a:ext cx="3438169" cy="318297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C046884F-896C-E705-5EE1-8B03A46ED71A}"/>
              </a:ext>
            </a:extLst>
          </p:cNvPr>
          <p:cNvSpPr/>
          <p:nvPr/>
        </p:nvSpPr>
        <p:spPr>
          <a:xfrm>
            <a:off x="451579" y="1423208"/>
            <a:ext cx="11129624" cy="3661001"/>
          </a:xfrm>
          <a:prstGeom prst="rect">
            <a:avLst/>
          </a:prstGeom>
          <a:solidFill>
            <a:schemeClr val="bg1">
              <a:alpha val="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56B8F4-874A-CFB5-B37C-9B912FD9E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短期系统流程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381CB9-F1DA-585E-7A04-EEC152725F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10</a:t>
            </a:fld>
            <a:endParaRPr kumimoji="1" lang="zh-CN" alt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061EE3C-20A1-FA9D-3A0B-88B47BD31718}"/>
              </a:ext>
            </a:extLst>
          </p:cNvPr>
          <p:cNvSpPr/>
          <p:nvPr/>
        </p:nvSpPr>
        <p:spPr>
          <a:xfrm>
            <a:off x="2016916" y="2148048"/>
            <a:ext cx="1655997" cy="541492"/>
          </a:xfrm>
          <a:prstGeom prst="rect">
            <a:avLst/>
          </a:prstGeom>
          <a:solidFill>
            <a:srgbClr val="F8CBAD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="horz" wrap="square" lIns="0" tIns="45720" rIns="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00</a:t>
            </a:r>
          </a:p>
          <a:p>
            <a:pPr marL="0" marR="0" lvl="0" indent="0" algn="ctr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项目主数据维护、审批、发布</a:t>
            </a:r>
            <a:endParaRPr kumimoji="0" lang="en-US" altLang="zh-CN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" name="Flowchart: Terminator 14">
            <a:extLst>
              <a:ext uri="{FF2B5EF4-FFF2-40B4-BE49-F238E27FC236}">
                <a16:creationId xmlns:a16="http://schemas.microsoft.com/office/drawing/2014/main" id="{6C7D7972-7DDD-D4E1-F10D-2AE5779DA4E9}"/>
              </a:ext>
            </a:extLst>
          </p:cNvPr>
          <p:cNvSpPr/>
          <p:nvPr/>
        </p:nvSpPr>
        <p:spPr>
          <a:xfrm>
            <a:off x="470484" y="2261686"/>
            <a:ext cx="718100" cy="314218"/>
          </a:xfrm>
          <a:prstGeom prst="flowChartTerminator">
            <a:avLst/>
          </a:prstGeom>
          <a:noFill/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45720" rIns="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项目立项与发布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90D3F9E-E689-A183-7B24-EC8CAD4478DF}"/>
              </a:ext>
            </a:extLst>
          </p:cNvPr>
          <p:cNvSpPr/>
          <p:nvPr/>
        </p:nvSpPr>
        <p:spPr>
          <a:xfrm>
            <a:off x="9073176" y="3409272"/>
            <a:ext cx="1812284" cy="541492"/>
          </a:xfrm>
          <a:prstGeom prst="rect">
            <a:avLst/>
          </a:prstGeom>
          <a:solidFill>
            <a:srgbClr val="C5E0B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1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会计凭证生成</a:t>
            </a: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207B5B2-BBCB-A2EE-2813-51424B478729}"/>
              </a:ext>
            </a:extLst>
          </p:cNvPr>
          <p:cNvSpPr/>
          <p:nvPr/>
        </p:nvSpPr>
        <p:spPr>
          <a:xfrm>
            <a:off x="1266592" y="1424007"/>
            <a:ext cx="3438169" cy="483995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olidFill>
                  <a:schemeClr val="tx1"/>
                </a:solidFill>
              </a:rPr>
              <a:t>MPM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5EDC47C-31B5-651C-3FFB-D29A90E846D5}"/>
              </a:ext>
            </a:extLst>
          </p:cNvPr>
          <p:cNvSpPr/>
          <p:nvPr/>
        </p:nvSpPr>
        <p:spPr>
          <a:xfrm>
            <a:off x="4704865" y="1424444"/>
            <a:ext cx="3438169" cy="483995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olidFill>
                  <a:schemeClr val="tx1"/>
                </a:solidFill>
              </a:rPr>
              <a:t>FSSC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F461411-FC1D-F4E3-8E9A-E61062708830}"/>
              </a:ext>
            </a:extLst>
          </p:cNvPr>
          <p:cNvSpPr/>
          <p:nvPr/>
        </p:nvSpPr>
        <p:spPr>
          <a:xfrm>
            <a:off x="8143034" y="1423208"/>
            <a:ext cx="3438169" cy="483995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olidFill>
                  <a:schemeClr val="tx1"/>
                </a:solidFill>
              </a:rPr>
              <a:t>SAP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95" name="TextBox 76">
            <a:extLst>
              <a:ext uri="{FF2B5EF4-FFF2-40B4-BE49-F238E27FC236}">
                <a16:creationId xmlns:a16="http://schemas.microsoft.com/office/drawing/2014/main" id="{C338EB92-364C-3B4D-3F79-70CE7D154DE4}"/>
              </a:ext>
            </a:extLst>
          </p:cNvPr>
          <p:cNvSpPr txBox="1"/>
          <p:nvPr/>
        </p:nvSpPr>
        <p:spPr>
          <a:xfrm>
            <a:off x="4712130" y="2951881"/>
            <a:ext cx="4462854" cy="215444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项目主数据</a:t>
            </a:r>
            <a:r>
              <a:rPr lang="zh-CN" altLang="en-US" sz="1100">
                <a:solidFill>
                  <a:srgbClr val="000000"/>
                </a:solidFill>
                <a:latin typeface="Arial"/>
              </a:rPr>
              <a:t>集成（字段：项目编码、描述、项目状态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（新接口）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lowchart: Terminator 13">
            <a:extLst>
              <a:ext uri="{FF2B5EF4-FFF2-40B4-BE49-F238E27FC236}">
                <a16:creationId xmlns:a16="http://schemas.microsoft.com/office/drawing/2014/main" id="{1B968779-C7BB-6F78-DA63-4A6E9E8522D8}"/>
              </a:ext>
            </a:extLst>
          </p:cNvPr>
          <p:cNvSpPr/>
          <p:nvPr/>
        </p:nvSpPr>
        <p:spPr>
          <a:xfrm>
            <a:off x="468955" y="3413493"/>
            <a:ext cx="718100" cy="314218"/>
          </a:xfrm>
          <a:prstGeom prst="flowChartTerminator">
            <a:avLst/>
          </a:prstGeom>
          <a:noFill/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45720" rIns="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FSSC</a:t>
            </a:r>
          </a:p>
        </p:txBody>
      </p:sp>
      <p:sp>
        <p:nvSpPr>
          <p:cNvPr id="28" name="TextBox 76">
            <a:extLst>
              <a:ext uri="{FF2B5EF4-FFF2-40B4-BE49-F238E27FC236}">
                <a16:creationId xmlns:a16="http://schemas.microsoft.com/office/drawing/2014/main" id="{A0423F39-CE34-7158-DCC1-E0CE45C274A9}"/>
              </a:ext>
            </a:extLst>
          </p:cNvPr>
          <p:cNvSpPr txBox="1"/>
          <p:nvPr/>
        </p:nvSpPr>
        <p:spPr>
          <a:xfrm>
            <a:off x="7503590" y="2474137"/>
            <a:ext cx="1304260" cy="38472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项目主数据</a:t>
            </a:r>
            <a:r>
              <a:rPr lang="zh-CN" altLang="en-US" sz="1100">
                <a:solidFill>
                  <a:srgbClr val="000000"/>
                </a:solidFill>
                <a:latin typeface="Arial"/>
              </a:rPr>
              <a:t>集成</a:t>
            </a:r>
            <a:r>
              <a:rPr lang="en-US" altLang="zh-CN" sz="1100">
                <a:solidFill>
                  <a:srgbClr val="000000"/>
                </a:solidFill>
                <a:latin typeface="Arial"/>
              </a:rPr>
              <a:t>(</a:t>
            </a:r>
            <a:r>
              <a:rPr lang="zh-CN" altLang="en-US" sz="1100">
                <a:solidFill>
                  <a:srgbClr val="000000"/>
                </a:solidFill>
                <a:latin typeface="Arial"/>
              </a:rPr>
              <a:t>现有接口</a:t>
            </a:r>
            <a:r>
              <a:rPr lang="en-US" altLang="zh-CN" sz="1100">
                <a:solidFill>
                  <a:srgbClr val="000000"/>
                </a:solidFill>
                <a:latin typeface="Arial"/>
              </a:rPr>
              <a:t>)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Box 76">
            <a:extLst>
              <a:ext uri="{FF2B5EF4-FFF2-40B4-BE49-F238E27FC236}">
                <a16:creationId xmlns:a16="http://schemas.microsoft.com/office/drawing/2014/main" id="{BB381822-17F4-5CDF-2D5D-D70889045957}"/>
              </a:ext>
            </a:extLst>
          </p:cNvPr>
          <p:cNvSpPr txBox="1"/>
          <p:nvPr/>
        </p:nvSpPr>
        <p:spPr>
          <a:xfrm>
            <a:off x="7503590" y="3727711"/>
            <a:ext cx="1304260" cy="72327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凭证集成（字段：品类、辅助核算项目、渠道、区域、动因）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B41B99D-13E9-238E-C92F-9C47C55869D9}"/>
              </a:ext>
            </a:extLst>
          </p:cNvPr>
          <p:cNvSpPr/>
          <p:nvPr/>
        </p:nvSpPr>
        <p:spPr>
          <a:xfrm>
            <a:off x="9080600" y="2160295"/>
            <a:ext cx="1812285" cy="541492"/>
          </a:xfrm>
          <a:prstGeom prst="rect">
            <a:avLst/>
          </a:prstGeom>
          <a:solidFill>
            <a:srgbClr val="C5E0B4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="horz" wrap="square" lIns="0" tIns="45720" rIns="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10</a:t>
            </a:r>
          </a:p>
          <a:p>
            <a:pPr marL="0" marR="0" lvl="0" indent="0" algn="ctr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ker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集成项目主数据（</a:t>
            </a:r>
            <a:r>
              <a:rPr lang="en-US" altLang="zh-CN" sz="1200" ker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BS</a:t>
            </a:r>
            <a:r>
              <a:rPr lang="zh-CN" altLang="en-US" sz="1200" ker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素）</a:t>
            </a:r>
            <a:endParaRPr kumimoji="0" lang="en-US" altLang="zh-CN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252950F-ABB9-B13D-664B-ECF07613B3FF}"/>
              </a:ext>
            </a:extLst>
          </p:cNvPr>
          <p:cNvSpPr/>
          <p:nvPr/>
        </p:nvSpPr>
        <p:spPr>
          <a:xfrm>
            <a:off x="5372624" y="2158433"/>
            <a:ext cx="1812285" cy="541492"/>
          </a:xfrm>
          <a:prstGeom prst="rect">
            <a:avLst/>
          </a:prstGeom>
          <a:solidFill>
            <a:srgbClr val="C0E9FF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="horz" wrap="square" lIns="0" tIns="45720" rIns="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20</a:t>
            </a:r>
          </a:p>
          <a:p>
            <a:pPr marL="0" marR="0" lvl="0" indent="0" algn="ctr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ker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集成项目主数据（</a:t>
            </a:r>
            <a:r>
              <a:rPr lang="en-US" altLang="zh-CN" sz="1200" ker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BS</a:t>
            </a:r>
            <a:r>
              <a:rPr lang="zh-CN" altLang="en-US" sz="1200" ker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素）</a:t>
            </a:r>
            <a:endParaRPr kumimoji="0" lang="en-US" altLang="zh-CN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37498A5A-A1DF-F619-C99D-7E3D65DF636C}"/>
              </a:ext>
            </a:extLst>
          </p:cNvPr>
          <p:cNvCxnSpPr>
            <a:cxnSpLocks/>
            <a:stCxn id="11" idx="2"/>
            <a:endCxn id="45" idx="2"/>
          </p:cNvCxnSpPr>
          <p:nvPr/>
        </p:nvCxnSpPr>
        <p:spPr>
          <a:xfrm rot="16200000" flipH="1">
            <a:off x="6409706" y="-875251"/>
            <a:ext cx="12247" cy="7141828"/>
          </a:xfrm>
          <a:prstGeom prst="bentConnector3">
            <a:avLst>
              <a:gd name="adj1" fmla="val 196658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910947D1-7475-49B2-655F-AE7A77AF9816}"/>
              </a:ext>
            </a:extLst>
          </p:cNvPr>
          <p:cNvCxnSpPr>
            <a:cxnSpLocks/>
            <a:stCxn id="45" idx="1"/>
            <a:endCxn id="46" idx="3"/>
          </p:cNvCxnSpPr>
          <p:nvPr/>
        </p:nvCxnSpPr>
        <p:spPr>
          <a:xfrm flipH="1" flipV="1">
            <a:off x="7184909" y="2429179"/>
            <a:ext cx="1895691" cy="186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1A26B2E7-E7AE-DBCA-A30E-D1DBB6EAD8CF}"/>
              </a:ext>
            </a:extLst>
          </p:cNvPr>
          <p:cNvSpPr/>
          <p:nvPr/>
        </p:nvSpPr>
        <p:spPr>
          <a:xfrm>
            <a:off x="5372625" y="3406637"/>
            <a:ext cx="1812284" cy="5414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填写费用申请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报销等单据</a:t>
            </a: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DDAE7C77-740A-EB6F-EB81-1DFA6FD8EAB3}"/>
              </a:ext>
            </a:extLst>
          </p:cNvPr>
          <p:cNvCxnSpPr>
            <a:cxnSpLocks/>
            <a:stCxn id="58" idx="3"/>
            <a:endCxn id="19" idx="1"/>
          </p:cNvCxnSpPr>
          <p:nvPr/>
        </p:nvCxnSpPr>
        <p:spPr>
          <a:xfrm>
            <a:off x="7184909" y="3677383"/>
            <a:ext cx="1888267" cy="26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5">
            <a:extLst>
              <a:ext uri="{FF2B5EF4-FFF2-40B4-BE49-F238E27FC236}">
                <a16:creationId xmlns:a16="http://schemas.microsoft.com/office/drawing/2014/main" id="{7DE534CB-E9E9-5A7F-8B9B-936B3FD26C22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lang="en-US" altLang="zh-CN" b="1">
                <a:solidFill>
                  <a:prstClr val="white"/>
                </a:solidFill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228E0488-C212-2173-85ED-59C6096D1B90}"/>
              </a:ext>
            </a:extLst>
          </p:cNvPr>
          <p:cNvSpPr/>
          <p:nvPr/>
        </p:nvSpPr>
        <p:spPr>
          <a:xfrm>
            <a:off x="10682434" y="5158575"/>
            <a:ext cx="269527" cy="1436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" name="TextBox 62">
            <a:extLst>
              <a:ext uri="{FF2B5EF4-FFF2-40B4-BE49-F238E27FC236}">
                <a16:creationId xmlns:a16="http://schemas.microsoft.com/office/drawing/2014/main" id="{E2742182-6D4B-4931-62DF-F3420B20B02B}"/>
              </a:ext>
            </a:extLst>
          </p:cNvPr>
          <p:cNvSpPr txBox="1"/>
          <p:nvPr/>
        </p:nvSpPr>
        <p:spPr>
          <a:xfrm>
            <a:off x="11015493" y="5149583"/>
            <a:ext cx="35849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SSC</a:t>
            </a: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0473AA34-76F9-3C2A-FCB3-E3FA013F007C}"/>
              </a:ext>
            </a:extLst>
          </p:cNvPr>
          <p:cNvSpPr/>
          <p:nvPr/>
        </p:nvSpPr>
        <p:spPr>
          <a:xfrm>
            <a:off x="9498317" y="5158575"/>
            <a:ext cx="269527" cy="143603"/>
          </a:xfrm>
          <a:prstGeom prst="rect">
            <a:avLst/>
          </a:prstGeom>
          <a:solidFill>
            <a:srgbClr val="C5E0B4"/>
          </a:solidFill>
          <a:ln w="12700" cap="flat" cmpd="sng" algn="ctr">
            <a:solidFill>
              <a:srgbClr val="92D050"/>
            </a:solidFill>
            <a:prstDash val="solid"/>
            <a:miter lim="800000"/>
          </a:ln>
          <a:effectLst/>
        </p:spPr>
        <p:txBody>
          <a:bodyPr rot="0" spcFirstLastPara="0" vert="horz" wrap="square" lIns="0" tIns="45720" rIns="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TextBox 62">
            <a:extLst>
              <a:ext uri="{FF2B5EF4-FFF2-40B4-BE49-F238E27FC236}">
                <a16:creationId xmlns:a16="http://schemas.microsoft.com/office/drawing/2014/main" id="{298199BC-768B-2166-2008-07C7734DAF72}"/>
              </a:ext>
            </a:extLst>
          </p:cNvPr>
          <p:cNvSpPr txBox="1"/>
          <p:nvPr/>
        </p:nvSpPr>
        <p:spPr>
          <a:xfrm>
            <a:off x="9882073" y="5138043"/>
            <a:ext cx="59952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SAP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</a:t>
            </a: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Rectangle 36">
            <a:extLst>
              <a:ext uri="{FF2B5EF4-FFF2-40B4-BE49-F238E27FC236}">
                <a16:creationId xmlns:a16="http://schemas.microsoft.com/office/drawing/2014/main" id="{67B45445-3340-6E67-76EE-E9A3DA717F03}"/>
              </a:ext>
            </a:extLst>
          </p:cNvPr>
          <p:cNvSpPr/>
          <p:nvPr/>
        </p:nvSpPr>
        <p:spPr>
          <a:xfrm>
            <a:off x="8230891" y="5158575"/>
            <a:ext cx="269527" cy="143603"/>
          </a:xfrm>
          <a:prstGeom prst="rect">
            <a:avLst/>
          </a:prstGeom>
          <a:solidFill>
            <a:srgbClr val="F8CBAD"/>
          </a:solidFill>
          <a:ln>
            <a:solidFill>
              <a:srgbClr val="FF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" name="TextBox 64">
            <a:extLst>
              <a:ext uri="{FF2B5EF4-FFF2-40B4-BE49-F238E27FC236}">
                <a16:creationId xmlns:a16="http://schemas.microsoft.com/office/drawing/2014/main" id="{4D48711F-135C-97F7-27A2-998334E2FA3D}"/>
              </a:ext>
            </a:extLst>
          </p:cNvPr>
          <p:cNvSpPr txBox="1"/>
          <p:nvPr/>
        </p:nvSpPr>
        <p:spPr>
          <a:xfrm>
            <a:off x="8614647" y="5138043"/>
            <a:ext cx="76944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方系统</a:t>
            </a: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TextBox 108">
            <a:extLst>
              <a:ext uri="{FF2B5EF4-FFF2-40B4-BE49-F238E27FC236}">
                <a16:creationId xmlns:a16="http://schemas.microsoft.com/office/drawing/2014/main" id="{B90CC624-FB09-887D-52C3-3CEEBD07FB46}"/>
              </a:ext>
            </a:extLst>
          </p:cNvPr>
          <p:cNvSpPr txBox="1"/>
          <p:nvPr/>
        </p:nvSpPr>
        <p:spPr>
          <a:xfrm>
            <a:off x="506373" y="5319980"/>
            <a:ext cx="10386512" cy="55399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流程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说明：</a:t>
            </a:r>
            <a:endParaRPr kumimoji="0" lang="en-US" altLang="zh-CN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00/110…</a:t>
            </a:r>
            <a:r>
              <a:rPr lang="zh-CN" altLang="en-US" sz="14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此处数字为流程序号，代表流程先后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98972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72FA23-052F-EDA0-D08F-AEA00568E9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03430" y="6424571"/>
            <a:ext cx="585140" cy="232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FE292F-1EBE-6D4A-B339-A324D614A372}" type="slidenum">
              <a:rPr kumimoji="1" lang="zh-CN" altLang="en-US" smtClean="0"/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0FA95E4-14A9-A0D5-F0DF-339A223CE8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cap="all">
                <a:latin typeface="+mn-lt"/>
                <a:ea typeface="+mn-ea"/>
                <a:cs typeface="+mn-ea"/>
                <a:sym typeface="+mn-lt"/>
              </a:rPr>
              <a:t>主数据相关改造需求 </a:t>
            </a:r>
            <a:r>
              <a:rPr lang="en-US" altLang="zh-CN" cap="all">
                <a:latin typeface="+mn-lt"/>
                <a:ea typeface="+mn-ea"/>
                <a:cs typeface="+mn-ea"/>
                <a:sym typeface="+mn-lt"/>
              </a:rPr>
              <a:t>- </a:t>
            </a:r>
            <a:r>
              <a:rPr lang="zh-CN" altLang="en-US" cap="all">
                <a:latin typeface="+mn-lt"/>
                <a:ea typeface="+mn-ea"/>
                <a:cs typeface="+mn-ea"/>
                <a:sym typeface="+mn-lt"/>
              </a:rPr>
              <a:t>① 项目主数据</a:t>
            </a:r>
            <a:r>
              <a:rPr lang="en-US" altLang="zh-CN" cap="all">
                <a:latin typeface="+mn-lt"/>
                <a:ea typeface="+mn-ea"/>
                <a:cs typeface="+mn-ea"/>
                <a:sym typeface="+mn-lt"/>
              </a:rPr>
              <a:t>MPM</a:t>
            </a:r>
            <a:r>
              <a:rPr lang="zh-CN" altLang="en-US" cap="all">
                <a:latin typeface="+mn-lt"/>
                <a:ea typeface="+mn-ea"/>
                <a:cs typeface="+mn-ea"/>
                <a:sym typeface="+mn-lt"/>
              </a:rPr>
              <a:t>系统与</a:t>
            </a:r>
            <a:r>
              <a:rPr lang="en-US" altLang="zh-CN" cap="all">
                <a:latin typeface="+mn-lt"/>
                <a:ea typeface="+mn-ea"/>
                <a:cs typeface="+mn-ea"/>
                <a:sym typeface="+mn-lt"/>
              </a:rPr>
              <a:t>SAP</a:t>
            </a:r>
            <a:r>
              <a:rPr lang="zh-CN" altLang="en-US" cap="all">
                <a:latin typeface="+mn-lt"/>
                <a:ea typeface="+mn-ea"/>
                <a:cs typeface="+mn-ea"/>
                <a:sym typeface="+mn-lt"/>
              </a:rPr>
              <a:t>系统接口</a:t>
            </a:r>
            <a:endParaRPr 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C002A8CC-9B0D-F7CA-4011-65381DF884A9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lang="en-US" altLang="zh-CN" b="1">
                <a:solidFill>
                  <a:prstClr val="white"/>
                </a:solidFill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103F156-91C7-E89C-341A-237DCA1942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0711" y="1157341"/>
            <a:ext cx="5775769" cy="228655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1" name="Rectangle 5">
            <a:extLst>
              <a:ext uri="{FF2B5EF4-FFF2-40B4-BE49-F238E27FC236}">
                <a16:creationId xmlns:a16="http://schemas.microsoft.com/office/drawing/2014/main" id="{2DBDE2F1-41A5-AAD8-8DE9-0F9090D8099C}"/>
              </a:ext>
            </a:extLst>
          </p:cNvPr>
          <p:cNvSpPr/>
          <p:nvPr/>
        </p:nvSpPr>
        <p:spPr>
          <a:xfrm>
            <a:off x="338590" y="944217"/>
            <a:ext cx="953715" cy="2743200"/>
          </a:xfrm>
          <a:prstGeom prst="rect">
            <a:avLst/>
          </a:prstGeom>
          <a:solidFill>
            <a:srgbClr val="007F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MP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>
                <a:solidFill>
                  <a:prstClr val="white">
                    <a:lumMod val="95000"/>
                  </a:prstClr>
                </a:solidFill>
                <a:latin typeface="Microsoft YaHei"/>
                <a:ea typeface="Microsoft YaHei"/>
              </a:rPr>
              <a:t>项目主数据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A2894AD1-530E-717F-45E5-594AEDBB9938}"/>
              </a:ext>
            </a:extLst>
          </p:cNvPr>
          <p:cNvSpPr/>
          <p:nvPr/>
        </p:nvSpPr>
        <p:spPr>
          <a:xfrm>
            <a:off x="314600" y="3945521"/>
            <a:ext cx="953715" cy="2711801"/>
          </a:xfrm>
          <a:prstGeom prst="rect">
            <a:avLst/>
          </a:prstGeom>
          <a:solidFill>
            <a:srgbClr val="007F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SA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b="1">
                <a:solidFill>
                  <a:prstClr val="white">
                    <a:lumMod val="95000"/>
                  </a:prstClr>
                </a:solidFill>
                <a:latin typeface="Microsoft YaHei"/>
                <a:ea typeface="Microsoft YaHei"/>
              </a:rPr>
              <a:t>WB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>
                <a:solidFill>
                  <a:prstClr val="white">
                    <a:lumMod val="95000"/>
                  </a:prstClr>
                </a:solidFill>
                <a:latin typeface="Microsoft YaHei"/>
                <a:ea typeface="Microsoft YaHei"/>
              </a:rPr>
              <a:t>元素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graphicFrame>
        <p:nvGraphicFramePr>
          <p:cNvPr id="17" name="表格 16">
            <a:extLst>
              <a:ext uri="{FF2B5EF4-FFF2-40B4-BE49-F238E27FC236}">
                <a16:creationId xmlns:a16="http://schemas.microsoft.com/office/drawing/2014/main" id="{98286A7B-A899-A30A-F56C-573400038B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1490268"/>
              </p:ext>
            </p:extLst>
          </p:nvPr>
        </p:nvGraphicFramePr>
        <p:xfrm>
          <a:off x="5930190" y="4147316"/>
          <a:ext cx="5685705" cy="2367785"/>
        </p:xfrm>
        <a:graphic>
          <a:graphicData uri="http://schemas.openxmlformats.org/drawingml/2006/table">
            <a:tbl>
              <a:tblPr/>
              <a:tblGrid>
                <a:gridCol w="1580605">
                  <a:extLst>
                    <a:ext uri="{9D8B030D-6E8A-4147-A177-3AD203B41FA5}">
                      <a16:colId xmlns:a16="http://schemas.microsoft.com/office/drawing/2014/main" val="2511029688"/>
                    </a:ext>
                  </a:extLst>
                </a:gridCol>
                <a:gridCol w="4105100">
                  <a:extLst>
                    <a:ext uri="{9D8B030D-6E8A-4147-A177-3AD203B41FA5}">
                      <a16:colId xmlns:a16="http://schemas.microsoft.com/office/drawing/2014/main" val="1014051576"/>
                    </a:ext>
                  </a:extLst>
                </a:gridCol>
              </a:tblGrid>
              <a:tr h="3921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P</a:t>
                      </a:r>
                      <a:r>
                        <a:rPr lang="zh-CN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字段</a:t>
                      </a:r>
                    </a:p>
                  </a:txBody>
                  <a:tcPr marL="4403" marR="4403" marT="440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逻辑</a:t>
                      </a:r>
                    </a:p>
                  </a:txBody>
                  <a:tcPr marL="4403" marR="4403" marT="440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182372"/>
                  </a:ext>
                </a:extLst>
              </a:tr>
              <a:tr h="3292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WBS</a:t>
                      </a:r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编码</a:t>
                      </a:r>
                    </a:p>
                  </a:txBody>
                  <a:tcPr marL="4403" marR="4403" marT="440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PM</a:t>
                      </a:r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传输的项目编码</a:t>
                      </a:r>
                    </a:p>
                  </a:txBody>
                  <a:tcPr marL="4403" marR="4403" marT="440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2813871"/>
                  </a:ext>
                </a:extLst>
              </a:tr>
              <a:tr h="32927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描述</a:t>
                      </a:r>
                    </a:p>
                  </a:txBody>
                  <a:tcPr marL="4403" marR="4403" marT="440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PM</a:t>
                      </a:r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传输的项目描述</a:t>
                      </a:r>
                    </a:p>
                  </a:txBody>
                  <a:tcPr marL="4403" marR="4403" marT="440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2623145"/>
                  </a:ext>
                </a:extLst>
              </a:tr>
              <a:tr h="32927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类型</a:t>
                      </a:r>
                    </a:p>
                  </a:txBody>
                  <a:tcPr marL="4403" marR="4403" marT="440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PM</a:t>
                      </a:r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传输过来的项目类型默认为</a:t>
                      </a:r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G</a:t>
                      </a:r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推广项目）</a:t>
                      </a:r>
                    </a:p>
                  </a:txBody>
                  <a:tcPr marL="4403" marR="4403" marT="440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4438907"/>
                  </a:ext>
                </a:extLst>
              </a:tr>
              <a:tr h="32927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创建日期</a:t>
                      </a:r>
                    </a:p>
                  </a:txBody>
                  <a:tcPr marL="4403" marR="4403" marT="440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WBS</a:t>
                      </a:r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创建日期</a:t>
                      </a:r>
                    </a:p>
                  </a:txBody>
                  <a:tcPr marL="4403" marR="4403" marT="440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6395574"/>
                  </a:ext>
                </a:extLst>
              </a:tr>
              <a:tr h="32927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代码</a:t>
                      </a:r>
                    </a:p>
                  </a:txBody>
                  <a:tcPr marL="4403" marR="4403" marT="440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代码为空</a:t>
                      </a:r>
                    </a:p>
                  </a:txBody>
                  <a:tcPr marL="4403" marR="4403" marT="440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436801"/>
                  </a:ext>
                </a:extLst>
              </a:tr>
              <a:tr h="32927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状态</a:t>
                      </a:r>
                    </a:p>
                  </a:txBody>
                  <a:tcPr marL="4403" marR="4403" marT="440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L</a:t>
                      </a:r>
                      <a:endParaRPr lang="zh-CN" altLang="en-US" sz="1100" b="0" i="0" u="none" strike="noStrike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403" marR="4403" marT="440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7642699"/>
                  </a:ext>
                </a:extLst>
              </a:tr>
            </a:tbl>
          </a:graphicData>
        </a:graphic>
      </p:graphicFrame>
      <p:pic>
        <p:nvPicPr>
          <p:cNvPr id="19" name="图片 18">
            <a:extLst>
              <a:ext uri="{FF2B5EF4-FFF2-40B4-BE49-F238E27FC236}">
                <a16:creationId xmlns:a16="http://schemas.microsoft.com/office/drawing/2014/main" id="{B94B0EAE-5D1E-5156-0CB2-EB117DB042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20711" y="4100954"/>
            <a:ext cx="3803596" cy="2286558"/>
          </a:xfrm>
          <a:prstGeom prst="rect">
            <a:avLst/>
          </a:prstGeom>
        </p:spPr>
      </p:pic>
      <p:sp>
        <p:nvSpPr>
          <p:cNvPr id="20" name="Rectangle 5">
            <a:extLst>
              <a:ext uri="{FF2B5EF4-FFF2-40B4-BE49-F238E27FC236}">
                <a16:creationId xmlns:a16="http://schemas.microsoft.com/office/drawing/2014/main" id="{9AEA2231-01C4-2015-65B3-34B73C82B7F1}"/>
              </a:ext>
            </a:extLst>
          </p:cNvPr>
          <p:cNvSpPr/>
          <p:nvPr/>
        </p:nvSpPr>
        <p:spPr>
          <a:xfrm>
            <a:off x="1292304" y="944217"/>
            <a:ext cx="10737135" cy="2743200"/>
          </a:xfrm>
          <a:prstGeom prst="rect">
            <a:avLst/>
          </a:prstGeom>
          <a:noFill/>
          <a:ln>
            <a:solidFill>
              <a:srgbClr val="005F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494EAE41-0B03-4413-CECA-7916584BF648}"/>
              </a:ext>
            </a:extLst>
          </p:cNvPr>
          <p:cNvSpPr txBox="1"/>
          <p:nvPr/>
        </p:nvSpPr>
        <p:spPr>
          <a:xfrm rot="2639054">
            <a:off x="6760885" y="1208639"/>
            <a:ext cx="675861" cy="307777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/>
              <a:t>示例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71233AB5-B7BD-A085-9D8D-9C4CD8C8D9FE}"/>
              </a:ext>
            </a:extLst>
          </p:cNvPr>
          <p:cNvSpPr txBox="1"/>
          <p:nvPr/>
        </p:nvSpPr>
        <p:spPr>
          <a:xfrm rot="2639054">
            <a:off x="5058028" y="4137040"/>
            <a:ext cx="675861" cy="307777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/>
              <a:t>示例</a:t>
            </a:r>
          </a:p>
        </p:txBody>
      </p:sp>
      <p:sp>
        <p:nvSpPr>
          <p:cNvPr id="23" name="Rectangle 5">
            <a:extLst>
              <a:ext uri="{FF2B5EF4-FFF2-40B4-BE49-F238E27FC236}">
                <a16:creationId xmlns:a16="http://schemas.microsoft.com/office/drawing/2014/main" id="{DCCC8711-C792-B2E6-9330-2A186F818324}"/>
              </a:ext>
            </a:extLst>
          </p:cNvPr>
          <p:cNvSpPr/>
          <p:nvPr/>
        </p:nvSpPr>
        <p:spPr>
          <a:xfrm>
            <a:off x="1268315" y="3945522"/>
            <a:ext cx="10761124" cy="2711802"/>
          </a:xfrm>
          <a:prstGeom prst="rect">
            <a:avLst/>
          </a:prstGeom>
          <a:noFill/>
          <a:ln>
            <a:solidFill>
              <a:srgbClr val="005F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B824FA69-6F3B-A3DB-BA78-4E12D47B6747}"/>
              </a:ext>
            </a:extLst>
          </p:cNvPr>
          <p:cNvSpPr txBox="1"/>
          <p:nvPr/>
        </p:nvSpPr>
        <p:spPr>
          <a:xfrm>
            <a:off x="7561882" y="943017"/>
            <a:ext cx="4493736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fontAlgn="ctr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200" b="1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功能：</a:t>
            </a:r>
            <a:r>
              <a:rPr lang="en-US" altLang="zh-CN" sz="120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MPM</a:t>
            </a:r>
            <a:r>
              <a:rPr lang="zh-CN" altLang="en-US" sz="120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项目经</a:t>
            </a:r>
            <a:r>
              <a:rPr lang="en-US" altLang="zh-CN" sz="120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OA</a:t>
            </a:r>
            <a:r>
              <a:rPr lang="zh-CN" altLang="en-US" sz="120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审核通过后，将项目传输到</a:t>
            </a:r>
            <a:r>
              <a:rPr lang="en-US" altLang="zh-CN" sz="120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SAP</a:t>
            </a:r>
            <a:r>
              <a:rPr lang="zh-CN" altLang="en-US" sz="120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系统创建</a:t>
            </a:r>
            <a:r>
              <a:rPr lang="en-US" altLang="zh-CN" sz="120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WBS</a:t>
            </a:r>
            <a:r>
              <a:rPr lang="zh-CN" altLang="en-US" sz="12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元素</a:t>
            </a:r>
            <a:endParaRPr lang="en-US" altLang="zh-CN" sz="1200" i="0" u="none" strike="noStrike">
              <a:solidFill>
                <a:srgbClr val="000000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fontAlgn="ctr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200" b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源系统：</a:t>
            </a:r>
            <a:r>
              <a:rPr lang="en-US" altLang="zh-CN" sz="12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PM</a:t>
            </a:r>
            <a:r>
              <a:rPr lang="zh-CN" altLang="en-US" sz="12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系统</a:t>
            </a:r>
            <a:endParaRPr lang="en-US" altLang="zh-CN" sz="120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fontAlgn="ctr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200" b="1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目标系统：</a:t>
            </a:r>
            <a:r>
              <a:rPr lang="en-US" altLang="zh-CN" sz="1200" b="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SAP ERP</a:t>
            </a:r>
            <a:r>
              <a:rPr lang="zh-CN" altLang="en-US" sz="1200" b="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系统</a:t>
            </a:r>
            <a:endParaRPr lang="en-US" altLang="zh-CN" sz="1200" b="0" i="0" u="none" strike="noStrike">
              <a:solidFill>
                <a:srgbClr val="000000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fontAlgn="ctr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200" b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传输方式：</a:t>
            </a:r>
            <a:r>
              <a:rPr lang="en-US" altLang="zh-CN" sz="12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PM</a:t>
            </a:r>
            <a:r>
              <a:rPr lang="zh-CN" altLang="en-US" sz="12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的项目经</a:t>
            </a:r>
            <a:r>
              <a:rPr lang="en-US" altLang="zh-CN" sz="12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A</a:t>
            </a:r>
            <a:r>
              <a:rPr lang="zh-CN" altLang="en-US" sz="12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审核通过后，项目状态为审核通过，则触发接口将项目主数据传输到</a:t>
            </a:r>
            <a:r>
              <a:rPr lang="en-US" altLang="zh-CN" sz="12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AP</a:t>
            </a:r>
            <a:r>
              <a:rPr lang="zh-CN" altLang="en-US" sz="12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系统，创建</a:t>
            </a:r>
            <a:r>
              <a:rPr lang="en-US" altLang="zh-CN" sz="12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BS</a:t>
            </a:r>
            <a:r>
              <a:rPr lang="zh-CN" altLang="en-US" sz="12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元素</a:t>
            </a:r>
            <a:endParaRPr lang="en-US" altLang="zh-CN" sz="1200">
              <a:solidFill>
                <a:srgbClr val="FF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fontAlgn="ctr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200" b="1">
                <a:latin typeface="Microsoft YaHei" panose="020B0503020204020204" pitchFamily="34" charset="-122"/>
                <a:ea typeface="Microsoft YaHei" panose="020B0503020204020204" pitchFamily="34" charset="-122"/>
              </a:rPr>
              <a:t>数据范围：</a:t>
            </a:r>
            <a:r>
              <a:rPr lang="en-US" altLang="zh-CN" sz="1200">
                <a:latin typeface="Microsoft YaHei" panose="020B0503020204020204" pitchFamily="34" charset="-122"/>
                <a:ea typeface="Microsoft YaHei" panose="020B0503020204020204" pitchFamily="34" charset="-122"/>
              </a:rPr>
              <a:t>MPM</a:t>
            </a:r>
            <a:r>
              <a:rPr lang="zh-CN" altLang="en-US" sz="1200">
                <a:latin typeface="Microsoft YaHei" panose="020B0503020204020204" pitchFamily="34" charset="-122"/>
                <a:ea typeface="Microsoft YaHei" panose="020B0503020204020204" pitchFamily="34" charset="-122"/>
              </a:rPr>
              <a:t>中项目状态为审核完成的项目</a:t>
            </a:r>
            <a:endParaRPr lang="en-US" altLang="zh-CN" sz="1200">
              <a:solidFill>
                <a:srgbClr val="FF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fontAlgn="ctr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200" b="1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传输内容：</a:t>
            </a:r>
            <a:r>
              <a:rPr lang="zh-CN" altLang="en-US" sz="120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项目编码、项目描述、项目状态</a:t>
            </a:r>
            <a:endParaRPr lang="zh-CN" altLang="en-US" sz="1200" b="0" i="0" u="none" strike="noStrike">
              <a:solidFill>
                <a:srgbClr val="000000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6" name="等腰三角形 25">
            <a:extLst>
              <a:ext uri="{FF2B5EF4-FFF2-40B4-BE49-F238E27FC236}">
                <a16:creationId xmlns:a16="http://schemas.microsoft.com/office/drawing/2014/main" id="{17F323F5-0CC4-BBAE-1D2E-31F41292CEF8}"/>
              </a:ext>
            </a:extLst>
          </p:cNvPr>
          <p:cNvSpPr/>
          <p:nvPr/>
        </p:nvSpPr>
        <p:spPr>
          <a:xfrm rot="10800000">
            <a:off x="1292304" y="3693666"/>
            <a:ext cx="10771450" cy="232754"/>
          </a:xfrm>
          <a:prstGeom prst="triangle">
            <a:avLst>
              <a:gd name="adj" fmla="val 49434"/>
            </a:avLst>
          </a:prstGeom>
          <a:solidFill>
            <a:srgbClr val="C0E9FF"/>
          </a:solidFill>
          <a:ln>
            <a:solidFill>
              <a:srgbClr val="C0E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7722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490A35-1DC8-9744-73AA-9460F2D0B0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cap="all">
                <a:latin typeface="+mn-lt"/>
                <a:ea typeface="+mn-ea"/>
                <a:cs typeface="+mn-ea"/>
                <a:sym typeface="+mn-lt"/>
              </a:rPr>
              <a:t>FSSC</a:t>
            </a:r>
            <a:r>
              <a:rPr lang="zh-CN" altLang="en-US" cap="all">
                <a:latin typeface="+mn-lt"/>
                <a:ea typeface="+mn-ea"/>
                <a:cs typeface="+mn-ea"/>
                <a:sym typeface="+mn-lt"/>
              </a:rPr>
              <a:t>系统改造需求 </a:t>
            </a:r>
            <a:r>
              <a:rPr lang="en-US" altLang="zh-CN" cap="all">
                <a:latin typeface="+mn-lt"/>
                <a:ea typeface="+mn-ea"/>
                <a:cs typeface="+mn-ea"/>
                <a:sym typeface="+mn-lt"/>
              </a:rPr>
              <a:t>- </a:t>
            </a:r>
            <a:r>
              <a:rPr lang="zh-CN" altLang="en-US" cap="all">
                <a:latin typeface="+mn-lt"/>
                <a:ea typeface="+mn-ea"/>
                <a:cs typeface="+mn-ea"/>
                <a:sym typeface="+mn-lt"/>
              </a:rPr>
              <a:t>② 单据自动控制辅助核算项目</a:t>
            </a:r>
            <a:r>
              <a:rPr lang="zh-CN" altLang="en-US"/>
              <a:t>、品类、渠道、区域字段与</a:t>
            </a:r>
            <a:r>
              <a:rPr lang="en-US" altLang="zh-CN"/>
              <a:t>SAP</a:t>
            </a:r>
            <a:r>
              <a:rPr lang="zh-CN" altLang="en-US"/>
              <a:t>入账规则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9B47D8-49DD-B734-36FD-807A7EDF96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12</a:t>
            </a:fld>
            <a:endParaRPr kumimoji="1" lang="zh-CN" altLang="en-US"/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6805438A-39FD-E742-4214-D39DC16A347A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lang="en-US" altLang="zh-CN" b="1">
                <a:solidFill>
                  <a:prstClr val="white"/>
                </a:solidFill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F978599-CD15-100E-450E-46D4379B1710}"/>
              </a:ext>
            </a:extLst>
          </p:cNvPr>
          <p:cNvGrpSpPr/>
          <p:nvPr/>
        </p:nvGrpSpPr>
        <p:grpSpPr>
          <a:xfrm>
            <a:off x="2523570" y="3526650"/>
            <a:ext cx="780375" cy="611521"/>
            <a:chOff x="5493173" y="3882369"/>
            <a:chExt cx="677403" cy="610515"/>
          </a:xfrm>
        </p:grpSpPr>
        <p:sp>
          <p:nvSpPr>
            <p:cNvPr id="17" name="箭头: 右 48">
              <a:extLst>
                <a:ext uri="{FF2B5EF4-FFF2-40B4-BE49-F238E27FC236}">
                  <a16:creationId xmlns:a16="http://schemas.microsoft.com/office/drawing/2014/main" id="{706AC868-DD21-D3B7-6835-9CD944CC6D63}"/>
                </a:ext>
              </a:extLst>
            </p:cNvPr>
            <p:cNvSpPr/>
            <p:nvPr/>
          </p:nvSpPr>
          <p:spPr>
            <a:xfrm rot="5400000">
              <a:off x="5526617" y="3848925"/>
              <a:ext cx="610515" cy="677403"/>
            </a:xfrm>
            <a:prstGeom prst="rightArrow">
              <a:avLst/>
            </a:pr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cs"/>
              </a:endParaRPr>
            </a:p>
          </p:txBody>
        </p:sp>
        <p:sp>
          <p:nvSpPr>
            <p:cNvPr id="16" name="Flowchart: Process 61">
              <a:extLst>
                <a:ext uri="{FF2B5EF4-FFF2-40B4-BE49-F238E27FC236}">
                  <a16:creationId xmlns:a16="http://schemas.microsoft.com/office/drawing/2014/main" id="{8C17EFF0-CFD9-FA4B-C8C5-6A9CFF7956D0}"/>
                </a:ext>
              </a:extLst>
            </p:cNvPr>
            <p:cNvSpPr/>
            <p:nvPr/>
          </p:nvSpPr>
          <p:spPr>
            <a:xfrm>
              <a:off x="5567749" y="3882369"/>
              <a:ext cx="528251" cy="43750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headEnd type="none"/>
              <a:tailEnd type="triangle"/>
            </a:ln>
            <a:effectLst/>
          </p:spPr>
          <p:txBody>
            <a:bodyPr rtlCol="0" anchor="t"/>
            <a:lstStyle/>
            <a:p>
              <a:pPr algn="ctr" defTabSz="913852">
                <a:defRPr/>
              </a:pPr>
              <a:r>
                <a:rPr lang="zh-CN" altLang="en-US" sz="1200" b="1" kern="0">
                  <a:solidFill>
                    <a:schemeClr val="bg1"/>
                  </a:solidFill>
                  <a:latin typeface="+mn-ea"/>
                </a:rPr>
                <a:t>凭证接口</a:t>
              </a:r>
              <a:endParaRPr lang="en-US" sz="1200" b="1" kern="0">
                <a:solidFill>
                  <a:schemeClr val="bg1"/>
                </a:solidFill>
                <a:latin typeface="+mn-ea"/>
              </a:endParaRPr>
            </a:p>
            <a:p>
              <a:pPr algn="ctr" defTabSz="913852">
                <a:defRPr/>
              </a:pPr>
              <a:endParaRPr lang="en-US" sz="1200" b="1" kern="0">
                <a:solidFill>
                  <a:schemeClr val="bg1"/>
                </a:solidFill>
                <a:latin typeface="+mn-ea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260A1E88-8799-E5D9-C630-91BE16EF1C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8366" y="4138171"/>
            <a:ext cx="4627319" cy="2470427"/>
          </a:xfrm>
          <a:prstGeom prst="rect">
            <a:avLst/>
          </a:prstGeom>
        </p:spPr>
      </p:pic>
      <p:sp>
        <p:nvSpPr>
          <p:cNvPr id="18" name="椭圆 17">
            <a:extLst>
              <a:ext uri="{FF2B5EF4-FFF2-40B4-BE49-F238E27FC236}">
                <a16:creationId xmlns:a16="http://schemas.microsoft.com/office/drawing/2014/main" id="{E9370A7B-7FA6-289F-3FB6-82DB5CE627D3}"/>
              </a:ext>
            </a:extLst>
          </p:cNvPr>
          <p:cNvSpPr/>
          <p:nvPr/>
        </p:nvSpPr>
        <p:spPr>
          <a:xfrm>
            <a:off x="2248588" y="3597225"/>
            <a:ext cx="235185" cy="23518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>
                <a:latin typeface="+mn-ea"/>
              </a:rPr>
              <a:t>3</a:t>
            </a:r>
            <a:endParaRPr lang="zh-CN" altLang="en-US" sz="1400" b="1">
              <a:latin typeface="+mn-ea"/>
            </a:endParaRPr>
          </a:p>
        </p:txBody>
      </p:sp>
      <p:sp>
        <p:nvSpPr>
          <p:cNvPr id="25" name="Rectangle 504">
            <a:extLst>
              <a:ext uri="{FF2B5EF4-FFF2-40B4-BE49-F238E27FC236}">
                <a16:creationId xmlns:a16="http://schemas.microsoft.com/office/drawing/2014/main" id="{EF0B6AB1-AC63-8AA3-165D-4FE7875FF401}"/>
              </a:ext>
            </a:extLst>
          </p:cNvPr>
          <p:cNvSpPr/>
          <p:nvPr/>
        </p:nvSpPr>
        <p:spPr>
          <a:xfrm>
            <a:off x="98201" y="3960701"/>
            <a:ext cx="1559439" cy="958844"/>
          </a:xfrm>
          <a:prstGeom prst="wedgeRoundRectCallout">
            <a:avLst>
              <a:gd name="adj1" fmla="val 90522"/>
              <a:gd name="adj2" fmla="val -72362"/>
              <a:gd name="adj3" fmla="val 16667"/>
            </a:avLst>
          </a:prstGeom>
          <a:solidFill>
            <a:sysClr val="window" lastClr="FFFFFF"/>
          </a:solidFill>
          <a:ln w="12700" cap="flat" cmpd="sng" algn="ctr">
            <a:solidFill>
              <a:srgbClr val="FF0000"/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r>
              <a:rPr lang="zh-CN" altLang="en-US" sz="1200" b="1" kern="0">
                <a:latin typeface="Times New Roman"/>
                <a:ea typeface="Microsoft YaHei"/>
              </a:rPr>
              <a:t>推广费集成</a:t>
            </a:r>
            <a:r>
              <a:rPr lang="en-US" altLang="zh-CN" sz="1200" b="1" kern="0">
                <a:latin typeface="Times New Roman"/>
                <a:ea typeface="Microsoft YaHei"/>
              </a:rPr>
              <a:t>SAP</a:t>
            </a:r>
            <a:r>
              <a:rPr lang="zh-CN" altLang="en-US" sz="1200" b="1" kern="0">
                <a:latin typeface="Times New Roman"/>
                <a:ea typeface="Microsoft YaHei"/>
              </a:rPr>
              <a:t>入账时，需集成</a:t>
            </a:r>
            <a:r>
              <a:rPr lang="en-US" altLang="zh-CN" sz="1200" b="1" kern="0">
                <a:latin typeface="Times New Roman"/>
                <a:ea typeface="Microsoft YaHei"/>
              </a:rPr>
              <a:t>WBS</a:t>
            </a:r>
            <a:r>
              <a:rPr lang="zh-CN" altLang="en-US" sz="1200" b="1" kern="0">
                <a:latin typeface="Times New Roman"/>
                <a:ea typeface="Microsoft YaHei"/>
              </a:rPr>
              <a:t>元素、品类、渠道、区域、动因等辅助核算信息</a:t>
            </a:r>
          </a:p>
        </p:txBody>
      </p:sp>
      <p:graphicFrame>
        <p:nvGraphicFramePr>
          <p:cNvPr id="27" name="表格 26">
            <a:extLst>
              <a:ext uri="{FF2B5EF4-FFF2-40B4-BE49-F238E27FC236}">
                <a16:creationId xmlns:a16="http://schemas.microsoft.com/office/drawing/2014/main" id="{5BDC1D4D-065A-3046-117C-667656156D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6617188"/>
              </p:ext>
            </p:extLst>
          </p:nvPr>
        </p:nvGraphicFramePr>
        <p:xfrm>
          <a:off x="2732445" y="5898595"/>
          <a:ext cx="2026920" cy="187283"/>
        </p:xfrm>
        <a:graphic>
          <a:graphicData uri="http://schemas.openxmlformats.org/drawingml/2006/table">
            <a:tbl>
              <a:tblPr/>
              <a:tblGrid>
                <a:gridCol w="2026920">
                  <a:extLst>
                    <a:ext uri="{9D8B030D-6E8A-4147-A177-3AD203B41FA5}">
                      <a16:colId xmlns:a16="http://schemas.microsoft.com/office/drawing/2014/main" val="2511029688"/>
                    </a:ext>
                  </a:extLst>
                </a:gridCol>
              </a:tblGrid>
              <a:tr h="18457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WBS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403" marR="4403" marT="4403" marB="0" anchor="ctr">
                    <a:lnL w="1905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2813871"/>
                  </a:ext>
                </a:extLst>
              </a:tr>
            </a:tbl>
          </a:graphicData>
        </a:graphic>
      </p:graphicFrame>
      <p:sp>
        <p:nvSpPr>
          <p:cNvPr id="28" name="矩形 27">
            <a:extLst>
              <a:ext uri="{FF2B5EF4-FFF2-40B4-BE49-F238E27FC236}">
                <a16:creationId xmlns:a16="http://schemas.microsoft.com/office/drawing/2014/main" id="{306642F4-5699-4872-436B-1C2794AADB9F}"/>
              </a:ext>
            </a:extLst>
          </p:cNvPr>
          <p:cNvSpPr/>
          <p:nvPr/>
        </p:nvSpPr>
        <p:spPr>
          <a:xfrm>
            <a:off x="5119410" y="5657850"/>
            <a:ext cx="526915" cy="76200"/>
          </a:xfrm>
          <a:prstGeom prst="rect">
            <a:avLst/>
          </a:prstGeom>
          <a:solidFill>
            <a:srgbClr val="DE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7A6CDFB-F63A-FB22-147E-B3C7A1E1F1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157" y="858003"/>
            <a:ext cx="8229600" cy="2609850"/>
          </a:xfrm>
          <a:prstGeom prst="rect">
            <a:avLst/>
          </a:prstGeom>
        </p:spPr>
      </p:pic>
      <p:sp>
        <p:nvSpPr>
          <p:cNvPr id="31" name="椭圆 30">
            <a:extLst>
              <a:ext uri="{FF2B5EF4-FFF2-40B4-BE49-F238E27FC236}">
                <a16:creationId xmlns:a16="http://schemas.microsoft.com/office/drawing/2014/main" id="{AE30DFBA-5182-5A57-EEA9-EE1503355B22}"/>
              </a:ext>
            </a:extLst>
          </p:cNvPr>
          <p:cNvSpPr/>
          <p:nvPr/>
        </p:nvSpPr>
        <p:spPr>
          <a:xfrm>
            <a:off x="4217495" y="5580004"/>
            <a:ext cx="235185" cy="2318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>
                <a:latin typeface="+mn-ea"/>
              </a:rPr>
              <a:t>4</a:t>
            </a:r>
            <a:endParaRPr lang="zh-CN" altLang="en-US" sz="1400" b="1">
              <a:latin typeface="+mn-ea"/>
            </a:endParaRPr>
          </a:p>
        </p:txBody>
      </p:sp>
      <p:sp>
        <p:nvSpPr>
          <p:cNvPr id="32" name="Rectangle 504">
            <a:extLst>
              <a:ext uri="{FF2B5EF4-FFF2-40B4-BE49-F238E27FC236}">
                <a16:creationId xmlns:a16="http://schemas.microsoft.com/office/drawing/2014/main" id="{8CEAF265-3E65-86E6-8FC6-75C4EE8276A5}"/>
              </a:ext>
            </a:extLst>
          </p:cNvPr>
          <p:cNvSpPr/>
          <p:nvPr/>
        </p:nvSpPr>
        <p:spPr>
          <a:xfrm>
            <a:off x="6391184" y="5695950"/>
            <a:ext cx="2792573" cy="638174"/>
          </a:xfrm>
          <a:prstGeom prst="wedgeRoundRectCallout">
            <a:avLst>
              <a:gd name="adj1" fmla="val -106419"/>
              <a:gd name="adj2" fmla="val -2093"/>
              <a:gd name="adj3" fmla="val 16667"/>
            </a:avLst>
          </a:prstGeom>
          <a:solidFill>
            <a:sysClr val="window" lastClr="FFFFFF"/>
          </a:solidFill>
          <a:ln w="12700" cap="flat" cmpd="sng" algn="ctr">
            <a:solidFill>
              <a:srgbClr val="FF0000"/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r>
              <a:rPr lang="en-US" altLang="zh-CN" sz="1200" b="1" kern="0">
                <a:latin typeface="Times New Roman"/>
                <a:ea typeface="Microsoft YaHei"/>
              </a:rPr>
              <a:t>SAP</a:t>
            </a:r>
            <a:r>
              <a:rPr lang="zh-CN" altLang="en-US" sz="1200" b="1" kern="0">
                <a:latin typeface="Times New Roman"/>
                <a:ea typeface="Microsoft YaHei"/>
              </a:rPr>
              <a:t>系统使用</a:t>
            </a:r>
            <a:r>
              <a:rPr lang="en-US" altLang="zh-CN" sz="1200" b="1" kern="0">
                <a:latin typeface="Times New Roman"/>
                <a:ea typeface="Microsoft YaHei"/>
              </a:rPr>
              <a:t>WBS</a:t>
            </a:r>
            <a:r>
              <a:rPr lang="zh-CN" altLang="en-US" sz="1200" b="1" kern="0">
                <a:latin typeface="Times New Roman"/>
                <a:ea typeface="Microsoft YaHei"/>
              </a:rPr>
              <a:t>元素承接推广费科目辅助核算项目</a:t>
            </a:r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BB66D4D3-2964-533F-FFE0-B444952E7FC8}"/>
              </a:ext>
            </a:extLst>
          </p:cNvPr>
          <p:cNvSpPr/>
          <p:nvPr/>
        </p:nvSpPr>
        <p:spPr>
          <a:xfrm>
            <a:off x="2405977" y="1356721"/>
            <a:ext cx="235185" cy="23518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>
                <a:latin typeface="+mn-ea"/>
              </a:rPr>
              <a:t>1</a:t>
            </a:r>
            <a:endParaRPr lang="zh-CN" altLang="en-US" sz="1400" b="1">
              <a:latin typeface="+mn-ea"/>
            </a:endParaRPr>
          </a:p>
        </p:txBody>
      </p:sp>
      <p:sp>
        <p:nvSpPr>
          <p:cNvPr id="7" name="Rectangle 504">
            <a:extLst>
              <a:ext uri="{FF2B5EF4-FFF2-40B4-BE49-F238E27FC236}">
                <a16:creationId xmlns:a16="http://schemas.microsoft.com/office/drawing/2014/main" id="{379A5AB2-E984-7CE5-3CBC-5D72F63BC156}"/>
              </a:ext>
            </a:extLst>
          </p:cNvPr>
          <p:cNvSpPr/>
          <p:nvPr/>
        </p:nvSpPr>
        <p:spPr>
          <a:xfrm>
            <a:off x="6369197" y="3801949"/>
            <a:ext cx="3511237" cy="638174"/>
          </a:xfrm>
          <a:prstGeom prst="wedgeRoundRectCallout">
            <a:avLst>
              <a:gd name="adj1" fmla="val 9305"/>
              <a:gd name="adj2" fmla="val -127092"/>
              <a:gd name="adj3" fmla="val 16667"/>
            </a:avLst>
          </a:prstGeom>
          <a:solidFill>
            <a:sysClr val="window" lastClr="FFFFFF"/>
          </a:solidFill>
          <a:ln w="12700" cap="flat" cmpd="sng" algn="ctr">
            <a:solidFill>
              <a:srgbClr val="FF0000"/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200" b="1">
                <a:latin typeface="Microsoft YaHei" panose="020B0503020204020204" pitchFamily="34" charset="-122"/>
                <a:ea typeface="Microsoft YaHei" panose="020B0503020204020204" pitchFamily="34" charset="-122"/>
              </a:rPr>
              <a:t>CBG</a:t>
            </a:r>
            <a:r>
              <a:rPr lang="zh-CN" altLang="en-US" sz="1200" b="1" i="0" u="none" strike="noStrike"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推广费系统推送的单据，保持现状</a:t>
            </a:r>
            <a:endParaRPr lang="en-US" altLang="zh-CN" sz="1200" b="1" i="0" u="none" strike="noStrike">
              <a:effectLst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b="1">
                <a:latin typeface="Microsoft YaHei" panose="020B0503020204020204" pitchFamily="34" charset="-122"/>
                <a:ea typeface="Microsoft YaHei" panose="020B0503020204020204" pitchFamily="34" charset="-122"/>
              </a:rPr>
              <a:t>手工提报的推广费单据</a:t>
            </a:r>
            <a:r>
              <a:rPr lang="zh-CN" altLang="en-US" sz="1200" b="1" i="0" u="none" strike="noStrike"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，则</a:t>
            </a:r>
            <a:r>
              <a:rPr lang="en-US" altLang="zh-CN" sz="1200" b="1" i="0" u="none" strike="noStrike"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FSSC</a:t>
            </a:r>
            <a:r>
              <a:rPr lang="zh-CN" altLang="en-US" sz="1200" b="1" i="0" u="none" strike="noStrike"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的项目默认为无</a:t>
            </a:r>
            <a:r>
              <a:rPr lang="zh-CN" altLang="en-US" sz="1200" b="1"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lang="zh-CN" altLang="en-US" sz="1200" b="1" kern="0">
                <a:latin typeface="Times New Roman"/>
                <a:ea typeface="Microsoft YaHei"/>
              </a:rPr>
              <a:t>“辅助核算项目”字段必输（不受预算管控）</a:t>
            </a: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6B5142F4-3878-7167-ABC0-E4041DEA3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7735896"/>
              </p:ext>
            </p:extLst>
          </p:nvPr>
        </p:nvGraphicFramePr>
        <p:xfrm>
          <a:off x="9437728" y="977927"/>
          <a:ext cx="2532791" cy="274674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709892">
                  <a:extLst>
                    <a:ext uri="{9D8B030D-6E8A-4147-A177-3AD203B41FA5}">
                      <a16:colId xmlns:a16="http://schemas.microsoft.com/office/drawing/2014/main" val="2706781813"/>
                    </a:ext>
                  </a:extLst>
                </a:gridCol>
                <a:gridCol w="1822899">
                  <a:extLst>
                    <a:ext uri="{9D8B030D-6E8A-4147-A177-3AD203B41FA5}">
                      <a16:colId xmlns:a16="http://schemas.microsoft.com/office/drawing/2014/main" val="1154917595"/>
                    </a:ext>
                  </a:extLst>
                </a:gridCol>
              </a:tblGrid>
              <a:tr h="20391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序号</a:t>
                      </a:r>
                      <a:endParaRPr lang="en-US" altLang="zh-CN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单据名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3847158401"/>
                  </a:ext>
                </a:extLst>
              </a:tr>
              <a:tr h="20735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常费用事项申请单</a:t>
                      </a: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2791923929"/>
                  </a:ext>
                </a:extLst>
              </a:tr>
              <a:tr h="14566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促销活动事项申请单</a:t>
                      </a: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2205272064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门头展台事项申请单</a:t>
                      </a: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2925889564"/>
                  </a:ext>
                </a:extLst>
              </a:tr>
              <a:tr h="25222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终端建设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助销物料事项申请单</a:t>
                      </a: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2851988754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媒体广告事项申请单</a:t>
                      </a: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2531760142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常费用报销单（有申请）</a:t>
                      </a: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919632949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提费用报账单</a:t>
                      </a: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4242553772"/>
                  </a:ext>
                </a:extLst>
              </a:tr>
              <a:tr h="25222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提费用报账单（自动生成）</a:t>
                      </a: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2687214176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待摊费用报账单</a:t>
                      </a: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3960784096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账跨法人申请单</a:t>
                      </a: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213874929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账报账单</a:t>
                      </a: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2498749679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供应商预付款单（有申请）</a:t>
                      </a: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2410712206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员工借款单</a:t>
                      </a: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3813748647"/>
                  </a:ext>
                </a:extLst>
              </a:tr>
            </a:tbl>
          </a:graphicData>
        </a:graphic>
      </p:graphicFrame>
      <p:sp>
        <p:nvSpPr>
          <p:cNvPr id="10" name="文本框 9">
            <a:extLst>
              <a:ext uri="{FF2B5EF4-FFF2-40B4-BE49-F238E27FC236}">
                <a16:creationId xmlns:a16="http://schemas.microsoft.com/office/drawing/2014/main" id="{7309260E-3B39-6A31-B44D-B6064FF33930}"/>
              </a:ext>
            </a:extLst>
          </p:cNvPr>
          <p:cNvSpPr txBox="1"/>
          <p:nvPr/>
        </p:nvSpPr>
        <p:spPr>
          <a:xfrm>
            <a:off x="9658953" y="581554"/>
            <a:ext cx="23115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>
              <a:lnSpc>
                <a:spcPct val="150000"/>
              </a:lnSpc>
            </a:pPr>
            <a:r>
              <a:rPr lang="en-US" altLang="zh-CN" sz="1200" b="1">
                <a:latin typeface="Microsoft YaHei" panose="020B0503020204020204" pitchFamily="34" charset="-122"/>
                <a:ea typeface="Microsoft YaHei" panose="020B0503020204020204" pitchFamily="34" charset="-122"/>
              </a:rPr>
              <a:t>FSSC</a:t>
            </a:r>
            <a:r>
              <a:rPr lang="zh-CN" altLang="en-US" sz="1200" b="1">
                <a:latin typeface="Microsoft YaHei" panose="020B0503020204020204" pitchFamily="34" charset="-122"/>
                <a:ea typeface="Microsoft YaHei" panose="020B0503020204020204" pitchFamily="34" charset="-122"/>
              </a:rPr>
              <a:t>系统涉及推广费单据</a:t>
            </a:r>
            <a:r>
              <a:rPr lang="zh-CN" altLang="en-US" sz="1200" b="1" i="0" u="none" strike="noStrike"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清单</a:t>
            </a:r>
          </a:p>
        </p:txBody>
      </p:sp>
      <p:sp>
        <p:nvSpPr>
          <p:cNvPr id="30" name="Rectangle 504">
            <a:extLst>
              <a:ext uri="{FF2B5EF4-FFF2-40B4-BE49-F238E27FC236}">
                <a16:creationId xmlns:a16="http://schemas.microsoft.com/office/drawing/2014/main" id="{7E5DEF78-6C94-D3E2-E651-C4BE8001383F}"/>
              </a:ext>
            </a:extLst>
          </p:cNvPr>
          <p:cNvSpPr/>
          <p:nvPr/>
        </p:nvSpPr>
        <p:spPr>
          <a:xfrm>
            <a:off x="2697062" y="1474314"/>
            <a:ext cx="3511237" cy="1078565"/>
          </a:xfrm>
          <a:prstGeom prst="wedgeRoundRectCallout">
            <a:avLst>
              <a:gd name="adj1" fmla="val -43256"/>
              <a:gd name="adj2" fmla="val 93816"/>
              <a:gd name="adj3" fmla="val 16667"/>
            </a:avLst>
          </a:prstGeom>
          <a:solidFill>
            <a:sysClr val="window" lastClr="FFFFFF"/>
          </a:solidFill>
          <a:ln w="12700" cap="flat" cmpd="sng" algn="ctr">
            <a:solidFill>
              <a:srgbClr val="FF0000"/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b="1">
                <a:latin typeface="Microsoft YaHei" panose="020B0503020204020204" pitchFamily="34" charset="-122"/>
                <a:ea typeface="Microsoft YaHei" panose="020B0503020204020204" pitchFamily="34" charset="-122"/>
              </a:rPr>
              <a:t>来源为</a:t>
            </a:r>
            <a:r>
              <a:rPr lang="en-US" altLang="zh-CN" sz="1200" b="1">
                <a:latin typeface="Microsoft YaHei" panose="020B0503020204020204" pitchFamily="34" charset="-122"/>
                <a:ea typeface="Microsoft YaHei" panose="020B0503020204020204" pitchFamily="34" charset="-122"/>
              </a:rPr>
              <a:t>CBG</a:t>
            </a:r>
            <a:r>
              <a:rPr lang="zh-CN" altLang="en-US" sz="1200" b="1" i="0" u="none" strike="noStrike"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推广费系统的单据，</a:t>
            </a:r>
            <a:r>
              <a:rPr lang="en-US" altLang="zh-CN" sz="1200" b="1" i="0" u="none" strike="noStrike"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FSSC</a:t>
            </a:r>
            <a:r>
              <a:rPr lang="zh-CN" altLang="en-US" sz="1200" b="1" i="0" u="none" strike="noStrike"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打上系统来源标识，字段校验保持现状</a:t>
            </a:r>
            <a:endParaRPr lang="en-US" altLang="zh-CN" sz="1200" b="1" i="0" u="none" strike="noStrike">
              <a:effectLst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b="1">
                <a:latin typeface="Microsoft YaHei" panose="020B0503020204020204" pitchFamily="34" charset="-122"/>
                <a:ea typeface="Microsoft YaHei" panose="020B0503020204020204" pitchFamily="34" charset="-122"/>
              </a:rPr>
              <a:t>手工提报单据根据推广费用明细校验</a:t>
            </a:r>
            <a:r>
              <a:rPr lang="zh-CN" altLang="en-US" sz="1200" b="1" kern="0">
                <a:latin typeface="Times New Roman"/>
                <a:ea typeface="Microsoft YaHei"/>
              </a:rPr>
              <a:t>“品类”、“渠道”、“区域”、 “动因”字段必输（可输入不区分），涉及单据详见推广</a:t>
            </a:r>
            <a:r>
              <a:rPr lang="en-US" altLang="zh-CN" sz="1200" b="1" kern="0">
                <a:latin typeface="Times New Roman"/>
                <a:ea typeface="Microsoft YaHei"/>
              </a:rPr>
              <a:t>FSSC</a:t>
            </a:r>
            <a:r>
              <a:rPr lang="zh-CN" altLang="en-US" sz="1200" b="1" kern="0">
                <a:latin typeface="Times New Roman"/>
                <a:ea typeface="Microsoft YaHei"/>
              </a:rPr>
              <a:t>单据清单</a:t>
            </a: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7DEDF191-891E-E251-CD2C-777181A1501C}"/>
              </a:ext>
            </a:extLst>
          </p:cNvPr>
          <p:cNvSpPr/>
          <p:nvPr/>
        </p:nvSpPr>
        <p:spPr>
          <a:xfrm>
            <a:off x="6090706" y="3693237"/>
            <a:ext cx="235185" cy="23518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>
                <a:latin typeface="+mn-ea"/>
              </a:rPr>
              <a:t>2</a:t>
            </a:r>
            <a:endParaRPr lang="zh-CN" altLang="en-US" sz="1400" b="1">
              <a:latin typeface="+mn-ea"/>
            </a:endParaRPr>
          </a:p>
        </p:txBody>
      </p:sp>
      <p:graphicFrame>
        <p:nvGraphicFramePr>
          <p:cNvPr id="20" name="表格 26">
            <a:extLst>
              <a:ext uri="{FF2B5EF4-FFF2-40B4-BE49-F238E27FC236}">
                <a16:creationId xmlns:a16="http://schemas.microsoft.com/office/drawing/2014/main" id="{6CAC0D50-75F5-C484-0F80-765F91CB1D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0332066"/>
              </p:ext>
            </p:extLst>
          </p:nvPr>
        </p:nvGraphicFramePr>
        <p:xfrm>
          <a:off x="4664876" y="2994171"/>
          <a:ext cx="717991" cy="229026"/>
        </p:xfrm>
        <a:graphic>
          <a:graphicData uri="http://schemas.openxmlformats.org/drawingml/2006/table">
            <a:tbl>
              <a:tblPr/>
              <a:tblGrid>
                <a:gridCol w="717991">
                  <a:extLst>
                    <a:ext uri="{9D8B030D-6E8A-4147-A177-3AD203B41FA5}">
                      <a16:colId xmlns:a16="http://schemas.microsoft.com/office/drawing/2014/main" val="2511029688"/>
                    </a:ext>
                  </a:extLst>
                </a:gridCol>
              </a:tblGrid>
              <a:tr h="229026"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403" marR="4403" marT="4403" marB="0" anchor="ctr">
                    <a:lnL w="1905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28138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37841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5">
            <a:extLst>
              <a:ext uri="{FF2B5EF4-FFF2-40B4-BE49-F238E27FC236}">
                <a16:creationId xmlns:a16="http://schemas.microsoft.com/office/drawing/2014/main" id="{FCB57675-E093-7E65-9C20-9FD25903A91E}"/>
              </a:ext>
            </a:extLst>
          </p:cNvPr>
          <p:cNvSpPr/>
          <p:nvPr/>
        </p:nvSpPr>
        <p:spPr>
          <a:xfrm>
            <a:off x="498230" y="3163542"/>
            <a:ext cx="3189187" cy="3351558"/>
          </a:xfrm>
          <a:prstGeom prst="rect">
            <a:avLst/>
          </a:prstGeom>
          <a:solidFill>
            <a:srgbClr val="007FC3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28" name="Rectangle 5">
            <a:extLst>
              <a:ext uri="{FF2B5EF4-FFF2-40B4-BE49-F238E27FC236}">
                <a16:creationId xmlns:a16="http://schemas.microsoft.com/office/drawing/2014/main" id="{83315A34-BC8D-CFFB-F59F-A5C16277B908}"/>
              </a:ext>
            </a:extLst>
          </p:cNvPr>
          <p:cNvSpPr/>
          <p:nvPr/>
        </p:nvSpPr>
        <p:spPr>
          <a:xfrm>
            <a:off x="3834265" y="3163542"/>
            <a:ext cx="7626207" cy="3351558"/>
          </a:xfrm>
          <a:prstGeom prst="rect">
            <a:avLst/>
          </a:prstGeom>
          <a:solidFill>
            <a:srgbClr val="007FC3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72FA23-052F-EDA0-D08F-AEA00568E9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03430" y="6424571"/>
            <a:ext cx="585140" cy="232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FE292F-1EBE-6D4A-B339-A324D614A372}" type="slidenum">
              <a:rPr kumimoji="1" lang="zh-CN" altLang="en-US" smtClean="0"/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0FA95E4-14A9-A0D5-F0DF-339A223CE8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cap="all">
                <a:latin typeface="+mn-lt"/>
                <a:ea typeface="+mn-ea"/>
                <a:cs typeface="+mn-ea"/>
                <a:sym typeface="+mn-lt"/>
              </a:rPr>
              <a:t>SAP</a:t>
            </a:r>
            <a:r>
              <a:rPr lang="zh-CN" altLang="en-US" cap="all">
                <a:latin typeface="+mn-lt"/>
                <a:ea typeface="+mn-ea"/>
                <a:cs typeface="+mn-ea"/>
                <a:sym typeface="+mn-lt"/>
              </a:rPr>
              <a:t>系统改造需求 </a:t>
            </a:r>
            <a:r>
              <a:rPr lang="en-US" altLang="zh-CN" cap="all">
                <a:latin typeface="+mn-lt"/>
                <a:ea typeface="+mn-ea"/>
                <a:cs typeface="+mn-ea"/>
                <a:sym typeface="+mn-lt"/>
              </a:rPr>
              <a:t>- </a:t>
            </a:r>
            <a:r>
              <a:rPr lang="zh-CN" altLang="en-US" cap="all">
                <a:latin typeface="+mn-lt"/>
                <a:ea typeface="+mn-ea"/>
                <a:cs typeface="+mn-ea"/>
                <a:sym typeface="+mn-lt"/>
              </a:rPr>
              <a:t>③主数据配置</a:t>
            </a:r>
            <a:endParaRPr 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C002A8CC-9B0D-F7CA-4011-65381DF884A9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lang="en-US" altLang="zh-CN" b="1">
                <a:solidFill>
                  <a:prstClr val="white"/>
                </a:solidFill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69E6BDDA-2083-49A5-2535-404BBB2F36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617848"/>
              </p:ext>
            </p:extLst>
          </p:nvPr>
        </p:nvGraphicFramePr>
        <p:xfrm>
          <a:off x="498230" y="1137976"/>
          <a:ext cx="10962242" cy="18542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54295">
                  <a:extLst>
                    <a:ext uri="{9D8B030D-6E8A-4147-A177-3AD203B41FA5}">
                      <a16:colId xmlns:a16="http://schemas.microsoft.com/office/drawing/2014/main" val="2706781813"/>
                    </a:ext>
                  </a:extLst>
                </a:gridCol>
                <a:gridCol w="1495425">
                  <a:extLst>
                    <a:ext uri="{9D8B030D-6E8A-4147-A177-3AD203B41FA5}">
                      <a16:colId xmlns:a16="http://schemas.microsoft.com/office/drawing/2014/main" val="1154917595"/>
                    </a:ext>
                  </a:extLst>
                </a:gridCol>
                <a:gridCol w="1631159">
                  <a:extLst>
                    <a:ext uri="{9D8B030D-6E8A-4147-A177-3AD203B41FA5}">
                      <a16:colId xmlns:a16="http://schemas.microsoft.com/office/drawing/2014/main" val="2862053145"/>
                    </a:ext>
                  </a:extLst>
                </a:gridCol>
                <a:gridCol w="624487">
                  <a:extLst>
                    <a:ext uri="{9D8B030D-6E8A-4147-A177-3AD203B41FA5}">
                      <a16:colId xmlns:a16="http://schemas.microsoft.com/office/drawing/2014/main" val="3117114594"/>
                    </a:ext>
                  </a:extLst>
                </a:gridCol>
                <a:gridCol w="3220542">
                  <a:extLst>
                    <a:ext uri="{9D8B030D-6E8A-4147-A177-3AD203B41FA5}">
                      <a16:colId xmlns:a16="http://schemas.microsoft.com/office/drawing/2014/main" val="2594360243"/>
                    </a:ext>
                  </a:extLst>
                </a:gridCol>
                <a:gridCol w="1238407">
                  <a:extLst>
                    <a:ext uri="{9D8B030D-6E8A-4147-A177-3AD203B41FA5}">
                      <a16:colId xmlns:a16="http://schemas.microsoft.com/office/drawing/2014/main" val="1028590504"/>
                    </a:ext>
                  </a:extLst>
                </a:gridCol>
                <a:gridCol w="2097927">
                  <a:extLst>
                    <a:ext uri="{9D8B030D-6E8A-4147-A177-3AD203B41FA5}">
                      <a16:colId xmlns:a16="http://schemas.microsoft.com/office/drawing/2014/main" val="960766917"/>
                    </a:ext>
                  </a:extLst>
                </a:gridCol>
              </a:tblGrid>
              <a:tr h="65192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序号</a:t>
                      </a:r>
                      <a:endParaRPr lang="en-US" altLang="zh-CN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对象分类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配置对象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事务</a:t>
                      </a:r>
                      <a:endParaRPr lang="en-US" altLang="zh-CN" sz="1400" u="none" strike="noStrike">
                        <a:effectLst/>
                      </a:endParaRPr>
                    </a:p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代码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配置菜单路径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跨</a:t>
                      </a:r>
                      <a:r>
                        <a:rPr lang="en-US" sz="1400" u="none" strike="noStrike">
                          <a:effectLst/>
                        </a:rPr>
                        <a:t>Client</a:t>
                      </a:r>
                      <a:r>
                        <a:rPr lang="zh-CN" altLang="en-US" sz="1400" u="none" strike="noStrike">
                          <a:effectLst/>
                        </a:rPr>
                        <a:t>配置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配置值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3847158401"/>
                  </a:ext>
                </a:extLst>
              </a:tr>
              <a:tr h="6872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P-PS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定义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WBS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素项目类型</a:t>
                      </a: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PSO</a:t>
                      </a: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u="none" strike="noStrike">
                          <a:effectLst/>
                        </a:rPr>
                        <a:t>IMG&gt;&gt;</a:t>
                      </a:r>
                      <a:r>
                        <a:rPr lang="zh-CN" altLang="en-US" sz="1000" u="none" strike="noStrike">
                          <a:effectLst/>
                        </a:rPr>
                        <a:t>项目系统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结构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实施结构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工作分解结构（</a:t>
                      </a:r>
                      <a:r>
                        <a:rPr lang="en-US" altLang="zh-CN" sz="1000" u="none" strike="noStrike">
                          <a:effectLst/>
                        </a:rPr>
                        <a:t>WBS</a:t>
                      </a:r>
                      <a:r>
                        <a:rPr lang="zh-CN" altLang="en-US" sz="1000" u="none" strike="noStrike">
                          <a:effectLst/>
                        </a:rPr>
                        <a:t>）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创建</a:t>
                      </a:r>
                      <a:r>
                        <a:rPr lang="en-US" altLang="zh-CN" sz="1000" u="none" strike="noStrike">
                          <a:effectLst/>
                        </a:rPr>
                        <a:t>WBS</a:t>
                      </a:r>
                      <a:r>
                        <a:rPr lang="zh-CN" altLang="en-US" sz="1000" u="none" strike="noStrike">
                          <a:effectLst/>
                        </a:rPr>
                        <a:t>元素项目类型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</a:t>
                      </a: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详见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WBS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素项目类型清单</a:t>
                      </a: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519169206"/>
                  </a:ext>
                </a:extLst>
              </a:tr>
              <a:tr h="5150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P-PS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定义项目参数文件</a:t>
                      </a: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PSA</a:t>
                      </a: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u="none" strike="noStrike">
                          <a:effectLst/>
                        </a:rPr>
                        <a:t>IMG&gt;&gt;</a:t>
                      </a:r>
                      <a:r>
                        <a:rPr lang="zh-CN" altLang="en-US" sz="1000" u="none" strike="noStrike">
                          <a:effectLst/>
                        </a:rPr>
                        <a:t>项目系统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结构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实施结构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工作分解结构（</a:t>
                      </a:r>
                      <a:r>
                        <a:rPr lang="en-US" altLang="zh-CN" sz="1000" u="none" strike="noStrike">
                          <a:effectLst/>
                        </a:rPr>
                        <a:t>WBS</a:t>
                      </a:r>
                      <a:r>
                        <a:rPr lang="zh-CN" altLang="en-US" sz="1000" u="none" strike="noStrike">
                          <a:effectLst/>
                        </a:rPr>
                        <a:t>）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创建项目参数文件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</a:t>
                      </a: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详见项目参数文件配置说明</a:t>
                      </a: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1863607543"/>
                  </a:ext>
                </a:extLst>
              </a:tr>
            </a:tbl>
          </a:graphicData>
        </a:graphic>
      </p:graphicFrame>
      <p:sp>
        <p:nvSpPr>
          <p:cNvPr id="7" name="矩形 20">
            <a:extLst>
              <a:ext uri="{FF2B5EF4-FFF2-40B4-BE49-F238E27FC236}">
                <a16:creationId xmlns:a16="http://schemas.microsoft.com/office/drawing/2014/main" id="{E577686F-D9E7-AFC1-C077-F11FB9E9CECE}"/>
              </a:ext>
            </a:extLst>
          </p:cNvPr>
          <p:cNvSpPr/>
          <p:nvPr/>
        </p:nvSpPr>
        <p:spPr>
          <a:xfrm>
            <a:off x="1171757" y="3087204"/>
            <a:ext cx="2045753" cy="3774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WBS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元素项目类型清单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  <a:sym typeface="+mn-lt"/>
            </a:endParaRP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86A8A741-1346-FEA5-F123-290A66A47C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7044" y="3554259"/>
            <a:ext cx="5447901" cy="2870312"/>
          </a:xfrm>
          <a:prstGeom prst="rect">
            <a:avLst/>
          </a:prstGeom>
        </p:spPr>
      </p:pic>
      <p:sp>
        <p:nvSpPr>
          <p:cNvPr id="27" name="矩形 20">
            <a:extLst>
              <a:ext uri="{FF2B5EF4-FFF2-40B4-BE49-F238E27FC236}">
                <a16:creationId xmlns:a16="http://schemas.microsoft.com/office/drawing/2014/main" id="{1754ED64-1193-A0D8-5C20-EF98582C9AC1}"/>
              </a:ext>
            </a:extLst>
          </p:cNvPr>
          <p:cNvSpPr/>
          <p:nvPr/>
        </p:nvSpPr>
        <p:spPr>
          <a:xfrm>
            <a:off x="6670167" y="3087204"/>
            <a:ext cx="1980029" cy="3774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项目参数文件配置说明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  <a:sym typeface="+mn-lt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FCEB6405-AB12-208A-A31F-EB43B22D9E53}"/>
              </a:ext>
            </a:extLst>
          </p:cNvPr>
          <p:cNvSpPr txBox="1"/>
          <p:nvPr/>
        </p:nvSpPr>
        <p:spPr>
          <a:xfrm>
            <a:off x="9464945" y="3659999"/>
            <a:ext cx="195286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font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b="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“项目类型”为</a:t>
            </a:r>
            <a:r>
              <a:rPr lang="en-US" altLang="zh-CN" sz="1200" b="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TG</a:t>
            </a:r>
          </a:p>
          <a:p>
            <a:pPr marL="171450" indent="-171450" font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其他参考标准参数文件“</a:t>
            </a:r>
            <a:r>
              <a:rPr lang="en-US" altLang="zh-CN" sz="12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0000001</a:t>
            </a:r>
            <a:r>
              <a:rPr lang="zh-CN" altLang="en-US" sz="12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标准项目概况）”进行配置</a:t>
            </a:r>
            <a:endParaRPr lang="zh-CN" altLang="en-US" sz="1200" b="0" i="0" u="none" strike="noStrike">
              <a:solidFill>
                <a:srgbClr val="000000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F804B218-DA30-96DE-B84C-544AF84F4A03}"/>
              </a:ext>
            </a:extLst>
          </p:cNvPr>
          <p:cNvSpPr txBox="1"/>
          <p:nvPr/>
        </p:nvSpPr>
        <p:spPr>
          <a:xfrm>
            <a:off x="731528" y="5572464"/>
            <a:ext cx="195286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>
              <a:lnSpc>
                <a:spcPct val="150000"/>
              </a:lnSpc>
            </a:pPr>
            <a:r>
              <a:rPr lang="zh-CN" altLang="en-US" sz="1200" b="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定义推广费项目类型</a:t>
            </a:r>
            <a:r>
              <a:rPr lang="en-US" altLang="zh-CN" sz="1200" b="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ID</a:t>
            </a:r>
            <a:r>
              <a:rPr lang="zh-CN" altLang="en-US" sz="1200" b="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为</a:t>
            </a:r>
            <a:r>
              <a:rPr lang="en-US" altLang="zh-CN" sz="1200" b="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TG</a:t>
            </a:r>
            <a:r>
              <a:rPr lang="zh-CN" altLang="en-US" sz="1200" b="0" i="0" u="none" strike="noStrike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，描述为推广项目</a:t>
            </a:r>
          </a:p>
        </p:txBody>
      </p:sp>
      <p:pic>
        <p:nvPicPr>
          <p:cNvPr id="34" name="图片 33">
            <a:extLst>
              <a:ext uri="{FF2B5EF4-FFF2-40B4-BE49-F238E27FC236}">
                <a16:creationId xmlns:a16="http://schemas.microsoft.com/office/drawing/2014/main" id="{285A4210-0A38-8644-2BC3-87447FFCCF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942" y="3504254"/>
            <a:ext cx="2638095" cy="2028571"/>
          </a:xfrm>
          <a:prstGeom prst="rect">
            <a:avLst/>
          </a:prstGeom>
        </p:spPr>
      </p:pic>
      <p:sp>
        <p:nvSpPr>
          <p:cNvPr id="35" name="矩形: 圆角 34">
            <a:extLst>
              <a:ext uri="{FF2B5EF4-FFF2-40B4-BE49-F238E27FC236}">
                <a16:creationId xmlns:a16="http://schemas.microsoft.com/office/drawing/2014/main" id="{66BB4B11-1F1F-DAD1-1922-1CAED7E239B1}"/>
              </a:ext>
            </a:extLst>
          </p:cNvPr>
          <p:cNvSpPr/>
          <p:nvPr/>
        </p:nvSpPr>
        <p:spPr>
          <a:xfrm>
            <a:off x="800554" y="5039182"/>
            <a:ext cx="1080848" cy="301073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椭圆 35">
            <a:extLst>
              <a:ext uri="{FF2B5EF4-FFF2-40B4-BE49-F238E27FC236}">
                <a16:creationId xmlns:a16="http://schemas.microsoft.com/office/drawing/2014/main" id="{80F8035A-5D83-F173-FA86-0BD166FC47AA}"/>
              </a:ext>
            </a:extLst>
          </p:cNvPr>
          <p:cNvSpPr/>
          <p:nvPr/>
        </p:nvSpPr>
        <p:spPr>
          <a:xfrm>
            <a:off x="979717" y="3183386"/>
            <a:ext cx="235185" cy="23518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>
                <a:latin typeface="+mn-ea"/>
              </a:rPr>
              <a:t>1</a:t>
            </a:r>
            <a:endParaRPr lang="zh-CN" altLang="en-US" sz="1400" b="1">
              <a:latin typeface="+mn-ea"/>
            </a:endParaRPr>
          </a:p>
        </p:txBody>
      </p:sp>
      <p:sp>
        <p:nvSpPr>
          <p:cNvPr id="37" name="椭圆 36">
            <a:extLst>
              <a:ext uri="{FF2B5EF4-FFF2-40B4-BE49-F238E27FC236}">
                <a16:creationId xmlns:a16="http://schemas.microsoft.com/office/drawing/2014/main" id="{0DD57251-3395-A37A-7905-81280874CE31}"/>
              </a:ext>
            </a:extLst>
          </p:cNvPr>
          <p:cNvSpPr/>
          <p:nvPr/>
        </p:nvSpPr>
        <p:spPr>
          <a:xfrm>
            <a:off x="6388570" y="3176851"/>
            <a:ext cx="235185" cy="23518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>
                <a:latin typeface="+mn-ea"/>
              </a:rPr>
              <a:t>2</a:t>
            </a:r>
            <a:endParaRPr lang="zh-CN" altLang="en-US" sz="1400" b="1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486115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56B8F4-874A-CFB5-B37C-9B912FD9E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cap="all">
                <a:latin typeface="+mn-lt"/>
                <a:ea typeface="+mn-ea"/>
                <a:cs typeface="+mn-ea"/>
                <a:sym typeface="+mn-lt"/>
              </a:rPr>
              <a:t>SAP</a:t>
            </a:r>
            <a:r>
              <a:rPr lang="zh-CN" altLang="en-US" cap="all">
                <a:latin typeface="+mn-lt"/>
                <a:ea typeface="+mn-ea"/>
                <a:cs typeface="+mn-ea"/>
                <a:sym typeface="+mn-lt"/>
              </a:rPr>
              <a:t>改造需求 </a:t>
            </a:r>
            <a:r>
              <a:rPr lang="en-US" altLang="zh-CN" cap="all">
                <a:latin typeface="+mn-lt"/>
                <a:ea typeface="+mn-ea"/>
                <a:cs typeface="+mn-ea"/>
                <a:sym typeface="+mn-lt"/>
              </a:rPr>
              <a:t>- </a:t>
            </a:r>
            <a:r>
              <a:rPr lang="zh-CN" altLang="en-US" cap="all">
                <a:latin typeface="+mn-lt"/>
                <a:ea typeface="+mn-ea"/>
                <a:cs typeface="+mn-ea"/>
                <a:sym typeface="+mn-lt"/>
              </a:rPr>
              <a:t>④科目字段状态控制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381CB9-F1DA-585E-7A04-EEC152725F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14</a:t>
            </a:fld>
            <a:endParaRPr kumimoji="1" lang="zh-CN" alt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1A767DE-3033-7506-C44C-D9D6401212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6769954"/>
              </p:ext>
            </p:extLst>
          </p:nvPr>
        </p:nvGraphicFramePr>
        <p:xfrm>
          <a:off x="574430" y="1140485"/>
          <a:ext cx="10962242" cy="223471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85149">
                  <a:extLst>
                    <a:ext uri="{9D8B030D-6E8A-4147-A177-3AD203B41FA5}">
                      <a16:colId xmlns:a16="http://schemas.microsoft.com/office/drawing/2014/main" val="2706781813"/>
                    </a:ext>
                  </a:extLst>
                </a:gridCol>
                <a:gridCol w="1281940">
                  <a:extLst>
                    <a:ext uri="{9D8B030D-6E8A-4147-A177-3AD203B41FA5}">
                      <a16:colId xmlns:a16="http://schemas.microsoft.com/office/drawing/2014/main" val="1154917595"/>
                    </a:ext>
                  </a:extLst>
                </a:gridCol>
                <a:gridCol w="1613790">
                  <a:extLst>
                    <a:ext uri="{9D8B030D-6E8A-4147-A177-3AD203B41FA5}">
                      <a16:colId xmlns:a16="http://schemas.microsoft.com/office/drawing/2014/main" val="2862053145"/>
                    </a:ext>
                  </a:extLst>
                </a:gridCol>
                <a:gridCol w="576353">
                  <a:extLst>
                    <a:ext uri="{9D8B030D-6E8A-4147-A177-3AD203B41FA5}">
                      <a16:colId xmlns:a16="http://schemas.microsoft.com/office/drawing/2014/main" val="3117114594"/>
                    </a:ext>
                  </a:extLst>
                </a:gridCol>
                <a:gridCol w="3268676">
                  <a:extLst>
                    <a:ext uri="{9D8B030D-6E8A-4147-A177-3AD203B41FA5}">
                      <a16:colId xmlns:a16="http://schemas.microsoft.com/office/drawing/2014/main" val="2594360243"/>
                    </a:ext>
                  </a:extLst>
                </a:gridCol>
                <a:gridCol w="1238407">
                  <a:extLst>
                    <a:ext uri="{9D8B030D-6E8A-4147-A177-3AD203B41FA5}">
                      <a16:colId xmlns:a16="http://schemas.microsoft.com/office/drawing/2014/main" val="1028590504"/>
                    </a:ext>
                  </a:extLst>
                </a:gridCol>
                <a:gridCol w="2097927">
                  <a:extLst>
                    <a:ext uri="{9D8B030D-6E8A-4147-A177-3AD203B41FA5}">
                      <a16:colId xmlns:a16="http://schemas.microsoft.com/office/drawing/2014/main" val="960766917"/>
                    </a:ext>
                  </a:extLst>
                </a:gridCol>
              </a:tblGrid>
              <a:tr h="105219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序号</a:t>
                      </a:r>
                      <a:endParaRPr lang="en-US" altLang="zh-CN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对象分类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配置对象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事务</a:t>
                      </a:r>
                      <a:endParaRPr lang="en-US" altLang="zh-CN" sz="1400" u="none" strike="noStrike">
                        <a:effectLst/>
                      </a:endParaRPr>
                    </a:p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代码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配置菜单路径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跨</a:t>
                      </a:r>
                      <a:r>
                        <a:rPr lang="en-US" sz="1400" u="none" strike="noStrike">
                          <a:effectLst/>
                        </a:rPr>
                        <a:t>Client</a:t>
                      </a:r>
                      <a:r>
                        <a:rPr lang="zh-CN" altLang="en-US" sz="1400" u="none" strike="noStrike">
                          <a:effectLst/>
                        </a:rPr>
                        <a:t>配置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配置值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3847158401"/>
                  </a:ext>
                </a:extLst>
              </a:tr>
              <a:tr h="69459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科目字段状态组</a:t>
                      </a: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定义科目字段状态</a:t>
                      </a: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BC4</a:t>
                      </a: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u="none" strike="noStrike">
                          <a:effectLst/>
                        </a:rPr>
                        <a:t>IMG&gt;&gt;</a:t>
                      </a:r>
                      <a:r>
                        <a:rPr lang="zh-CN" altLang="en-US" sz="1000" u="none" strike="noStrike">
                          <a:effectLst/>
                        </a:rPr>
                        <a:t>财务会计（新）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财务会计全局设置（新）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分类账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字段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定义字段状态变式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Y</a:t>
                      </a: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增加字段状态组（成本中心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+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内部订单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+WBS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可选）并分配给对应公司代码的字段状态变式中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2791923929"/>
                  </a:ext>
                </a:extLst>
              </a:tr>
              <a:tr h="48791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科目主数据</a:t>
                      </a: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科目字段状态组</a:t>
                      </a: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S00</a:t>
                      </a: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会计核算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财务会计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总账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主记录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总账科目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单个处理</a:t>
                      </a:r>
                      <a:r>
                        <a:rPr lang="en-US" altLang="zh-CN" sz="1000" u="none" strike="noStrike">
                          <a:effectLst/>
                        </a:rPr>
                        <a:t>&gt;</a:t>
                      </a:r>
                      <a:r>
                        <a:rPr lang="zh-CN" altLang="en-US" sz="1000" u="none" strike="noStrike">
                          <a:effectLst/>
                        </a:rPr>
                        <a:t>集中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</a:t>
                      </a:r>
                    </a:p>
                  </a:txBody>
                  <a:tcPr marL="7362" marR="7362" marT="73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更改推广费科目对应的字段状态组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62" marR="7362" marT="7362" marB="0" anchor="ctr"/>
                </a:tc>
                <a:extLst>
                  <a:ext uri="{0D108BD9-81ED-4DB2-BD59-A6C34878D82A}">
                    <a16:rowId xmlns:a16="http://schemas.microsoft.com/office/drawing/2014/main" val="2205272064"/>
                  </a:ext>
                </a:extLst>
              </a:tr>
            </a:tbl>
          </a:graphicData>
        </a:graphic>
      </p:graphicFrame>
      <p:sp>
        <p:nvSpPr>
          <p:cNvPr id="8" name="Rectangle 5">
            <a:extLst>
              <a:ext uri="{FF2B5EF4-FFF2-40B4-BE49-F238E27FC236}">
                <a16:creationId xmlns:a16="http://schemas.microsoft.com/office/drawing/2014/main" id="{10DD0205-2DB5-D68D-52BD-E3710C226DDB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lang="en-US" altLang="zh-CN" b="1">
                <a:solidFill>
                  <a:prstClr val="white"/>
                </a:solidFill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26082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56B8F4-874A-CFB5-B37C-9B912FD9E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P </a:t>
            </a:r>
            <a:r>
              <a:rPr lang="zh-CN" altLang="en-US"/>
              <a:t>改造需求</a:t>
            </a:r>
            <a:r>
              <a:rPr lang="en-US" altLang="zh-CN"/>
              <a:t>-</a:t>
            </a:r>
            <a:r>
              <a:rPr lang="zh-CN" altLang="en-US"/>
              <a:t>⑤开发清单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381CB9-F1DA-585E-7A04-EEC152725F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15</a:t>
            </a:fld>
            <a:endParaRPr kumimoji="1" lang="zh-CN" alt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C3AAA03-45B4-A976-9A3F-E8F1CDCFDC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6834830"/>
              </p:ext>
            </p:extLst>
          </p:nvPr>
        </p:nvGraphicFramePr>
        <p:xfrm>
          <a:off x="238126" y="1225777"/>
          <a:ext cx="11677649" cy="283883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00099">
                  <a:extLst>
                    <a:ext uri="{9D8B030D-6E8A-4147-A177-3AD203B41FA5}">
                      <a16:colId xmlns:a16="http://schemas.microsoft.com/office/drawing/2014/main" val="11239881"/>
                    </a:ext>
                  </a:extLst>
                </a:gridCol>
                <a:gridCol w="676275">
                  <a:extLst>
                    <a:ext uri="{9D8B030D-6E8A-4147-A177-3AD203B41FA5}">
                      <a16:colId xmlns:a16="http://schemas.microsoft.com/office/drawing/2014/main" val="4179081572"/>
                    </a:ext>
                  </a:extLst>
                </a:gridCol>
                <a:gridCol w="2838450">
                  <a:extLst>
                    <a:ext uri="{9D8B030D-6E8A-4147-A177-3AD203B41FA5}">
                      <a16:colId xmlns:a16="http://schemas.microsoft.com/office/drawing/2014/main" val="178351055"/>
                    </a:ext>
                  </a:extLst>
                </a:gridCol>
                <a:gridCol w="2554380">
                  <a:extLst>
                    <a:ext uri="{9D8B030D-6E8A-4147-A177-3AD203B41FA5}">
                      <a16:colId xmlns:a16="http://schemas.microsoft.com/office/drawing/2014/main" val="4262551149"/>
                    </a:ext>
                  </a:extLst>
                </a:gridCol>
                <a:gridCol w="1124128">
                  <a:extLst>
                    <a:ext uri="{9D8B030D-6E8A-4147-A177-3AD203B41FA5}">
                      <a16:colId xmlns:a16="http://schemas.microsoft.com/office/drawing/2014/main" val="2663612690"/>
                    </a:ext>
                  </a:extLst>
                </a:gridCol>
                <a:gridCol w="1714379">
                  <a:extLst>
                    <a:ext uri="{9D8B030D-6E8A-4147-A177-3AD203B41FA5}">
                      <a16:colId xmlns:a16="http://schemas.microsoft.com/office/drawing/2014/main" val="3474215515"/>
                    </a:ext>
                  </a:extLst>
                </a:gridCol>
                <a:gridCol w="1022238">
                  <a:extLst>
                    <a:ext uri="{9D8B030D-6E8A-4147-A177-3AD203B41FA5}">
                      <a16:colId xmlns:a16="http://schemas.microsoft.com/office/drawing/2014/main" val="3056482251"/>
                    </a:ext>
                  </a:extLst>
                </a:gridCol>
                <a:gridCol w="947700">
                  <a:extLst>
                    <a:ext uri="{9D8B030D-6E8A-4147-A177-3AD203B41FA5}">
                      <a16:colId xmlns:a16="http://schemas.microsoft.com/office/drawing/2014/main" val="3299029326"/>
                    </a:ext>
                  </a:extLst>
                </a:gridCol>
              </a:tblGrid>
              <a:tr h="7382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需求编号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模块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开发需求名称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开发需求描述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新增</a:t>
                      </a:r>
                      <a:r>
                        <a:rPr lang="en-US" altLang="zh-CN" sz="1400" u="none" strike="noStrike">
                          <a:effectLst/>
                        </a:rPr>
                        <a:t>/</a:t>
                      </a:r>
                      <a:r>
                        <a:rPr lang="zh-CN" altLang="en-US" sz="1400" u="none" strike="noStrike">
                          <a:effectLst/>
                        </a:rPr>
                        <a:t>修改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参照开发对象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开发类型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外围系统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40013944"/>
                  </a:ext>
                </a:extLst>
              </a:tr>
              <a:tr h="13128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FI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FSSC</a:t>
                      </a:r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推送</a:t>
                      </a: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AP</a:t>
                      </a:r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生成凭证接口增加</a:t>
                      </a: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WBS</a:t>
                      </a:r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辅助核算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推广费相关</a:t>
                      </a: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FSSC</a:t>
                      </a:r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系统推送</a:t>
                      </a: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AP</a:t>
                      </a:r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生成凭证时，辅助核算到</a:t>
                      </a:r>
                      <a:r>
                        <a:rPr kumimoji="0" lang="zh-CN" alt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辅助核算项目</a:t>
                      </a:r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品类、渠道、区域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修改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ZFSSC_DOC_CREA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接口</a:t>
                      </a: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(Inbound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SSC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95037725"/>
                  </a:ext>
                </a:extLst>
              </a:tr>
              <a:tr h="787734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</a:rPr>
                        <a:t> 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SAP</a:t>
                      </a:r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系统接收</a:t>
                      </a:r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MPM</a:t>
                      </a:r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系统项目主数据接口</a:t>
                      </a:r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(MPM-&gt;SAP)</a:t>
                      </a:r>
                      <a:endParaRPr lang="en-US" sz="1200" b="0" i="0" u="none" strike="noStrike" kern="120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从</a:t>
                      </a:r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MPM</a:t>
                      </a:r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系统接收项目主数据，对接字段要求：</a:t>
                      </a:r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WBS</a:t>
                      </a:r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项目编码</a:t>
                      </a:r>
                      <a:r>
                        <a:rPr lang="zh-CN" altLang="en-US" sz="12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（必输）、项目描述</a:t>
                      </a:r>
                      <a:r>
                        <a:rPr lang="en-US" altLang="zh-CN" sz="12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(</a:t>
                      </a:r>
                      <a:r>
                        <a:rPr lang="zh-CN" altLang="en-US" sz="12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必输</a:t>
                      </a:r>
                      <a:r>
                        <a:rPr lang="en-US" altLang="zh-CN" sz="12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)</a:t>
                      </a:r>
                      <a:r>
                        <a:rPr lang="zh-CN" altLang="en-US" sz="12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、</a:t>
                      </a:r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状态（审核通过</a:t>
                      </a:r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/</a:t>
                      </a:r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锁定</a:t>
                      </a:r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/</a:t>
                      </a:r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删除</a:t>
                      </a:r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)</a:t>
                      </a:r>
                      <a:endParaRPr lang="en-US" sz="1200" b="0" i="0" u="none" strike="noStrike" kern="120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新增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ZFSSC_WBS_CRE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接口</a:t>
                      </a: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Inbound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PM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3225286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3A68D73-F6F2-FD70-2535-A49DE7C429F6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lang="en-US" altLang="zh-CN" b="1">
                <a:solidFill>
                  <a:prstClr val="white"/>
                </a:solidFill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399019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56B8F4-874A-CFB5-B37C-9B912FD9E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rPr>
              <a:t>⑥外围系统改造需求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381CB9-F1DA-585E-7A04-EEC152725F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16</a:t>
            </a:fld>
            <a:endParaRPr kumimoji="1" lang="zh-CN" alt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E296B13-D1C2-B83C-7EB6-1EB33B5ADE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7681218"/>
              </p:ext>
            </p:extLst>
          </p:nvPr>
        </p:nvGraphicFramePr>
        <p:xfrm>
          <a:off x="276226" y="1120393"/>
          <a:ext cx="11668124" cy="407520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99894">
                  <a:extLst>
                    <a:ext uri="{9D8B030D-6E8A-4147-A177-3AD203B41FA5}">
                      <a16:colId xmlns:a16="http://schemas.microsoft.com/office/drawing/2014/main" val="11239881"/>
                    </a:ext>
                  </a:extLst>
                </a:gridCol>
                <a:gridCol w="757455">
                  <a:extLst>
                    <a:ext uri="{9D8B030D-6E8A-4147-A177-3AD203B41FA5}">
                      <a16:colId xmlns:a16="http://schemas.microsoft.com/office/drawing/2014/main" val="4179081572"/>
                    </a:ext>
                  </a:extLst>
                </a:gridCol>
                <a:gridCol w="2460810">
                  <a:extLst>
                    <a:ext uri="{9D8B030D-6E8A-4147-A177-3AD203B41FA5}">
                      <a16:colId xmlns:a16="http://schemas.microsoft.com/office/drawing/2014/main" val="178351055"/>
                    </a:ext>
                  </a:extLst>
                </a:gridCol>
                <a:gridCol w="3448716">
                  <a:extLst>
                    <a:ext uri="{9D8B030D-6E8A-4147-A177-3AD203B41FA5}">
                      <a16:colId xmlns:a16="http://schemas.microsoft.com/office/drawing/2014/main" val="4262551149"/>
                    </a:ext>
                  </a:extLst>
                </a:gridCol>
                <a:gridCol w="942680">
                  <a:extLst>
                    <a:ext uri="{9D8B030D-6E8A-4147-A177-3AD203B41FA5}">
                      <a16:colId xmlns:a16="http://schemas.microsoft.com/office/drawing/2014/main" val="2663612690"/>
                    </a:ext>
                  </a:extLst>
                </a:gridCol>
                <a:gridCol w="1160498">
                  <a:extLst>
                    <a:ext uri="{9D8B030D-6E8A-4147-A177-3AD203B41FA5}">
                      <a16:colId xmlns:a16="http://schemas.microsoft.com/office/drawing/2014/main" val="3474215515"/>
                    </a:ext>
                  </a:extLst>
                </a:gridCol>
                <a:gridCol w="899894">
                  <a:extLst>
                    <a:ext uri="{9D8B030D-6E8A-4147-A177-3AD203B41FA5}">
                      <a16:colId xmlns:a16="http://schemas.microsoft.com/office/drawing/2014/main" val="3056482251"/>
                    </a:ext>
                  </a:extLst>
                </a:gridCol>
                <a:gridCol w="1098177">
                  <a:extLst>
                    <a:ext uri="{9D8B030D-6E8A-4147-A177-3AD203B41FA5}">
                      <a16:colId xmlns:a16="http://schemas.microsoft.com/office/drawing/2014/main" val="3299029326"/>
                    </a:ext>
                  </a:extLst>
                </a:gridCol>
              </a:tblGrid>
              <a:tr h="63125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需求编号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系统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开发需求名称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开发需求描述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新增</a:t>
                      </a:r>
                      <a:r>
                        <a:rPr lang="en-US" altLang="zh-CN" sz="1400" u="none" strike="noStrike">
                          <a:effectLst/>
                        </a:rPr>
                        <a:t>/</a:t>
                      </a:r>
                      <a:r>
                        <a:rPr lang="zh-CN" altLang="en-US" sz="1400" u="none" strike="noStrike">
                          <a:effectLst/>
                        </a:rPr>
                        <a:t>修改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参照开发对象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开发类型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集成系统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40013944"/>
                  </a:ext>
                </a:extLst>
              </a:tr>
              <a:tr h="8609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MP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MPM</a:t>
                      </a:r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系统推送项目主数据至</a:t>
                      </a:r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SAP</a:t>
                      </a:r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系统接口</a:t>
                      </a:r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(MPM-&gt;SAP)</a:t>
                      </a:r>
                      <a:endParaRPr lang="en-US" sz="1200" b="0" i="0" u="none" strike="noStrike" kern="120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MPM</a:t>
                      </a:r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系统推送项目主数据，对接字段要求：</a:t>
                      </a:r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WBS</a:t>
                      </a:r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项目编码</a:t>
                      </a:r>
                      <a:r>
                        <a:rPr lang="zh-CN" altLang="en-US" sz="12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（必输）、项目描述</a:t>
                      </a:r>
                      <a:r>
                        <a:rPr lang="en-US" altLang="zh-CN" sz="12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(</a:t>
                      </a:r>
                      <a:r>
                        <a:rPr lang="zh-CN" altLang="en-US" sz="12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必输</a:t>
                      </a:r>
                      <a:r>
                        <a:rPr lang="en-US" altLang="zh-CN" sz="12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)</a:t>
                      </a:r>
                      <a:r>
                        <a:rPr lang="zh-CN" altLang="en-US" sz="12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、</a:t>
                      </a:r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状态（审核通过</a:t>
                      </a:r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/</a:t>
                      </a:r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锁定</a:t>
                      </a:r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/</a:t>
                      </a:r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删除</a:t>
                      </a:r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+mn-lt"/>
                        </a:rPr>
                        <a:t>)</a:t>
                      </a:r>
                      <a:endParaRPr lang="en-US" sz="1200" b="0" i="0" u="none" strike="noStrike" kern="120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新增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无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接口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AP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95037725"/>
                  </a:ext>
                </a:extLst>
              </a:tr>
              <a:tr h="64574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</a:rPr>
                        <a:t> 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FSSC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推广费系统推送的单据打标并保持现状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来源为推广费系统的单据，</a:t>
                      </a:r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FSSC</a:t>
                      </a:r>
                      <a:r>
                        <a:rPr lang="zh-CN" alt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打上系统来源标识，字段校验保持现状</a:t>
                      </a:r>
                      <a:endParaRPr lang="en-US" altLang="zh-CN" sz="1200" b="0" i="0" u="none" strike="noStrike" kern="120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新增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功能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65569349"/>
                  </a:ext>
                </a:extLst>
              </a:tr>
              <a:tr h="64574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</a:rPr>
                        <a:t> 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FSSC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手工填报单据增加项目、品类等辅助字段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推广费相关单据增加</a:t>
                      </a:r>
                      <a:r>
                        <a:rPr kumimoji="0" lang="zh-CN" alt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辅助核算项目</a:t>
                      </a:r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品类、渠道、区域、动因字段，且必输（无法区分的场景可选不区分）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修改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功能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0194692"/>
                  </a:ext>
                </a:extLst>
              </a:tr>
              <a:tr h="64574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FSSC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FSSC</a:t>
                      </a:r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推送</a:t>
                      </a: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AP</a:t>
                      </a:r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生成凭证接口增加</a:t>
                      </a: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WBS</a:t>
                      </a:r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辅助核算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推广费相关</a:t>
                      </a: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FSSC</a:t>
                      </a:r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系统推送</a:t>
                      </a: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AP</a:t>
                      </a:r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生成凭证时，辅助核算到</a:t>
                      </a: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WBS</a:t>
                      </a:r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品类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修改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接口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P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63117858"/>
                  </a:ext>
                </a:extLst>
              </a:tr>
              <a:tr h="64574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FSSC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法人公司对推广费项目的扩展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对于从</a:t>
                      </a: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AP</a:t>
                      </a:r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推送过来的推广费项目，扩展到全量公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修改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接口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P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7731746"/>
                  </a:ext>
                </a:extLst>
              </a:tr>
            </a:tbl>
          </a:graphicData>
        </a:graphic>
      </p:graphicFrame>
      <p:sp>
        <p:nvSpPr>
          <p:cNvPr id="7" name="Rectangle 5">
            <a:extLst>
              <a:ext uri="{FF2B5EF4-FFF2-40B4-BE49-F238E27FC236}">
                <a16:creationId xmlns:a16="http://schemas.microsoft.com/office/drawing/2014/main" id="{57C13D0D-821E-1540-3C32-3FB239C9580F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lang="en-US" altLang="zh-CN" b="1">
                <a:solidFill>
                  <a:prstClr val="white"/>
                </a:solidFill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13686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773D08-2167-46BF-BBC2-22559A1C2C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>
                <a:latin typeface="+mn-lt"/>
                <a:ea typeface="+mn-ea"/>
                <a:cs typeface="+mn-ea"/>
                <a:sym typeface="+mn-lt"/>
              </a:rPr>
              <a:t>业务单据关联解决方案</a:t>
            </a:r>
          </a:p>
        </p:txBody>
      </p: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FCEE71F5-9C0C-E914-4A05-52FC659206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78680" y="6478270"/>
            <a:ext cx="244348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FE292F-1EBE-6D4A-B339-A324D614A372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BE823D1-A2E3-D803-5535-22913F6386B5}"/>
              </a:ext>
            </a:extLst>
          </p:cNvPr>
          <p:cNvGrpSpPr/>
          <p:nvPr/>
        </p:nvGrpSpPr>
        <p:grpSpPr>
          <a:xfrm>
            <a:off x="4456308" y="1610247"/>
            <a:ext cx="4369109" cy="2473736"/>
            <a:chOff x="4326244" y="1739176"/>
            <a:chExt cx="3330316" cy="2473736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30530188-D505-0A24-B112-689D74183029}"/>
                </a:ext>
              </a:extLst>
            </p:cNvPr>
            <p:cNvGrpSpPr/>
            <p:nvPr/>
          </p:nvGrpSpPr>
          <p:grpSpPr>
            <a:xfrm>
              <a:off x="4326244" y="1739176"/>
              <a:ext cx="349820" cy="349820"/>
              <a:chOff x="3389596" y="1694664"/>
              <a:chExt cx="274320" cy="274320"/>
            </a:xfrm>
          </p:grpSpPr>
          <p:pic>
            <p:nvPicPr>
              <p:cNvPr id="25" name="图片 12" descr="形状, 正方形&#10;&#10;描述已自动生成">
                <a:extLst>
                  <a:ext uri="{FF2B5EF4-FFF2-40B4-BE49-F238E27FC236}">
                    <a16:creationId xmlns:a16="http://schemas.microsoft.com/office/drawing/2014/main" id="{946B2C7A-60F4-D59C-0698-47DCCCE016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389596" y="1694664"/>
                <a:ext cx="274320" cy="274320"/>
              </a:xfrm>
              <a:prstGeom prst="rect">
                <a:avLst/>
              </a:prstGeom>
            </p:spPr>
          </p:pic>
          <p:sp>
            <p:nvSpPr>
              <p:cNvPr id="26" name="主标题为方正兰亭 , 最大30pt">
                <a:extLst>
                  <a:ext uri="{FF2B5EF4-FFF2-40B4-BE49-F238E27FC236}">
                    <a16:creationId xmlns:a16="http://schemas.microsoft.com/office/drawing/2014/main" id="{32782EC3-C33B-0CF9-51BE-415D8863C255}"/>
                  </a:ext>
                </a:extLst>
              </p:cNvPr>
              <p:cNvSpPr txBox="1"/>
              <p:nvPr/>
            </p:nvSpPr>
            <p:spPr>
              <a:xfrm>
                <a:off x="3450705" y="1697070"/>
                <a:ext cx="152101" cy="269508"/>
              </a:xfrm>
              <a:prstGeom prst="rect">
                <a:avLst/>
              </a:prstGeom>
              <a:ln w="12700">
                <a:miter lim="400000"/>
              </a:ln>
            </p:spPr>
            <p:txBody>
              <a:bodyPr wrap="none" lIns="25400" tIns="25400" rIns="25400" bIns="25400" anchor="ctr">
                <a:spAutoFit/>
              </a:bodyPr>
              <a:lstStyle/>
              <a:p>
                <a:pPr marL="0" marR="0" lvl="0" indent="0" algn="ctr" defTabSz="2057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6000">
                    <a:solidFill>
                      <a:srgbClr val="5E5E5E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r>
                  <a:rPr kumimoji="0" lang="en-US" altLang="zh-CN" sz="19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elvetica"/>
                    <a:cs typeface="+mn-ea"/>
                    <a:sym typeface="+mn-lt"/>
                  </a:rPr>
                  <a:t>2</a:t>
                </a:r>
                <a:endParaRPr kumimoji="0" lang="en-US" sz="1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"/>
                  <a:cs typeface="+mn-ea"/>
                  <a:sym typeface="+mn-lt"/>
                </a:endParaRPr>
              </a:p>
            </p:txBody>
          </p:sp>
        </p:grpSp>
        <p:sp>
          <p:nvSpPr>
            <p:cNvPr id="27" name="矩形 18">
              <a:extLst>
                <a:ext uri="{FF2B5EF4-FFF2-40B4-BE49-F238E27FC236}">
                  <a16:creationId xmlns:a16="http://schemas.microsoft.com/office/drawing/2014/main" id="{E0CD9158-6CB7-DB69-4C5A-379F2E6FA619}"/>
                </a:ext>
              </a:extLst>
            </p:cNvPr>
            <p:cNvSpPr/>
            <p:nvPr/>
          </p:nvSpPr>
          <p:spPr>
            <a:xfrm>
              <a:off x="4739778" y="1760199"/>
              <a:ext cx="1313760" cy="307777"/>
            </a:xfrm>
            <a:prstGeom prst="rect">
              <a:avLst/>
            </a:prstGeom>
          </p:spPr>
          <p:txBody>
            <a:bodyPr wrap="none" t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Times New Roman"/>
                  <a:ea typeface="Microsoft YaHei"/>
                  <a:cs typeface="+mn-ea"/>
                  <a:sym typeface="+mn-lt"/>
                </a:rPr>
                <a:t>近期方案详解</a:t>
              </a:r>
            </a:p>
          </p:txBody>
        </p:sp>
        <p:sp>
          <p:nvSpPr>
            <p:cNvPr id="28" name="矩形 20">
              <a:extLst>
                <a:ext uri="{FF2B5EF4-FFF2-40B4-BE49-F238E27FC236}">
                  <a16:creationId xmlns:a16="http://schemas.microsoft.com/office/drawing/2014/main" id="{B9998F98-5F87-0296-E493-AC9C50775694}"/>
                </a:ext>
              </a:extLst>
            </p:cNvPr>
            <p:cNvSpPr/>
            <p:nvPr/>
          </p:nvSpPr>
          <p:spPr>
            <a:xfrm>
              <a:off x="4709780" y="2219802"/>
              <a:ext cx="2946780" cy="1993110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近期方案说明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742950" lvl="1" indent="-285750">
                <a:lnSpc>
                  <a:spcPct val="150000"/>
                </a:lnSpc>
                <a:buFont typeface="Courier New" panose="02070309020205020404" pitchFamily="49" charset="0"/>
                <a:buChar char="o"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方案详解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altLang="zh-CN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SAP ERP</a:t>
              </a: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改造需求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742950" lvl="1" indent="-285750">
                <a:lnSpc>
                  <a:spcPct val="150000"/>
                </a:lnSpc>
                <a:buFont typeface="Courier New" panose="02070309020205020404" pitchFamily="49" charset="0"/>
                <a:buChar char="o"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配置清单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742950" lvl="1" indent="-285750">
                <a:lnSpc>
                  <a:spcPct val="150000"/>
                </a:lnSpc>
                <a:buFont typeface="Courier New" panose="02070309020205020404" pitchFamily="49" charset="0"/>
                <a:buChar char="o"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开发清单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外围系统改造需求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2C9B5FB-59FE-7807-2FDA-3F5AEE48AEA7}"/>
              </a:ext>
            </a:extLst>
          </p:cNvPr>
          <p:cNvGrpSpPr/>
          <p:nvPr/>
        </p:nvGrpSpPr>
        <p:grpSpPr>
          <a:xfrm>
            <a:off x="848043" y="1598672"/>
            <a:ext cx="1719967" cy="1501171"/>
            <a:chOff x="581565" y="1742245"/>
            <a:chExt cx="1719967" cy="1501171"/>
          </a:xfrm>
        </p:grpSpPr>
        <p:pic>
          <p:nvPicPr>
            <p:cNvPr id="59" name="图片 12" descr="形状, 正方形&#10;&#10;描述已自动生成">
              <a:extLst>
                <a:ext uri="{FF2B5EF4-FFF2-40B4-BE49-F238E27FC236}">
                  <a16:creationId xmlns:a16="http://schemas.microsoft.com/office/drawing/2014/main" id="{BCA630D3-2299-BE8D-04A9-1756343E091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1565" y="1757166"/>
              <a:ext cx="349820" cy="349820"/>
            </a:xfrm>
            <a:prstGeom prst="rect">
              <a:avLst/>
            </a:prstGeom>
          </p:spPr>
        </p:pic>
        <p:sp>
          <p:nvSpPr>
            <p:cNvPr id="38" name="主标题为方正兰亭 , 最大30pt">
              <a:extLst>
                <a:ext uri="{FF2B5EF4-FFF2-40B4-BE49-F238E27FC236}">
                  <a16:creationId xmlns:a16="http://schemas.microsoft.com/office/drawing/2014/main" id="{E0842126-D5F8-AC9D-4290-D452A675968F}"/>
                </a:ext>
              </a:extLst>
            </p:cNvPr>
            <p:cNvSpPr txBox="1"/>
            <p:nvPr/>
          </p:nvSpPr>
          <p:spPr>
            <a:xfrm>
              <a:off x="659493" y="1742245"/>
              <a:ext cx="193963" cy="343684"/>
            </a:xfrm>
            <a:prstGeom prst="rect">
              <a:avLst/>
            </a:prstGeom>
            <a:ln w="12700">
              <a:miter lim="400000"/>
            </a:ln>
          </p:spPr>
          <p:txBody>
            <a:bodyPr wrap="none" lIns="25400" tIns="25400" rIns="25400" bIns="25400" anchor="ctr">
              <a:spAutoFit/>
            </a:bodyPr>
            <a:lstStyle/>
            <a:p>
              <a:pPr marL="0" marR="0" lvl="0" indent="0" algn="ctr" defTabSz="205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000">
                  <a:solidFill>
                    <a:srgbClr val="5E5E5E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r>
                <a:rPr kumimoji="0" lang="en-US" altLang="zh-CN" sz="1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"/>
                  <a:cs typeface="+mn-ea"/>
                  <a:sym typeface="+mn-lt"/>
                </a:rPr>
                <a:t>1</a:t>
              </a: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/>
                <a:cs typeface="+mn-ea"/>
                <a:sym typeface="+mn-lt"/>
              </a:endParaRPr>
            </a:p>
          </p:txBody>
        </p:sp>
        <p:sp>
          <p:nvSpPr>
            <p:cNvPr id="39" name="矩形 18">
              <a:extLst>
                <a:ext uri="{FF2B5EF4-FFF2-40B4-BE49-F238E27FC236}">
                  <a16:creationId xmlns:a16="http://schemas.microsoft.com/office/drawing/2014/main" id="{DC8AA29F-5BDB-98D4-0234-6382E9415066}"/>
                </a:ext>
              </a:extLst>
            </p:cNvPr>
            <p:cNvSpPr/>
            <p:nvPr/>
          </p:nvSpPr>
          <p:spPr>
            <a:xfrm>
              <a:off x="996367" y="1760199"/>
              <a:ext cx="1210588" cy="307777"/>
            </a:xfrm>
            <a:prstGeom prst="rect">
              <a:avLst/>
            </a:prstGeom>
          </p:spPr>
          <p:txBody>
            <a:bodyPr wrap="none" t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Times New Roman"/>
                  <a:ea typeface="Microsoft YaHei"/>
                  <a:cs typeface="+mn-ea"/>
                  <a:sym typeface="+mn-lt"/>
                </a:rPr>
                <a:t>方案概述</a:t>
              </a:r>
            </a:p>
          </p:txBody>
        </p:sp>
        <p:sp>
          <p:nvSpPr>
            <p:cNvPr id="40" name="矩形 20">
              <a:extLst>
                <a:ext uri="{FF2B5EF4-FFF2-40B4-BE49-F238E27FC236}">
                  <a16:creationId xmlns:a16="http://schemas.microsoft.com/office/drawing/2014/main" id="{D0932047-60E2-31AA-BE0A-DF19DD90058A}"/>
                </a:ext>
              </a:extLst>
            </p:cNvPr>
            <p:cNvSpPr/>
            <p:nvPr/>
          </p:nvSpPr>
          <p:spPr>
            <a:xfrm>
              <a:off x="996367" y="2219802"/>
              <a:ext cx="1305165" cy="102361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现状</a:t>
              </a:r>
              <a:r>
                <a:rPr lang="en-US" altLang="zh-CN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VS</a:t>
              </a: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价值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建议方案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问题总结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8490947-EDD5-6F4B-E900-47E7168ED321}"/>
              </a:ext>
            </a:extLst>
          </p:cNvPr>
          <p:cNvGrpSpPr/>
          <p:nvPr/>
        </p:nvGrpSpPr>
        <p:grpSpPr>
          <a:xfrm>
            <a:off x="8489778" y="1610247"/>
            <a:ext cx="2356467" cy="1180625"/>
            <a:chOff x="8147101" y="1739177"/>
            <a:chExt cx="2356467" cy="1180625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65CA5318-D55C-C18C-9FBE-50ED9BD04457}"/>
                </a:ext>
              </a:extLst>
            </p:cNvPr>
            <p:cNvGrpSpPr/>
            <p:nvPr/>
          </p:nvGrpSpPr>
          <p:grpSpPr>
            <a:xfrm>
              <a:off x="8147101" y="1739177"/>
              <a:ext cx="349820" cy="349820"/>
              <a:chOff x="7039343" y="824057"/>
              <a:chExt cx="274320" cy="274320"/>
            </a:xfrm>
          </p:grpSpPr>
          <p:pic>
            <p:nvPicPr>
              <p:cNvPr id="33" name="图片 12" descr="形状, 正方形&#10;&#10;描述已自动生成">
                <a:extLst>
                  <a:ext uri="{FF2B5EF4-FFF2-40B4-BE49-F238E27FC236}">
                    <a16:creationId xmlns:a16="http://schemas.microsoft.com/office/drawing/2014/main" id="{889CC519-DF4F-3C8A-E52F-D92D46E7DC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039343" y="824057"/>
                <a:ext cx="274320" cy="274320"/>
              </a:xfrm>
              <a:prstGeom prst="rect">
                <a:avLst/>
              </a:prstGeom>
            </p:spPr>
          </p:pic>
          <p:sp>
            <p:nvSpPr>
              <p:cNvPr id="34" name="主标题为方正兰亭 , 最大30pt">
                <a:extLst>
                  <a:ext uri="{FF2B5EF4-FFF2-40B4-BE49-F238E27FC236}">
                    <a16:creationId xmlns:a16="http://schemas.microsoft.com/office/drawing/2014/main" id="{A39451D4-7245-50BD-D11C-794CD0478D90}"/>
                  </a:ext>
                </a:extLst>
              </p:cNvPr>
              <p:cNvSpPr txBox="1"/>
              <p:nvPr/>
            </p:nvSpPr>
            <p:spPr>
              <a:xfrm>
                <a:off x="7102217" y="826463"/>
                <a:ext cx="152101" cy="269508"/>
              </a:xfrm>
              <a:prstGeom prst="rect">
                <a:avLst/>
              </a:prstGeom>
              <a:ln w="12700">
                <a:miter lim="400000"/>
              </a:ln>
            </p:spPr>
            <p:txBody>
              <a:bodyPr wrap="none" lIns="25400" tIns="25400" rIns="25400" bIns="25400" anchor="ctr">
                <a:spAutoFit/>
              </a:bodyPr>
              <a:lstStyle/>
              <a:p>
                <a:pPr marL="0" marR="0" lvl="0" indent="0" algn="ctr" defTabSz="2057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6000">
                    <a:solidFill>
                      <a:srgbClr val="5E5E5E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r>
                  <a:rPr kumimoji="0" lang="en-US" altLang="zh-CN" sz="19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elvetica"/>
                    <a:cs typeface="+mn-ea"/>
                    <a:sym typeface="+mn-lt"/>
                  </a:rPr>
                  <a:t>3</a:t>
                </a:r>
                <a:endParaRPr kumimoji="0" lang="en-US" sz="1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"/>
                  <a:cs typeface="+mn-ea"/>
                  <a:sym typeface="+mn-lt"/>
                </a:endParaRPr>
              </a:p>
            </p:txBody>
          </p:sp>
        </p:grpSp>
        <p:sp>
          <p:nvSpPr>
            <p:cNvPr id="35" name="矩形 18">
              <a:extLst>
                <a:ext uri="{FF2B5EF4-FFF2-40B4-BE49-F238E27FC236}">
                  <a16:creationId xmlns:a16="http://schemas.microsoft.com/office/drawing/2014/main" id="{B2C12CA0-AFF1-4C38-7D93-C6ABDF7AB157}"/>
                </a:ext>
              </a:extLst>
            </p:cNvPr>
            <p:cNvSpPr/>
            <p:nvPr/>
          </p:nvSpPr>
          <p:spPr>
            <a:xfrm>
              <a:off x="8560633" y="1760199"/>
              <a:ext cx="1920240" cy="307777"/>
            </a:xfrm>
            <a:prstGeom prst="rect">
              <a:avLst/>
            </a:prstGeom>
          </p:spPr>
          <p:txBody>
            <a:bodyPr wrap="square" t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5F92"/>
                  </a:solidFill>
                  <a:effectLst/>
                  <a:uLnTx/>
                  <a:uFillTx/>
                  <a:latin typeface="Times New Roman"/>
                  <a:ea typeface="Microsoft YaHei"/>
                  <a:cs typeface="+mn-ea"/>
                  <a:sym typeface="+mn-lt"/>
                </a:rPr>
                <a:t>实施计划</a:t>
              </a:r>
              <a:endParaRPr kumimoji="0" lang="en-US" altLang="zh-CN" sz="20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endParaRPr>
            </a:p>
          </p:txBody>
        </p:sp>
        <p:sp>
          <p:nvSpPr>
            <p:cNvPr id="41" name="矩形 20">
              <a:extLst>
                <a:ext uri="{FF2B5EF4-FFF2-40B4-BE49-F238E27FC236}">
                  <a16:creationId xmlns:a16="http://schemas.microsoft.com/office/drawing/2014/main" id="{0D1A4B05-934A-178A-1B5C-B6A453C115C3}"/>
                </a:ext>
              </a:extLst>
            </p:cNvPr>
            <p:cNvSpPr/>
            <p:nvPr/>
          </p:nvSpPr>
          <p:spPr>
            <a:xfrm>
              <a:off x="8560633" y="2219802"/>
              <a:ext cx="1942935" cy="700000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方案实施计划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/>
                  <a:ea typeface="Microsoft YaHei"/>
                  <a:cs typeface="+mn-ea"/>
                  <a:sym typeface="+mn-lt"/>
                </a:rPr>
                <a:t>系统切换方案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endParaRPr>
            </a:p>
          </p:txBody>
        </p:sp>
      </p:grpSp>
      <p:sp>
        <p:nvSpPr>
          <p:cNvPr id="4" name="Rectangle 5">
            <a:extLst>
              <a:ext uri="{FF2B5EF4-FFF2-40B4-BE49-F238E27FC236}">
                <a16:creationId xmlns:a16="http://schemas.microsoft.com/office/drawing/2014/main" id="{939C2473-0A52-57F8-23A2-2B3630931135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目录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762553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56B8F4-874A-CFB5-B37C-9B912FD9E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rPr>
              <a:t>方案实施计划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381CB9-F1DA-585E-7A04-EEC152725F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18</a:t>
            </a:fld>
            <a:endParaRPr kumimoji="1" lang="zh-CN" altLang="en-US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15F9DB9-1EC7-07B1-448F-A83F22A41C9B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实施计划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033DC7F-6785-9FB7-15F0-5D1F1BA774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3748103"/>
              </p:ext>
            </p:extLst>
          </p:nvPr>
        </p:nvGraphicFramePr>
        <p:xfrm>
          <a:off x="334963" y="1207908"/>
          <a:ext cx="11520487" cy="49896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0913">
                  <a:extLst>
                    <a:ext uri="{9D8B030D-6E8A-4147-A177-3AD203B41FA5}">
                      <a16:colId xmlns:a16="http://schemas.microsoft.com/office/drawing/2014/main" val="3698304851"/>
                    </a:ext>
                  </a:extLst>
                </a:gridCol>
                <a:gridCol w="1234929">
                  <a:extLst>
                    <a:ext uri="{9D8B030D-6E8A-4147-A177-3AD203B41FA5}">
                      <a16:colId xmlns:a16="http://schemas.microsoft.com/office/drawing/2014/main" val="2422821095"/>
                    </a:ext>
                  </a:extLst>
                </a:gridCol>
                <a:gridCol w="1234929">
                  <a:extLst>
                    <a:ext uri="{9D8B030D-6E8A-4147-A177-3AD203B41FA5}">
                      <a16:colId xmlns:a16="http://schemas.microsoft.com/office/drawing/2014/main" val="55153618"/>
                    </a:ext>
                  </a:extLst>
                </a:gridCol>
                <a:gridCol w="1234929">
                  <a:extLst>
                    <a:ext uri="{9D8B030D-6E8A-4147-A177-3AD203B41FA5}">
                      <a16:colId xmlns:a16="http://schemas.microsoft.com/office/drawing/2014/main" val="3283457396"/>
                    </a:ext>
                  </a:extLst>
                </a:gridCol>
                <a:gridCol w="1234929">
                  <a:extLst>
                    <a:ext uri="{9D8B030D-6E8A-4147-A177-3AD203B41FA5}">
                      <a16:colId xmlns:a16="http://schemas.microsoft.com/office/drawing/2014/main" val="2255681718"/>
                    </a:ext>
                  </a:extLst>
                </a:gridCol>
                <a:gridCol w="1234929">
                  <a:extLst>
                    <a:ext uri="{9D8B030D-6E8A-4147-A177-3AD203B41FA5}">
                      <a16:colId xmlns:a16="http://schemas.microsoft.com/office/drawing/2014/main" val="99406314"/>
                    </a:ext>
                  </a:extLst>
                </a:gridCol>
                <a:gridCol w="1234929">
                  <a:extLst>
                    <a:ext uri="{9D8B030D-6E8A-4147-A177-3AD203B41FA5}">
                      <a16:colId xmlns:a16="http://schemas.microsoft.com/office/drawing/2014/main" val="3371254486"/>
                    </a:ext>
                  </a:extLst>
                </a:gridCol>
              </a:tblGrid>
              <a:tr h="352899"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cap="none" baseline="0">
                          <a:solidFill>
                            <a:schemeClr val="tx1"/>
                          </a:solidFill>
                          <a:latin typeface="+mj-lt"/>
                        </a:rPr>
                        <a:t>三月</a:t>
                      </a:r>
                      <a:endParaRPr lang="en-GB" sz="1200" cap="none" baseline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cap="none" baseline="0">
                          <a:solidFill>
                            <a:schemeClr val="tx1"/>
                          </a:solidFill>
                          <a:latin typeface="+mj-lt"/>
                        </a:rPr>
                        <a:t>四月</a:t>
                      </a:r>
                      <a:endParaRPr lang="en-GB" sz="1200" cap="none" baseline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cap="none" baseline="0">
                          <a:solidFill>
                            <a:schemeClr val="tx1"/>
                          </a:solidFill>
                          <a:latin typeface="+mj-lt"/>
                        </a:rPr>
                        <a:t>五月</a:t>
                      </a:r>
                      <a:endParaRPr lang="en-GB" sz="1200" cap="none" baseline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cap="none" baseline="0">
                          <a:solidFill>
                            <a:schemeClr val="tx1"/>
                          </a:solidFill>
                          <a:latin typeface="+mj-lt"/>
                        </a:rPr>
                        <a:t>六月</a:t>
                      </a:r>
                      <a:endParaRPr lang="en-US" sz="1200" b="1" cap="none" baseline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cap="none" baseline="0">
                          <a:solidFill>
                            <a:schemeClr val="tx1"/>
                          </a:solidFill>
                          <a:latin typeface="+mj-lt"/>
                        </a:rPr>
                        <a:t>七月</a:t>
                      </a:r>
                      <a:endParaRPr lang="en-GB" sz="1200" cap="none" baseline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cap="none" baseline="0">
                          <a:solidFill>
                            <a:schemeClr val="tx1"/>
                          </a:solidFill>
                          <a:latin typeface="+mj-lt"/>
                        </a:rPr>
                        <a:t>八月</a:t>
                      </a:r>
                      <a:endParaRPr lang="en-GB" sz="1200" cap="none" baseline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8553952"/>
                  </a:ext>
                </a:extLst>
              </a:tr>
              <a:tr h="331199"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cap="none" baseline="0">
                          <a:latin typeface="+mj-lt"/>
                        </a:rPr>
                        <a:t>详细方案设计</a:t>
                      </a:r>
                      <a:endParaRPr lang="en-US" sz="1200" cap="none" baseline="0">
                        <a:latin typeface="+mj-lt"/>
                      </a:endParaRPr>
                    </a:p>
                  </a:txBody>
                  <a:tcPr marL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556169"/>
                  </a:ext>
                </a:extLst>
              </a:tr>
              <a:tr h="331199"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/>
                        <a:t>需求讨论</a:t>
                      </a:r>
                      <a:endParaRPr lang="en-US" sz="1200"/>
                    </a:p>
                  </a:txBody>
                  <a:tcPr marL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4728236"/>
                  </a:ext>
                </a:extLst>
              </a:tr>
              <a:tr h="331199"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/>
                        <a:t>方案设计</a:t>
                      </a:r>
                      <a:endParaRPr lang="en-US" sz="1200"/>
                    </a:p>
                  </a:txBody>
                  <a:tcPr marL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329372"/>
                  </a:ext>
                </a:extLst>
              </a:tr>
              <a:tr h="331199"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/>
                        <a:t>外围系统改造方案</a:t>
                      </a:r>
                      <a:endParaRPr lang="en-US" sz="1200"/>
                    </a:p>
                  </a:txBody>
                  <a:tcPr marL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0573348"/>
                  </a:ext>
                </a:extLst>
              </a:tr>
              <a:tr h="331199"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/>
                        <a:t>详细设计报告</a:t>
                      </a:r>
                      <a:endParaRPr lang="en-US" sz="1200"/>
                    </a:p>
                  </a:txBody>
                  <a:tcPr marL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7927866"/>
                  </a:ext>
                </a:extLst>
              </a:tr>
              <a:tr h="331199"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cap="none" baseline="0">
                          <a:latin typeface="+mj-lt"/>
                        </a:rPr>
                        <a:t>系统实现</a:t>
                      </a:r>
                      <a:endParaRPr lang="en-US" sz="1200" cap="none" baseline="0">
                        <a:latin typeface="+mj-lt"/>
                      </a:endParaRPr>
                    </a:p>
                  </a:txBody>
                  <a:tcPr marL="0" anchor="ctr"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1469834"/>
                  </a:ext>
                </a:extLst>
              </a:tr>
              <a:tr h="331199"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/>
                        <a:t>功能开发</a:t>
                      </a:r>
                      <a:endParaRPr lang="en-US" sz="1200"/>
                    </a:p>
                  </a:txBody>
                  <a:tcPr marL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4573186"/>
                  </a:ext>
                </a:extLst>
              </a:tr>
              <a:tr h="331199"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/>
                        <a:t>单元测试</a:t>
                      </a:r>
                      <a:endParaRPr lang="en-US" sz="1200"/>
                    </a:p>
                  </a:txBody>
                  <a:tcPr marL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4087819"/>
                  </a:ext>
                </a:extLst>
              </a:tr>
              <a:tr h="331199"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/>
                        <a:t>集成测试</a:t>
                      </a:r>
                      <a:endParaRPr lang="en-US" sz="1200"/>
                    </a:p>
                  </a:txBody>
                  <a:tcPr marL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7980715"/>
                  </a:ext>
                </a:extLst>
              </a:tr>
              <a:tr h="331199"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/>
                        <a:t>用户接收测试</a:t>
                      </a:r>
                      <a:endParaRPr lang="en-US" sz="1200"/>
                    </a:p>
                  </a:txBody>
                  <a:tcPr marL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5448543"/>
                  </a:ext>
                </a:extLst>
              </a:tr>
              <a:tr h="331199"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cap="none" baseline="0">
                          <a:latin typeface="+mj-lt"/>
                        </a:rPr>
                        <a:t>上线切换</a:t>
                      </a:r>
                      <a:endParaRPr lang="en-US" sz="1200" cap="none" baseline="0">
                        <a:latin typeface="+mj-lt"/>
                      </a:endParaRPr>
                    </a:p>
                  </a:txBody>
                  <a:tcPr marL="0" anchor="ctr"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9485012"/>
                  </a:ext>
                </a:extLst>
              </a:tr>
              <a:tr h="331199"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/>
                        <a:t>数据转换</a:t>
                      </a:r>
                      <a:endParaRPr lang="en-US" sz="1200"/>
                    </a:p>
                  </a:txBody>
                  <a:tcPr marL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8100610"/>
                  </a:ext>
                </a:extLst>
              </a:tr>
              <a:tr h="331199"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/>
                        <a:t>系统切换</a:t>
                      </a:r>
                      <a:endParaRPr lang="en-US" sz="1200"/>
                    </a:p>
                  </a:txBody>
                  <a:tcPr marL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6655884"/>
                  </a:ext>
                </a:extLst>
              </a:tr>
              <a:tr h="331199"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cap="none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Key </a:t>
                      </a:r>
                      <a:r>
                        <a:rPr lang="en-US" altLang="zh-CN" sz="1200" b="1" kern="1200" cap="none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Milestone</a:t>
                      </a:r>
                      <a:endParaRPr lang="en-US" sz="1200" kern="1200" cap="none" baseline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1114773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27F99B4-3766-9720-62D0-553AF56F90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55994" y="1552657"/>
            <a:ext cx="2128756" cy="2670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FDBBA8-33AF-50BA-849A-BD1E22A99A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55993" y="1888118"/>
            <a:ext cx="796726" cy="2589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B3C8430-4888-728B-9A60-8522CD6A93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000552" y="2223581"/>
            <a:ext cx="680833" cy="2319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736B81-61EE-ECD8-9820-854E869866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681385" y="2559042"/>
            <a:ext cx="526916" cy="2319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450A05D-E60E-0F04-9D91-034389C79B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681385" y="2894502"/>
            <a:ext cx="903366" cy="2670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C80C45-5C2D-4775-A547-535F519EE1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584750" y="3239819"/>
            <a:ext cx="4028822" cy="309909"/>
          </a:xfrm>
          <a:prstGeom prst="rect">
            <a:avLst/>
          </a:prstGeom>
          <a:solidFill>
            <a:srgbClr val="005F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334A30-133B-E1E3-82F9-C2A640AB15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584750" y="3585137"/>
            <a:ext cx="1897975" cy="258946"/>
          </a:xfrm>
          <a:prstGeom prst="rect">
            <a:avLst/>
          </a:prstGeom>
          <a:solidFill>
            <a:srgbClr val="42BD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A861BC4-DD88-5859-3A65-49C8843990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482725" y="3917813"/>
            <a:ext cx="925435" cy="234720"/>
          </a:xfrm>
          <a:prstGeom prst="rect">
            <a:avLst/>
          </a:prstGeom>
          <a:solidFill>
            <a:srgbClr val="42BD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E2FBF07-3D75-F7FA-DEAD-3B5926E5E7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408160" y="4188289"/>
            <a:ext cx="598620" cy="258945"/>
          </a:xfrm>
          <a:prstGeom prst="rect">
            <a:avLst/>
          </a:prstGeom>
          <a:solidFill>
            <a:srgbClr val="42BD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E111B-4983-384A-00E6-A734390C9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014949" y="4556121"/>
            <a:ext cx="598621" cy="258945"/>
          </a:xfrm>
          <a:prstGeom prst="rect">
            <a:avLst/>
          </a:prstGeom>
          <a:solidFill>
            <a:srgbClr val="42BD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A6C2A18-B217-58AF-7A5E-4D5D5EFEBB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613571" y="4953539"/>
            <a:ext cx="1241878" cy="258945"/>
          </a:xfrm>
          <a:prstGeom prst="rect">
            <a:avLst/>
          </a:prstGeom>
          <a:solidFill>
            <a:srgbClr val="007FC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6052B42-4E36-9C5F-654F-F2687AD424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006780" y="5268159"/>
            <a:ext cx="1549195" cy="258945"/>
          </a:xfrm>
          <a:prstGeom prst="rect">
            <a:avLst/>
          </a:prstGeom>
          <a:solidFill>
            <a:srgbClr val="C0E9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977BFC1-C4B6-D55F-48E9-7F053021F0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321143" y="5573708"/>
            <a:ext cx="534306" cy="258945"/>
          </a:xfrm>
          <a:prstGeom prst="rect">
            <a:avLst/>
          </a:prstGeom>
          <a:solidFill>
            <a:srgbClr val="C0E9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Box 46">
            <a:extLst>
              <a:ext uri="{FF2B5EF4-FFF2-40B4-BE49-F238E27FC236}">
                <a16:creationId xmlns:a16="http://schemas.microsoft.com/office/drawing/2014/main" id="{81707F65-6995-056A-7DE9-CB08155B02D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584750" y="5853918"/>
            <a:ext cx="1132125" cy="31179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45720" rIns="45720"/>
          <a:lstStyle/>
          <a:p>
            <a:pPr eaLnBrk="0" hangingPunct="0">
              <a:spcBef>
                <a:spcPct val="0"/>
              </a:spcBef>
              <a:buClr>
                <a:schemeClr val="accent6"/>
              </a:buClr>
              <a:buFont typeface="Wingdings" pitchFamily="2" charset="2"/>
              <a:buChar char="u"/>
            </a:pPr>
            <a:r>
              <a:rPr lang="en-US" sz="1400">
                <a:solidFill>
                  <a:schemeClr val="tx1"/>
                </a:solidFill>
              </a:rPr>
              <a:t> 2023/04/21</a:t>
            </a:r>
          </a:p>
        </p:txBody>
      </p:sp>
      <p:sp>
        <p:nvSpPr>
          <p:cNvPr id="22" name="Text Box 47">
            <a:extLst>
              <a:ext uri="{FF2B5EF4-FFF2-40B4-BE49-F238E27FC236}">
                <a16:creationId xmlns:a16="http://schemas.microsoft.com/office/drawing/2014/main" id="{3FC9E744-17CC-3F43-C2C5-701B86816A7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746577" y="5898948"/>
            <a:ext cx="1134094" cy="31179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45720" rIns="45720"/>
          <a:lstStyle/>
          <a:p>
            <a:pPr eaLnBrk="0" hangingPunct="0">
              <a:spcBef>
                <a:spcPct val="0"/>
              </a:spcBef>
              <a:buClr>
                <a:schemeClr val="accent6"/>
              </a:buClr>
              <a:buFont typeface="Wingdings" pitchFamily="2" charset="2"/>
              <a:buChar char="u"/>
            </a:pP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C51934C-7BF8-9E49-840E-6262378C2BBC}"/>
              </a:ext>
            </a:extLst>
          </p:cNvPr>
          <p:cNvSpPr txBox="1"/>
          <p:nvPr/>
        </p:nvSpPr>
        <p:spPr>
          <a:xfrm>
            <a:off x="10945858" y="5894936"/>
            <a:ext cx="1241878" cy="30777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45720" rIns="45720"/>
          <a:lstStyle>
            <a:defPPr>
              <a:defRPr lang="zh-CN"/>
            </a:defPPr>
            <a:lvl1pPr eaLnBrk="0" hangingPunct="0">
              <a:spcBef>
                <a:spcPct val="0"/>
              </a:spcBef>
              <a:buClr>
                <a:schemeClr val="accent6"/>
              </a:buClr>
              <a:buFont typeface="Wingdings" pitchFamily="2" charset="2"/>
              <a:buChar char="u"/>
              <a:defRPr sz="1400"/>
            </a:lvl1pPr>
          </a:lstStyle>
          <a:p>
            <a:pPr>
              <a:buNone/>
            </a:pPr>
            <a:r>
              <a:rPr lang="en-US"/>
              <a:t>2023/08/31</a:t>
            </a:r>
          </a:p>
        </p:txBody>
      </p:sp>
      <p:sp>
        <p:nvSpPr>
          <p:cNvPr id="19" name="Text Box 46">
            <a:extLst>
              <a:ext uri="{FF2B5EF4-FFF2-40B4-BE49-F238E27FC236}">
                <a16:creationId xmlns:a16="http://schemas.microsoft.com/office/drawing/2014/main" id="{9A070E50-FBF2-94C4-4E61-B905FF9B8FA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263523" y="5872017"/>
            <a:ext cx="1132125" cy="31179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45720" rIns="45720"/>
          <a:lstStyle/>
          <a:p>
            <a:pPr eaLnBrk="0" hangingPunct="0">
              <a:spcBef>
                <a:spcPct val="0"/>
              </a:spcBef>
              <a:buClr>
                <a:schemeClr val="accent6"/>
              </a:buClr>
              <a:buFont typeface="Wingdings" pitchFamily="2" charset="2"/>
              <a:buChar char="u"/>
            </a:pPr>
            <a:r>
              <a:rPr lang="en-US" sz="1400">
                <a:solidFill>
                  <a:schemeClr val="tx1"/>
                </a:solidFill>
              </a:rPr>
              <a:t> 2023/06/30</a:t>
            </a:r>
          </a:p>
        </p:txBody>
      </p:sp>
    </p:spTree>
    <p:extLst>
      <p:ext uri="{BB962C8B-B14F-4D97-AF65-F5344CB8AC3E}">
        <p14:creationId xmlns:p14="http://schemas.microsoft.com/office/powerpoint/2010/main" val="36026001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56B8F4-874A-CFB5-B37C-9B912FD9E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rPr>
              <a:t>详细方案设计计划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381CB9-F1DA-585E-7A04-EEC152725F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19</a:t>
            </a:fld>
            <a:endParaRPr kumimoji="1" lang="zh-CN" altLang="en-US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15F9DB9-1EC7-07B1-448F-A83F22A41C9B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实施计划</a:t>
            </a:r>
          </a:p>
        </p:txBody>
      </p:sp>
      <p:sp>
        <p:nvSpPr>
          <p:cNvPr id="22" name="Text Box 47">
            <a:extLst>
              <a:ext uri="{FF2B5EF4-FFF2-40B4-BE49-F238E27FC236}">
                <a16:creationId xmlns:a16="http://schemas.microsoft.com/office/drawing/2014/main" id="{3FC9E744-17CC-3F43-C2C5-701B86816A7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746577" y="5898948"/>
            <a:ext cx="1134094" cy="31179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45720" rIns="45720"/>
          <a:lstStyle/>
          <a:p>
            <a:pPr eaLnBrk="0" hangingPunct="0">
              <a:spcBef>
                <a:spcPct val="0"/>
              </a:spcBef>
              <a:buClr>
                <a:schemeClr val="accent6"/>
              </a:buClr>
              <a:buFont typeface="Wingdings" pitchFamily="2" charset="2"/>
              <a:buChar char="u"/>
            </a:pP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graphicFrame>
        <p:nvGraphicFramePr>
          <p:cNvPr id="19" name="Table 19">
            <a:extLst>
              <a:ext uri="{FF2B5EF4-FFF2-40B4-BE49-F238E27FC236}">
                <a16:creationId xmlns:a16="http://schemas.microsoft.com/office/drawing/2014/main" id="{BD63767C-6470-D2B1-7894-AD4635C34B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4795540"/>
              </p:ext>
            </p:extLst>
          </p:nvPr>
        </p:nvGraphicFramePr>
        <p:xfrm>
          <a:off x="1158239" y="1451186"/>
          <a:ext cx="9847217" cy="342392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64918">
                  <a:extLst>
                    <a:ext uri="{9D8B030D-6E8A-4147-A177-3AD203B41FA5}">
                      <a16:colId xmlns:a16="http://schemas.microsoft.com/office/drawing/2014/main" val="1893888175"/>
                    </a:ext>
                  </a:extLst>
                </a:gridCol>
                <a:gridCol w="2517487">
                  <a:extLst>
                    <a:ext uri="{9D8B030D-6E8A-4147-A177-3AD203B41FA5}">
                      <a16:colId xmlns:a16="http://schemas.microsoft.com/office/drawing/2014/main" val="48489677"/>
                    </a:ext>
                  </a:extLst>
                </a:gridCol>
                <a:gridCol w="1641203">
                  <a:extLst>
                    <a:ext uri="{9D8B030D-6E8A-4147-A177-3AD203B41FA5}">
                      <a16:colId xmlns:a16="http://schemas.microsoft.com/office/drawing/2014/main" val="343934551"/>
                    </a:ext>
                  </a:extLst>
                </a:gridCol>
                <a:gridCol w="1641203">
                  <a:extLst>
                    <a:ext uri="{9D8B030D-6E8A-4147-A177-3AD203B41FA5}">
                      <a16:colId xmlns:a16="http://schemas.microsoft.com/office/drawing/2014/main" val="1060514463"/>
                    </a:ext>
                  </a:extLst>
                </a:gridCol>
                <a:gridCol w="1641203">
                  <a:extLst>
                    <a:ext uri="{9D8B030D-6E8A-4147-A177-3AD203B41FA5}">
                      <a16:colId xmlns:a16="http://schemas.microsoft.com/office/drawing/2014/main" val="1379189930"/>
                    </a:ext>
                  </a:extLst>
                </a:gridCol>
                <a:gridCol w="1641203">
                  <a:extLst>
                    <a:ext uri="{9D8B030D-6E8A-4147-A177-3AD203B41FA5}">
                      <a16:colId xmlns:a16="http://schemas.microsoft.com/office/drawing/2014/main" val="89732583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latin typeface="+mn-ea"/>
                          <a:ea typeface="+mn-ea"/>
                        </a:rPr>
                        <a:t>序号</a:t>
                      </a:r>
                      <a:endParaRPr lang="en-US" sz="14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latin typeface="+mn-ea"/>
                          <a:ea typeface="+mn-ea"/>
                        </a:rPr>
                        <a:t>工作项</a:t>
                      </a:r>
                      <a:endParaRPr lang="en-US" sz="14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latin typeface="+mn-ea"/>
                          <a:ea typeface="+mn-ea"/>
                        </a:rPr>
                        <a:t>负责人</a:t>
                      </a:r>
                      <a:endParaRPr lang="en-US" sz="14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latin typeface="+mn-ea"/>
                          <a:ea typeface="+mn-ea"/>
                        </a:rPr>
                        <a:t>计划开始时间</a:t>
                      </a:r>
                      <a:endParaRPr lang="en-US" sz="14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latin typeface="+mn-ea"/>
                          <a:ea typeface="+mn-ea"/>
                        </a:rPr>
                        <a:t>计划完成时间</a:t>
                      </a:r>
                      <a:endParaRPr lang="en-US" sz="14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latin typeface="+mn-ea"/>
                          <a:ea typeface="+mn-ea"/>
                        </a:rPr>
                        <a:t>备注</a:t>
                      </a:r>
                      <a:endParaRPr lang="en-US" sz="140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40062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>
                          <a:latin typeface="+mn-ea"/>
                          <a:ea typeface="+mn-ea"/>
                        </a:rPr>
                        <a:t>需求讨论</a:t>
                      </a:r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 marL="0" anchor="ctr"/>
                </a:tc>
                <a:tc>
                  <a:txBody>
                    <a:bodyPr/>
                    <a:lstStyle/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latin typeface="+mn-ea"/>
                          <a:ea typeface="+mn-ea"/>
                        </a:rPr>
                        <a:t>2023/3/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latin typeface="+mn-ea"/>
                          <a:ea typeface="+mn-ea"/>
                        </a:rPr>
                        <a:t>2023/3/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68321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+mn-ea"/>
                          <a:ea typeface="+mn-ea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>
                          <a:latin typeface="+mn-ea"/>
                          <a:ea typeface="+mn-ea"/>
                        </a:rPr>
                        <a:t>方案设计</a:t>
                      </a:r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 marL="0" anchor="ctr"/>
                </a:tc>
                <a:tc>
                  <a:txBody>
                    <a:bodyPr/>
                    <a:lstStyle/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+mn-ea"/>
                          <a:ea typeface="+mn-ea"/>
                        </a:rPr>
                        <a:t>2023/3/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+mn-ea"/>
                          <a:ea typeface="+mn-ea"/>
                        </a:rPr>
                        <a:t>2023/3/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41465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>
                          <a:latin typeface="+mn-ea"/>
                          <a:ea typeface="+mn-ea"/>
                        </a:rPr>
                        <a:t>外围系统改造方案</a:t>
                      </a:r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 marL="0" anchor="ctr"/>
                </a:tc>
                <a:tc>
                  <a:txBody>
                    <a:bodyPr/>
                    <a:lstStyle/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+mn-ea"/>
                          <a:ea typeface="+mn-ea"/>
                        </a:rPr>
                        <a:t>2023/4/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latin typeface="+mn-ea"/>
                          <a:ea typeface="+mn-ea"/>
                        </a:rPr>
                        <a:t>2023/4/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36526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+mn-ea"/>
                          <a:ea typeface="+mn-ea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>
                          <a:latin typeface="+mn-ea"/>
                          <a:ea typeface="+mn-ea"/>
                        </a:rPr>
                        <a:t>详细设计报告</a:t>
                      </a:r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 marL="0" anchor="ctr"/>
                </a:tc>
                <a:tc>
                  <a:txBody>
                    <a:bodyPr/>
                    <a:lstStyle/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+mn-ea"/>
                          <a:ea typeface="+mn-ea"/>
                        </a:rPr>
                        <a:t>2023/4/17</a:t>
                      </a:r>
                    </a:p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latin typeface="+mn-ea"/>
                          <a:ea typeface="+mn-ea"/>
                        </a:rPr>
                        <a:t>2023/4/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64395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+mn-ea"/>
                          <a:ea typeface="+mn-ea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+mn-ea"/>
                          <a:ea typeface="+mn-ea"/>
                        </a:rPr>
                        <a:t>SAP</a:t>
                      </a:r>
                      <a:r>
                        <a:rPr lang="zh-CN" altLang="en-US" sz="1200">
                          <a:latin typeface="+mn-ea"/>
                          <a:ea typeface="+mn-ea"/>
                        </a:rPr>
                        <a:t>功能说明书编写</a:t>
                      </a:r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 marL="0" anchor="ctr"/>
                </a:tc>
                <a:tc>
                  <a:txBody>
                    <a:bodyPr/>
                    <a:lstStyle/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+mn-ea"/>
                          <a:ea typeface="+mn-ea"/>
                        </a:rPr>
                        <a:t>2023/4/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+mn-ea"/>
                          <a:ea typeface="+mn-ea"/>
                        </a:rPr>
                        <a:t>2023/5/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48218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+mn-ea"/>
                          <a:ea typeface="+mn-ea"/>
                        </a:rPr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>
                          <a:latin typeface="+mn-ea"/>
                          <a:ea typeface="+mn-ea"/>
                        </a:rPr>
                        <a:t>外围系统功能设计说明书</a:t>
                      </a:r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 marL="0" anchor="ctr"/>
                </a:tc>
                <a:tc>
                  <a:txBody>
                    <a:bodyPr/>
                    <a:lstStyle/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+mn-ea"/>
                          <a:ea typeface="+mn-ea"/>
                        </a:rPr>
                        <a:t>2023/4/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+mn-ea"/>
                          <a:ea typeface="+mn-ea"/>
                        </a:rPr>
                        <a:t>2023/5/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5369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 marL="0" anchor="ctr"/>
                </a:tc>
                <a:tc>
                  <a:txBody>
                    <a:bodyPr/>
                    <a:lstStyle/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63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734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 marL="0" anchor="ctr"/>
                </a:tc>
                <a:tc>
                  <a:txBody>
                    <a:bodyPr/>
                    <a:lstStyle/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06407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2045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773D08-2167-46BF-BBC2-22559A1C2C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>
                <a:latin typeface="+mn-lt"/>
                <a:ea typeface="+mn-ea"/>
                <a:cs typeface="+mn-ea"/>
                <a:sym typeface="+mn-lt"/>
              </a:rPr>
              <a:t>业务单据关联解决方案</a:t>
            </a:r>
          </a:p>
        </p:txBody>
      </p: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FCEE71F5-9C0C-E914-4A05-52FC659206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78680" y="6478270"/>
            <a:ext cx="244348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FE292F-1EBE-6D4A-B339-A324D614A372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1946C946-4A5D-20C5-AEA8-E6EEC9F3A139}"/>
              </a:ext>
            </a:extLst>
          </p:cNvPr>
          <p:cNvGrpSpPr/>
          <p:nvPr/>
        </p:nvGrpSpPr>
        <p:grpSpPr>
          <a:xfrm>
            <a:off x="848043" y="1606132"/>
            <a:ext cx="1719967" cy="1504597"/>
            <a:chOff x="848043" y="1606132"/>
            <a:chExt cx="1719967" cy="1504597"/>
          </a:xfrm>
        </p:grpSpPr>
        <p:pic>
          <p:nvPicPr>
            <p:cNvPr id="59" name="图片 12" descr="形状, 正方形&#10;&#10;描述已自动生成">
              <a:extLst>
                <a:ext uri="{FF2B5EF4-FFF2-40B4-BE49-F238E27FC236}">
                  <a16:creationId xmlns:a16="http://schemas.microsoft.com/office/drawing/2014/main" id="{BCA630D3-2299-BE8D-04A9-1756343E091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48043" y="1606132"/>
              <a:ext cx="349820" cy="349820"/>
            </a:xfrm>
            <a:prstGeom prst="rect">
              <a:avLst/>
            </a:prstGeom>
          </p:spPr>
        </p:pic>
        <p:sp>
          <p:nvSpPr>
            <p:cNvPr id="38" name="主标题为方正兰亭 , 最大30pt">
              <a:extLst>
                <a:ext uri="{FF2B5EF4-FFF2-40B4-BE49-F238E27FC236}">
                  <a16:creationId xmlns:a16="http://schemas.microsoft.com/office/drawing/2014/main" id="{E0842126-D5F8-AC9D-4290-D452A675968F}"/>
                </a:ext>
              </a:extLst>
            </p:cNvPr>
            <p:cNvSpPr txBox="1"/>
            <p:nvPr/>
          </p:nvSpPr>
          <p:spPr>
            <a:xfrm>
              <a:off x="925971" y="1609200"/>
              <a:ext cx="193963" cy="343684"/>
            </a:xfrm>
            <a:prstGeom prst="rect">
              <a:avLst/>
            </a:prstGeom>
            <a:ln w="12700">
              <a:miter lim="400000"/>
            </a:ln>
          </p:spPr>
          <p:txBody>
            <a:bodyPr wrap="none" lIns="25400" tIns="25400" rIns="25400" bIns="25400" anchor="ctr">
              <a:spAutoFit/>
            </a:bodyPr>
            <a:lstStyle/>
            <a:p>
              <a:pPr marL="0" marR="0" lvl="0" indent="0" algn="ctr" defTabSz="205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000">
                  <a:solidFill>
                    <a:srgbClr val="5E5E5E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r>
                <a:rPr kumimoji="0" lang="en-US" altLang="zh-CN" sz="1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"/>
                  <a:cs typeface="+mn-ea"/>
                  <a:sym typeface="+mn-lt"/>
                </a:rPr>
                <a:t>1</a:t>
              </a: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/>
                <a:cs typeface="+mn-ea"/>
                <a:sym typeface="+mn-lt"/>
              </a:endParaRPr>
            </a:p>
          </p:txBody>
        </p:sp>
        <p:sp>
          <p:nvSpPr>
            <p:cNvPr id="39" name="矩形 18">
              <a:extLst>
                <a:ext uri="{FF2B5EF4-FFF2-40B4-BE49-F238E27FC236}">
                  <a16:creationId xmlns:a16="http://schemas.microsoft.com/office/drawing/2014/main" id="{DC8AA29F-5BDB-98D4-0234-6382E9415066}"/>
                </a:ext>
              </a:extLst>
            </p:cNvPr>
            <p:cNvSpPr/>
            <p:nvPr/>
          </p:nvSpPr>
          <p:spPr>
            <a:xfrm>
              <a:off x="1262845" y="1627154"/>
              <a:ext cx="1210588" cy="307777"/>
            </a:xfrm>
            <a:prstGeom prst="rect">
              <a:avLst/>
            </a:prstGeom>
          </p:spPr>
          <p:txBody>
            <a:bodyPr wrap="none" t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5F92"/>
                  </a:solidFill>
                  <a:effectLst/>
                  <a:uLnTx/>
                  <a:uFillTx/>
                  <a:latin typeface="Times New Roman"/>
                  <a:ea typeface="Microsoft YaHei"/>
                  <a:cs typeface="+mn-ea"/>
                  <a:sym typeface="+mn-lt"/>
                </a:rPr>
                <a:t>方案概述</a:t>
              </a:r>
            </a:p>
          </p:txBody>
        </p:sp>
        <p:sp>
          <p:nvSpPr>
            <p:cNvPr id="40" name="矩形 20">
              <a:extLst>
                <a:ext uri="{FF2B5EF4-FFF2-40B4-BE49-F238E27FC236}">
                  <a16:creationId xmlns:a16="http://schemas.microsoft.com/office/drawing/2014/main" id="{D0932047-60E2-31AA-BE0A-DF19DD90058A}"/>
                </a:ext>
              </a:extLst>
            </p:cNvPr>
            <p:cNvSpPr/>
            <p:nvPr/>
          </p:nvSpPr>
          <p:spPr>
            <a:xfrm>
              <a:off x="1262845" y="2087115"/>
              <a:ext cx="1305165" cy="102361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现状</a:t>
              </a:r>
              <a:r>
                <a:rPr lang="en-US" altLang="zh-CN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VS</a:t>
              </a: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价值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建议方案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问题总结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5CA5318-D55C-C18C-9FBE-50ED9BD04457}"/>
              </a:ext>
            </a:extLst>
          </p:cNvPr>
          <p:cNvGrpSpPr/>
          <p:nvPr/>
        </p:nvGrpSpPr>
        <p:grpSpPr>
          <a:xfrm>
            <a:off x="8489778" y="1606132"/>
            <a:ext cx="349820" cy="349820"/>
            <a:chOff x="7039343" y="824057"/>
            <a:chExt cx="274320" cy="274320"/>
          </a:xfrm>
        </p:grpSpPr>
        <p:pic>
          <p:nvPicPr>
            <p:cNvPr id="33" name="图片 12" descr="形状, 正方形&#10;&#10;描述已自动生成">
              <a:extLst>
                <a:ext uri="{FF2B5EF4-FFF2-40B4-BE49-F238E27FC236}">
                  <a16:creationId xmlns:a16="http://schemas.microsoft.com/office/drawing/2014/main" id="{889CC519-DF4F-3C8A-E52F-D92D46E7DC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39343" y="824057"/>
              <a:ext cx="274320" cy="274320"/>
            </a:xfrm>
            <a:prstGeom prst="rect">
              <a:avLst/>
            </a:prstGeom>
          </p:spPr>
        </p:pic>
        <p:sp>
          <p:nvSpPr>
            <p:cNvPr id="34" name="主标题为方正兰亭 , 最大30pt">
              <a:extLst>
                <a:ext uri="{FF2B5EF4-FFF2-40B4-BE49-F238E27FC236}">
                  <a16:creationId xmlns:a16="http://schemas.microsoft.com/office/drawing/2014/main" id="{A39451D4-7245-50BD-D11C-794CD0478D90}"/>
                </a:ext>
              </a:extLst>
            </p:cNvPr>
            <p:cNvSpPr txBox="1"/>
            <p:nvPr/>
          </p:nvSpPr>
          <p:spPr>
            <a:xfrm>
              <a:off x="7102217" y="826463"/>
              <a:ext cx="152101" cy="269508"/>
            </a:xfrm>
            <a:prstGeom prst="rect">
              <a:avLst/>
            </a:prstGeom>
            <a:ln w="12700">
              <a:miter lim="400000"/>
            </a:ln>
          </p:spPr>
          <p:txBody>
            <a:bodyPr wrap="none" lIns="25400" tIns="25400" rIns="25400" bIns="25400" anchor="ctr">
              <a:spAutoFit/>
            </a:bodyPr>
            <a:lstStyle/>
            <a:p>
              <a:pPr marL="0" marR="0" lvl="0" indent="0" algn="ctr" defTabSz="205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000">
                  <a:solidFill>
                    <a:srgbClr val="5E5E5E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r>
                <a:rPr kumimoji="0" lang="en-US" altLang="zh-CN" sz="1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"/>
                  <a:cs typeface="+mn-ea"/>
                  <a:sym typeface="+mn-lt"/>
                </a:rPr>
                <a:t>3</a:t>
              </a: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/>
                <a:cs typeface="+mn-ea"/>
                <a:sym typeface="+mn-lt"/>
              </a:endParaRPr>
            </a:p>
          </p:txBody>
        </p:sp>
      </p:grpSp>
      <p:sp>
        <p:nvSpPr>
          <p:cNvPr id="35" name="矩形 18">
            <a:extLst>
              <a:ext uri="{FF2B5EF4-FFF2-40B4-BE49-F238E27FC236}">
                <a16:creationId xmlns:a16="http://schemas.microsoft.com/office/drawing/2014/main" id="{B2C12CA0-AFF1-4C38-7D93-C6ABDF7AB157}"/>
              </a:ext>
            </a:extLst>
          </p:cNvPr>
          <p:cNvSpPr/>
          <p:nvPr/>
        </p:nvSpPr>
        <p:spPr>
          <a:xfrm>
            <a:off x="8903310" y="1627154"/>
            <a:ext cx="1920240" cy="307777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实施计划</a:t>
            </a:r>
            <a:endParaRPr kumimoji="0" lang="en-US" altLang="zh-CN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41" name="矩形 20">
            <a:extLst>
              <a:ext uri="{FF2B5EF4-FFF2-40B4-BE49-F238E27FC236}">
                <a16:creationId xmlns:a16="http://schemas.microsoft.com/office/drawing/2014/main" id="{0D1A4B05-934A-178A-1B5C-B6A453C115C3}"/>
              </a:ext>
            </a:extLst>
          </p:cNvPr>
          <p:cNvSpPr/>
          <p:nvPr/>
        </p:nvSpPr>
        <p:spPr>
          <a:xfrm>
            <a:off x="8903310" y="2058214"/>
            <a:ext cx="1942935" cy="70000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rPr>
              <a:t>方案实施计划</a:t>
            </a:r>
            <a:endParaRPr lang="en-US" altLang="zh-CN" sz="1400" b="1">
              <a:solidFill>
                <a:prstClr val="black"/>
              </a:solidFill>
              <a:latin typeface="Times New Roman"/>
              <a:ea typeface="Microsoft YaHei"/>
              <a:cs typeface="+mn-ea"/>
              <a:sym typeface="+mn-lt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系统切换方案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39C2473-0A52-57F8-23A2-2B3630931135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目录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70953EDD-733C-D7B7-291A-E88C9DFE8D44}"/>
              </a:ext>
            </a:extLst>
          </p:cNvPr>
          <p:cNvGrpSpPr/>
          <p:nvPr/>
        </p:nvGrpSpPr>
        <p:grpSpPr>
          <a:xfrm>
            <a:off x="4456308" y="1606132"/>
            <a:ext cx="4369109" cy="2477851"/>
            <a:chOff x="4434536" y="1606132"/>
            <a:chExt cx="4369109" cy="2477851"/>
          </a:xfrm>
        </p:grpSpPr>
        <p:grpSp>
          <p:nvGrpSpPr>
            <p:cNvPr id="12" name="Group 64">
              <a:extLst>
                <a:ext uri="{FF2B5EF4-FFF2-40B4-BE49-F238E27FC236}">
                  <a16:creationId xmlns:a16="http://schemas.microsoft.com/office/drawing/2014/main" id="{C1B81CF8-9734-1B53-8FD3-1A20C2A2EC11}"/>
                </a:ext>
              </a:extLst>
            </p:cNvPr>
            <p:cNvGrpSpPr/>
            <p:nvPr/>
          </p:nvGrpSpPr>
          <p:grpSpPr>
            <a:xfrm>
              <a:off x="4434536" y="1606132"/>
              <a:ext cx="458936" cy="349820"/>
              <a:chOff x="3389596" y="1694664"/>
              <a:chExt cx="274320" cy="274320"/>
            </a:xfrm>
          </p:grpSpPr>
          <p:pic>
            <p:nvPicPr>
              <p:cNvPr id="15" name="图片 12" descr="形状, 正方形&#10;&#10;描述已自动生成">
                <a:extLst>
                  <a:ext uri="{FF2B5EF4-FFF2-40B4-BE49-F238E27FC236}">
                    <a16:creationId xmlns:a16="http://schemas.microsoft.com/office/drawing/2014/main" id="{39568925-9402-0BC2-C3D1-492B07BB70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389596" y="1694664"/>
                <a:ext cx="274320" cy="274320"/>
              </a:xfrm>
              <a:prstGeom prst="rect">
                <a:avLst/>
              </a:prstGeom>
            </p:spPr>
          </p:pic>
          <p:sp>
            <p:nvSpPr>
              <p:cNvPr id="16" name="主标题为方正兰亭 , 最大30pt">
                <a:extLst>
                  <a:ext uri="{FF2B5EF4-FFF2-40B4-BE49-F238E27FC236}">
                    <a16:creationId xmlns:a16="http://schemas.microsoft.com/office/drawing/2014/main" id="{9BBCF107-CD29-08DC-E2E7-4CC44B3EE1B2}"/>
                  </a:ext>
                </a:extLst>
              </p:cNvPr>
              <p:cNvSpPr txBox="1"/>
              <p:nvPr/>
            </p:nvSpPr>
            <p:spPr>
              <a:xfrm>
                <a:off x="3450705" y="1697070"/>
                <a:ext cx="152101" cy="269508"/>
              </a:xfrm>
              <a:prstGeom prst="rect">
                <a:avLst/>
              </a:prstGeom>
              <a:ln w="12700">
                <a:miter lim="400000"/>
              </a:ln>
            </p:spPr>
            <p:txBody>
              <a:bodyPr wrap="none" lIns="25400" tIns="25400" rIns="25400" bIns="25400" anchor="ctr">
                <a:spAutoFit/>
              </a:bodyPr>
              <a:lstStyle/>
              <a:p>
                <a:pPr marL="0" marR="0" lvl="0" indent="0" algn="ctr" defTabSz="2057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6000">
                    <a:solidFill>
                      <a:srgbClr val="5E5E5E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r>
                  <a:rPr kumimoji="0" lang="en-US" altLang="zh-CN" sz="19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elvetica"/>
                    <a:cs typeface="+mn-ea"/>
                    <a:sym typeface="+mn-lt"/>
                  </a:rPr>
                  <a:t>2</a:t>
                </a:r>
                <a:endParaRPr kumimoji="0" lang="en-US" sz="1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"/>
                  <a:cs typeface="+mn-ea"/>
                  <a:sym typeface="+mn-lt"/>
                </a:endParaRPr>
              </a:p>
            </p:txBody>
          </p:sp>
        </p:grpSp>
        <p:sp>
          <p:nvSpPr>
            <p:cNvPr id="13" name="矩形 18">
              <a:extLst>
                <a:ext uri="{FF2B5EF4-FFF2-40B4-BE49-F238E27FC236}">
                  <a16:creationId xmlns:a16="http://schemas.microsoft.com/office/drawing/2014/main" id="{D3156E00-AA76-552F-EAED-122CDEE412CE}"/>
                </a:ext>
              </a:extLst>
            </p:cNvPr>
            <p:cNvSpPr/>
            <p:nvPr/>
          </p:nvSpPr>
          <p:spPr>
            <a:xfrm>
              <a:off x="4977060" y="1627154"/>
              <a:ext cx="1723548" cy="307777"/>
            </a:xfrm>
            <a:prstGeom prst="rect">
              <a:avLst/>
            </a:prstGeom>
          </p:spPr>
          <p:txBody>
            <a:bodyPr wrap="none" t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Times New Roman"/>
                  <a:ea typeface="Microsoft YaHei"/>
                  <a:cs typeface="+mn-ea"/>
                  <a:sym typeface="+mn-lt"/>
                </a:rPr>
                <a:t>近期方案详解</a:t>
              </a:r>
            </a:p>
          </p:txBody>
        </p:sp>
        <p:sp>
          <p:nvSpPr>
            <p:cNvPr id="14" name="矩形 20">
              <a:extLst>
                <a:ext uri="{FF2B5EF4-FFF2-40B4-BE49-F238E27FC236}">
                  <a16:creationId xmlns:a16="http://schemas.microsoft.com/office/drawing/2014/main" id="{1A3C04E2-8FDF-4D9B-F77B-93CE7A714813}"/>
                </a:ext>
              </a:extLst>
            </p:cNvPr>
            <p:cNvSpPr/>
            <p:nvPr/>
          </p:nvSpPr>
          <p:spPr>
            <a:xfrm>
              <a:off x="4937705" y="2090873"/>
              <a:ext cx="3865940" cy="1993110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近期方案说明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742950" lvl="1" indent="-285750">
                <a:lnSpc>
                  <a:spcPct val="150000"/>
                </a:lnSpc>
                <a:buFont typeface="Courier New" panose="02070309020205020404" pitchFamily="49" charset="0"/>
                <a:buChar char="o"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方案详解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altLang="zh-CN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SAP ERP</a:t>
              </a: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改造需求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742950" lvl="1" indent="-285750">
                <a:lnSpc>
                  <a:spcPct val="150000"/>
                </a:lnSpc>
                <a:buFont typeface="Courier New" panose="02070309020205020404" pitchFamily="49" charset="0"/>
                <a:buChar char="o"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配置清单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742950" lvl="1" indent="-285750">
                <a:lnSpc>
                  <a:spcPct val="150000"/>
                </a:lnSpc>
                <a:buFont typeface="Courier New" panose="02070309020205020404" pitchFamily="49" charset="0"/>
                <a:buChar char="o"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开发清单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外围系统改造需求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7013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56B8F4-874A-CFB5-B37C-9B912FD9E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rPr>
              <a:t>系统切换方案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381CB9-F1DA-585E-7A04-EEC152725F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20</a:t>
            </a:fld>
            <a:endParaRPr kumimoji="1" lang="zh-CN" altLang="en-US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15F9DB9-1EC7-07B1-448F-A83F22A41C9B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实施计划</a:t>
            </a:r>
          </a:p>
        </p:txBody>
      </p:sp>
      <p:graphicFrame>
        <p:nvGraphicFramePr>
          <p:cNvPr id="5" name="表格 5">
            <a:extLst>
              <a:ext uri="{FF2B5EF4-FFF2-40B4-BE49-F238E27FC236}">
                <a16:creationId xmlns:a16="http://schemas.microsoft.com/office/drawing/2014/main" id="{FBF633E6-F862-5356-F815-4E02409EE8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5785648"/>
              </p:ext>
            </p:extLst>
          </p:nvPr>
        </p:nvGraphicFramePr>
        <p:xfrm>
          <a:off x="529389" y="1194745"/>
          <a:ext cx="11034447" cy="3034991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49605">
                  <a:extLst>
                    <a:ext uri="{9D8B030D-6E8A-4147-A177-3AD203B41FA5}">
                      <a16:colId xmlns:a16="http://schemas.microsoft.com/office/drawing/2014/main" val="1206909539"/>
                    </a:ext>
                  </a:extLst>
                </a:gridCol>
                <a:gridCol w="3200501">
                  <a:extLst>
                    <a:ext uri="{9D8B030D-6E8A-4147-A177-3AD203B41FA5}">
                      <a16:colId xmlns:a16="http://schemas.microsoft.com/office/drawing/2014/main" val="2641497538"/>
                    </a:ext>
                  </a:extLst>
                </a:gridCol>
                <a:gridCol w="1029903">
                  <a:extLst>
                    <a:ext uri="{9D8B030D-6E8A-4147-A177-3AD203B41FA5}">
                      <a16:colId xmlns:a16="http://schemas.microsoft.com/office/drawing/2014/main" val="3762829262"/>
                    </a:ext>
                  </a:extLst>
                </a:gridCol>
                <a:gridCol w="1068404">
                  <a:extLst>
                    <a:ext uri="{9D8B030D-6E8A-4147-A177-3AD203B41FA5}">
                      <a16:colId xmlns:a16="http://schemas.microsoft.com/office/drawing/2014/main" val="2889884876"/>
                    </a:ext>
                  </a:extLst>
                </a:gridCol>
                <a:gridCol w="1020278">
                  <a:extLst>
                    <a:ext uri="{9D8B030D-6E8A-4147-A177-3AD203B41FA5}">
                      <a16:colId xmlns:a16="http://schemas.microsoft.com/office/drawing/2014/main" val="4272172363"/>
                    </a:ext>
                  </a:extLst>
                </a:gridCol>
                <a:gridCol w="2245360">
                  <a:extLst>
                    <a:ext uri="{9D8B030D-6E8A-4147-A177-3AD203B41FA5}">
                      <a16:colId xmlns:a16="http://schemas.microsoft.com/office/drawing/2014/main" val="1101999738"/>
                    </a:ext>
                  </a:extLst>
                </a:gridCol>
                <a:gridCol w="782320">
                  <a:extLst>
                    <a:ext uri="{9D8B030D-6E8A-4147-A177-3AD203B41FA5}">
                      <a16:colId xmlns:a16="http://schemas.microsoft.com/office/drawing/2014/main" val="1837531730"/>
                    </a:ext>
                  </a:extLst>
                </a:gridCol>
                <a:gridCol w="1038076">
                  <a:extLst>
                    <a:ext uri="{9D8B030D-6E8A-4147-A177-3AD203B41FA5}">
                      <a16:colId xmlns:a16="http://schemas.microsoft.com/office/drawing/2014/main" val="668545540"/>
                    </a:ext>
                  </a:extLst>
                </a:gridCol>
              </a:tblGrid>
              <a:tr h="64914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>
                          <a:latin typeface="+mn-ea"/>
                          <a:ea typeface="+mn-ea"/>
                        </a:rPr>
                        <a:t>序号</a:t>
                      </a:r>
                      <a:endParaRPr lang="en-US" sz="160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>
                          <a:latin typeface="+mn-ea"/>
                          <a:ea typeface="+mn-ea"/>
                        </a:rPr>
                        <a:t>工作事项</a:t>
                      </a:r>
                      <a:endParaRPr lang="en-US" sz="160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>
                          <a:latin typeface="+mn-ea"/>
                          <a:ea typeface="+mn-ea"/>
                        </a:rPr>
                        <a:t>负责人</a:t>
                      </a:r>
                      <a:endParaRPr lang="en-US" sz="160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>
                          <a:latin typeface="+mn-ea"/>
                          <a:ea typeface="+mn-ea"/>
                        </a:rPr>
                        <a:t>计划开始时间</a:t>
                      </a:r>
                      <a:endParaRPr lang="en-US" sz="160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>
                          <a:latin typeface="+mn-ea"/>
                          <a:ea typeface="+mn-ea"/>
                        </a:rPr>
                        <a:t>计划完成时间</a:t>
                      </a:r>
                      <a:endParaRPr lang="en-US" sz="160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>
                          <a:latin typeface="+mn-ea"/>
                          <a:ea typeface="+mn-ea"/>
                        </a:rPr>
                        <a:t>涉及范围</a:t>
                      </a:r>
                      <a:endParaRPr lang="en-US" sz="160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>
                          <a:latin typeface="+mn-ea"/>
                          <a:ea typeface="+mn-ea"/>
                        </a:rPr>
                        <a:t>切换方式</a:t>
                      </a:r>
                      <a:endParaRPr lang="en-US" sz="160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kern="1200">
                          <a:solidFill>
                            <a:schemeClr val="lt1"/>
                          </a:solidFill>
                          <a:latin typeface="+mn-ea"/>
                          <a:ea typeface="+mn-ea"/>
                          <a:cs typeface="+mn-cs"/>
                        </a:rPr>
                        <a:t>备注</a:t>
                      </a:r>
                      <a:endParaRPr lang="en-US" altLang="zh-CN" sz="1600" b="1" kern="1200">
                        <a:solidFill>
                          <a:schemeClr val="lt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35022552"/>
                  </a:ext>
                </a:extLst>
              </a:tr>
              <a:tr h="41568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/>
                        <a:t>1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SAP</a:t>
                      </a:r>
                      <a:r>
                        <a:rPr lang="zh-CN" altLang="en-US" sz="1400"/>
                        <a:t>、</a:t>
                      </a:r>
                      <a:r>
                        <a:rPr lang="en-US" altLang="zh-CN" sz="1400"/>
                        <a:t>MPM</a:t>
                      </a:r>
                      <a:r>
                        <a:rPr lang="zh-CN" altLang="en-US" sz="1400"/>
                        <a:t>、</a:t>
                      </a:r>
                      <a:r>
                        <a:rPr lang="en-US" altLang="zh-CN" sz="1400"/>
                        <a:t>FSSC</a:t>
                      </a:r>
                      <a:r>
                        <a:rPr lang="zh-CN" altLang="en-US" sz="1400"/>
                        <a:t>均将推广费相关开发功能传输至</a:t>
                      </a:r>
                      <a:r>
                        <a:rPr lang="en-US" altLang="zh-CN" sz="1400"/>
                        <a:t>PRD</a:t>
                      </a:r>
                      <a:r>
                        <a:rPr lang="zh-CN" altLang="en-US" sz="1400"/>
                        <a:t>环境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2023.8.7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/>
                        <a:t>2023.8.10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ALL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TR</a:t>
                      </a:r>
                      <a:r>
                        <a:rPr lang="zh-CN" altLang="en-US" sz="1400"/>
                        <a:t>传输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268258"/>
                  </a:ext>
                </a:extLst>
              </a:tr>
              <a:tr h="41568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/>
                        <a:t>2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/>
                        <a:t>SAP</a:t>
                      </a:r>
                      <a:r>
                        <a:rPr lang="zh-CN" altLang="en-US" sz="1400"/>
                        <a:t>系统接入</a:t>
                      </a:r>
                      <a:r>
                        <a:rPr lang="en-US" altLang="zh-CN" sz="1400"/>
                        <a:t>MPM</a:t>
                      </a:r>
                      <a:r>
                        <a:rPr lang="zh-CN" altLang="en-US" sz="1400"/>
                        <a:t>系统满足条件的推广项目</a:t>
                      </a:r>
                      <a:endParaRPr lang="en-US" altLang="zh-CN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2023.8.10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/>
                        <a:t>2023.8.10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ALL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5101150"/>
                  </a:ext>
                </a:extLst>
              </a:tr>
              <a:tr h="41568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/>
                        <a:t>3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00"/>
                        <a:t>线下梳理各推广项目预算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/>
                        <a:t>2023.8.18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/>
                        <a:t>2023.8.23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ALL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00"/>
                        <a:t>线下预算表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2500043"/>
                  </a:ext>
                </a:extLst>
              </a:tr>
              <a:tr h="41568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/>
                        <a:t>4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SAP</a:t>
                      </a:r>
                      <a:r>
                        <a:rPr lang="zh-CN" altLang="en-US" sz="1400"/>
                        <a:t>系统将推广项目推送到</a:t>
                      </a:r>
                      <a:r>
                        <a:rPr lang="en-US" altLang="zh-CN" sz="1400"/>
                        <a:t>FSSC</a:t>
                      </a:r>
                      <a:r>
                        <a:rPr lang="zh-CN" altLang="en-US" sz="1400"/>
                        <a:t>系统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/>
                        <a:t>2023.8.23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/>
                        <a:t>2023.8.23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/>
                        <a:t>ALL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5878249"/>
                  </a:ext>
                </a:extLst>
              </a:tr>
              <a:tr h="41568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/>
                        <a:t>5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FSSC</a:t>
                      </a:r>
                      <a:r>
                        <a:rPr lang="zh-CN" altLang="en-US" sz="1400"/>
                        <a:t>系统调整各推广项目预算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/>
                        <a:t>2023.8.24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/>
                        <a:t>2023.8.25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ALL</a:t>
                      </a:r>
                      <a:endParaRPr lang="zh-CN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/>
                        <a:t>导入表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14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11696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0ADC07-D0A3-37B3-9F30-DBE8C513654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604000"/>
            <a:ext cx="527050" cy="247650"/>
          </a:xfrm>
        </p:spPr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2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171956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490A35-1DC8-9744-73AA-9460F2D0B0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cap="all">
                <a:latin typeface="+mn-lt"/>
                <a:ea typeface="+mn-ea"/>
                <a:cs typeface="+mn-ea"/>
                <a:sym typeface="+mn-lt"/>
              </a:rPr>
              <a:t>系统改造需求 </a:t>
            </a:r>
            <a:r>
              <a:rPr lang="en-US" altLang="zh-CN" cap="all">
                <a:latin typeface="+mn-lt"/>
                <a:ea typeface="+mn-ea"/>
                <a:cs typeface="+mn-ea"/>
                <a:sym typeface="+mn-lt"/>
              </a:rPr>
              <a:t>- </a:t>
            </a:r>
            <a:r>
              <a:rPr lang="zh-CN" altLang="en-US" cap="all">
                <a:latin typeface="+mn-lt"/>
                <a:ea typeface="+mn-ea"/>
                <a:cs typeface="+mn-ea"/>
                <a:sym typeface="+mn-lt"/>
              </a:rPr>
              <a:t>③ </a:t>
            </a:r>
            <a:r>
              <a:rPr lang="en-US" altLang="zh-CN" cap="all">
                <a:latin typeface="+mn-lt"/>
                <a:ea typeface="+mn-ea"/>
                <a:cs typeface="+mn-ea"/>
                <a:sym typeface="+mn-lt"/>
              </a:rPr>
              <a:t>FSSC</a:t>
            </a:r>
            <a:r>
              <a:rPr lang="zh-CN" altLang="en-US" cap="all">
                <a:latin typeface="+mn-lt"/>
                <a:ea typeface="+mn-ea"/>
                <a:cs typeface="+mn-ea"/>
                <a:sym typeface="+mn-lt"/>
              </a:rPr>
              <a:t>项目预算拆解和调整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9B47D8-49DD-B734-36FD-807A7EDF96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22</a:t>
            </a:fld>
            <a:endParaRPr kumimoji="1" lang="zh-CN" altLang="en-US"/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6805438A-39FD-E742-4214-D39DC16A347A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lang="en-US" altLang="zh-CN" b="1">
                <a:solidFill>
                  <a:prstClr val="white"/>
                </a:solidFill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pic>
        <p:nvPicPr>
          <p:cNvPr id="4" name="图片 4">
            <a:extLst>
              <a:ext uri="{FF2B5EF4-FFF2-40B4-BE49-F238E27FC236}">
                <a16:creationId xmlns:a16="http://schemas.microsoft.com/office/drawing/2014/main" id="{B0D0FEC2-7CBD-4D56-B9A1-65430E61B2E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79"/>
          <a:stretch/>
        </p:blipFill>
        <p:spPr>
          <a:xfrm>
            <a:off x="1050489" y="1632344"/>
            <a:ext cx="10201027" cy="4847600"/>
          </a:xfrm>
          <a:prstGeom prst="rect">
            <a:avLst/>
          </a:prstGeom>
        </p:spPr>
      </p:pic>
      <p:sp>
        <p:nvSpPr>
          <p:cNvPr id="5" name="TextBox 12">
            <a:extLst>
              <a:ext uri="{FF2B5EF4-FFF2-40B4-BE49-F238E27FC236}">
                <a16:creationId xmlns:a16="http://schemas.microsoft.com/office/drawing/2014/main" id="{24CF1438-BD00-0DC0-5825-D8E137AC727B}"/>
              </a:ext>
            </a:extLst>
          </p:cNvPr>
          <p:cNvSpPr txBox="1"/>
          <p:nvPr/>
        </p:nvSpPr>
        <p:spPr>
          <a:xfrm>
            <a:off x="966713" y="911404"/>
            <a:ext cx="10368580" cy="596885"/>
          </a:xfrm>
          <a:prstGeom prst="rect">
            <a:avLst/>
          </a:prstGeom>
          <a:solidFill>
            <a:srgbClr val="DEEBF7"/>
          </a:solidFill>
        </p:spPr>
        <p:txBody>
          <a:bodyPr wrap="square" rtlCol="0" anchor="ctr" anchorCtr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solidFill>
                  <a:prstClr val="black"/>
                </a:solidFill>
                <a:latin typeface="Microsoft YaHei"/>
                <a:ea typeface="Microsoft YaHei"/>
              </a:rPr>
              <a:t>在</a:t>
            </a:r>
            <a:r>
              <a:rPr lang="en-US" altLang="zh-CN" sz="1200" b="1">
                <a:solidFill>
                  <a:prstClr val="black"/>
                </a:solidFill>
                <a:latin typeface="Microsoft YaHei"/>
                <a:ea typeface="Microsoft YaHei"/>
              </a:rPr>
              <a:t>FSSC</a:t>
            </a:r>
            <a:r>
              <a:rPr lang="zh-CN" altLang="en-US" sz="1200" b="1">
                <a:solidFill>
                  <a:prstClr val="black"/>
                </a:solidFill>
                <a:latin typeface="Microsoft YaHei"/>
                <a:ea typeface="Microsoft YaHei"/>
              </a:rPr>
              <a:t>中拆解推广费预算时，针对采用</a:t>
            </a:r>
            <a:r>
              <a:rPr lang="en-US" altLang="zh-CN" sz="1200" b="1">
                <a:solidFill>
                  <a:prstClr val="black"/>
                </a:solidFill>
                <a:latin typeface="Microsoft YaHei"/>
                <a:ea typeface="Microsoft YaHei"/>
              </a:rPr>
              <a:t>MPM</a:t>
            </a:r>
            <a:r>
              <a:rPr lang="zh-CN" altLang="en-US" sz="1200" b="1">
                <a:solidFill>
                  <a:prstClr val="black"/>
                </a:solidFill>
                <a:latin typeface="Microsoft YaHei"/>
                <a:ea typeface="Microsoft YaHei"/>
              </a:rPr>
              <a:t>管理的推广项目，需使用预算调整单将预算拆分到</a:t>
            </a:r>
            <a:r>
              <a:rPr lang="en-US" altLang="zh-CN" sz="1200" b="1">
                <a:solidFill>
                  <a:prstClr val="black"/>
                </a:solidFill>
                <a:latin typeface="Microsoft YaHei"/>
                <a:ea typeface="Microsoft YaHei"/>
              </a:rPr>
              <a:t>MPM</a:t>
            </a:r>
            <a:r>
              <a:rPr lang="zh-CN" altLang="en-US" sz="1200" b="1">
                <a:solidFill>
                  <a:prstClr val="black"/>
                </a:solidFill>
                <a:latin typeface="Microsoft YaHei"/>
                <a:ea typeface="Microsoft YaHei"/>
              </a:rPr>
              <a:t>系统管理的推广费项目中，针对未采用</a:t>
            </a:r>
            <a:r>
              <a:rPr lang="en-US" altLang="zh-CN" sz="1200" b="1">
                <a:solidFill>
                  <a:prstClr val="black"/>
                </a:solidFill>
                <a:latin typeface="Microsoft YaHei"/>
                <a:ea typeface="Microsoft YaHei"/>
              </a:rPr>
              <a:t>MPM</a:t>
            </a:r>
            <a:r>
              <a:rPr lang="zh-CN" altLang="en-US" sz="1200" b="1">
                <a:solidFill>
                  <a:prstClr val="black"/>
                </a:solidFill>
                <a:latin typeface="Microsoft YaHei"/>
                <a:ea typeface="Microsoft YaHei"/>
              </a:rPr>
              <a:t>管理的那部分业务，仍保持现有模式。</a:t>
            </a:r>
            <a:endParaRPr lang="en-US" altLang="zh-CN" sz="1200" b="1">
              <a:solidFill>
                <a:srgbClr val="FF0000"/>
              </a:solidFill>
              <a:latin typeface="Microsoft YaHei"/>
              <a:ea typeface="Microsoft YaHei"/>
            </a:endParaRPr>
          </a:p>
        </p:txBody>
      </p:sp>
    </p:spTree>
    <p:extLst>
      <p:ext uri="{BB962C8B-B14F-4D97-AF65-F5344CB8AC3E}">
        <p14:creationId xmlns:p14="http://schemas.microsoft.com/office/powerpoint/2010/main" val="4351030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534CB2-97F9-E782-DDF1-91C91BAA2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03430" y="6424571"/>
            <a:ext cx="585140" cy="232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FE292F-1EBE-6D4A-B339-A324D614A372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D5EE364C-4150-3381-5919-6CA7CF55B1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9926956" cy="706293"/>
          </a:xfrm>
        </p:spPr>
        <p:txBody>
          <a:bodyPr/>
          <a:lstStyle/>
          <a:p>
            <a:r>
              <a:rPr lang="zh-CN" altLang="en-US"/>
              <a:t>推广费 </a:t>
            </a:r>
            <a:r>
              <a:rPr lang="en-US" altLang="zh-CN"/>
              <a:t>–</a:t>
            </a:r>
            <a:r>
              <a:rPr lang="zh-CN" altLang="en-US"/>
              <a:t>短期核算方案：全球市场中心统管的推广费，按项目核算</a:t>
            </a: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AF0E56B4-330B-A3C5-3924-1B7DB40581B6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D5EE9F8A-B8D8-8187-A9EC-976CAE12BE6A}"/>
              </a:ext>
            </a:extLst>
          </p:cNvPr>
          <p:cNvSpPr/>
          <p:nvPr/>
        </p:nvSpPr>
        <p:spPr>
          <a:xfrm>
            <a:off x="974778" y="1195857"/>
            <a:ext cx="1280160" cy="3553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推广费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38" name="Rectangle 4">
            <a:extLst>
              <a:ext uri="{FF2B5EF4-FFF2-40B4-BE49-F238E27FC236}">
                <a16:creationId xmlns:a16="http://schemas.microsoft.com/office/drawing/2014/main" id="{9656151D-4658-E608-7F08-7DD43A709AC9}"/>
              </a:ext>
            </a:extLst>
          </p:cNvPr>
          <p:cNvSpPr/>
          <p:nvPr/>
        </p:nvSpPr>
        <p:spPr>
          <a:xfrm>
            <a:off x="2745219" y="1307908"/>
            <a:ext cx="864847" cy="35531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BG</a:t>
            </a:r>
          </a:p>
        </p:txBody>
      </p:sp>
      <p:sp>
        <p:nvSpPr>
          <p:cNvPr id="39" name="Rectangle 4">
            <a:extLst>
              <a:ext uri="{FF2B5EF4-FFF2-40B4-BE49-F238E27FC236}">
                <a16:creationId xmlns:a16="http://schemas.microsoft.com/office/drawing/2014/main" id="{3CDD9857-FEC9-F924-8FBB-CAC82F058692}"/>
              </a:ext>
            </a:extLst>
          </p:cNvPr>
          <p:cNvSpPr/>
          <p:nvPr/>
        </p:nvSpPr>
        <p:spPr>
          <a:xfrm>
            <a:off x="3881119" y="1318740"/>
            <a:ext cx="864847" cy="35531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BU</a:t>
            </a:r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24D99400-FF18-B597-5E0E-FD3651CAE8F1}"/>
              </a:ext>
            </a:extLst>
          </p:cNvPr>
          <p:cNvSpPr/>
          <p:nvPr/>
        </p:nvSpPr>
        <p:spPr>
          <a:xfrm>
            <a:off x="5134159" y="1307908"/>
            <a:ext cx="864847" cy="35531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BG</a:t>
            </a:r>
          </a:p>
        </p:txBody>
      </p:sp>
      <p:sp>
        <p:nvSpPr>
          <p:cNvPr id="42" name="Rectangle 4">
            <a:extLst>
              <a:ext uri="{FF2B5EF4-FFF2-40B4-BE49-F238E27FC236}">
                <a16:creationId xmlns:a16="http://schemas.microsoft.com/office/drawing/2014/main" id="{E1DC3580-8C88-CDDF-F931-D041AEF6446F}"/>
              </a:ext>
            </a:extLst>
          </p:cNvPr>
          <p:cNvSpPr/>
          <p:nvPr/>
        </p:nvSpPr>
        <p:spPr>
          <a:xfrm>
            <a:off x="6259334" y="1318739"/>
            <a:ext cx="864847" cy="35531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NABG</a:t>
            </a:r>
          </a:p>
        </p:txBody>
      </p:sp>
      <p:grpSp>
        <p:nvGrpSpPr>
          <p:cNvPr id="107" name="组合 106">
            <a:extLst>
              <a:ext uri="{FF2B5EF4-FFF2-40B4-BE49-F238E27FC236}">
                <a16:creationId xmlns:a16="http://schemas.microsoft.com/office/drawing/2014/main" id="{BA474D5E-1310-3975-218E-633B02CFEFD4}"/>
              </a:ext>
            </a:extLst>
          </p:cNvPr>
          <p:cNvGrpSpPr/>
          <p:nvPr/>
        </p:nvGrpSpPr>
        <p:grpSpPr>
          <a:xfrm>
            <a:off x="7722222" y="3933026"/>
            <a:ext cx="3518162" cy="2162891"/>
            <a:chOff x="7744667" y="3357743"/>
            <a:chExt cx="3518162" cy="2162891"/>
          </a:xfrm>
        </p:grpSpPr>
        <p:sp>
          <p:nvSpPr>
            <p:cNvPr id="95" name="矩形 94">
              <a:extLst>
                <a:ext uri="{FF2B5EF4-FFF2-40B4-BE49-F238E27FC236}">
                  <a16:creationId xmlns:a16="http://schemas.microsoft.com/office/drawing/2014/main" id="{34F01614-2150-7E32-28E0-968E84AF1DAC}"/>
                </a:ext>
              </a:extLst>
            </p:cNvPr>
            <p:cNvSpPr/>
            <p:nvPr/>
          </p:nvSpPr>
          <p:spPr>
            <a:xfrm>
              <a:off x="7882891" y="3433206"/>
              <a:ext cx="3379938" cy="2087428"/>
            </a:xfrm>
            <a:prstGeom prst="rect">
              <a:avLst/>
            </a:prstGeom>
            <a:pattFill prst="ltUpDiag">
              <a:fgClr>
                <a:schemeClr val="accent6">
                  <a:lumMod val="20000"/>
                  <a:lumOff val="8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非全球市场中心统管的推广费：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目前暂无按项目维度核算、分析的诉求，</a:t>
              </a: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建议核算层面保持现状</a:t>
              </a:r>
              <a:r>
                <a:rPr kumimoji="0" lang="zh-CN" altLang="en-US" sz="140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，</a:t>
              </a: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后续待纳入全球市场中心统管后，即可按照项目制方式进行管理、核算、分析</a:t>
              </a:r>
              <a:endParaRPr kumimoji="0" lang="zh-CN" altLang="en-US" sz="12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96" name="椭圆 95">
              <a:extLst>
                <a:ext uri="{FF2B5EF4-FFF2-40B4-BE49-F238E27FC236}">
                  <a16:creationId xmlns:a16="http://schemas.microsoft.com/office/drawing/2014/main" id="{3D98A2DA-CC59-0B07-92AD-715ADEAD39DF}"/>
                </a:ext>
              </a:extLst>
            </p:cNvPr>
            <p:cNvSpPr/>
            <p:nvPr/>
          </p:nvSpPr>
          <p:spPr>
            <a:xfrm>
              <a:off x="7744667" y="3357743"/>
              <a:ext cx="252000" cy="252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2</a:t>
              </a:r>
              <a:endPara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</p:grpSp>
      <p:grpSp>
        <p:nvGrpSpPr>
          <p:cNvPr id="106" name="组合 105">
            <a:extLst>
              <a:ext uri="{FF2B5EF4-FFF2-40B4-BE49-F238E27FC236}">
                <a16:creationId xmlns:a16="http://schemas.microsoft.com/office/drawing/2014/main" id="{151D8B97-8354-16EF-E759-F06BA9756263}"/>
              </a:ext>
            </a:extLst>
          </p:cNvPr>
          <p:cNvGrpSpPr/>
          <p:nvPr/>
        </p:nvGrpSpPr>
        <p:grpSpPr>
          <a:xfrm>
            <a:off x="7722222" y="1825954"/>
            <a:ext cx="3666636" cy="1747525"/>
            <a:chOff x="7773622" y="1275975"/>
            <a:chExt cx="3666636" cy="1747525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CDCCF724-E1E4-3C6E-9D42-048C4F196354}"/>
                </a:ext>
              </a:extLst>
            </p:cNvPr>
            <p:cNvSpPr/>
            <p:nvPr/>
          </p:nvSpPr>
          <p:spPr>
            <a:xfrm>
              <a:off x="7911845" y="1351440"/>
              <a:ext cx="3528413" cy="1672060"/>
            </a:xfrm>
            <a:prstGeom prst="rect">
              <a:avLst/>
            </a:prstGeom>
            <a:pattFill prst="ltUpDiag">
              <a:fgClr>
                <a:schemeClr val="accent6">
                  <a:lumMod val="20000"/>
                  <a:lumOff val="8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全球市场中心统管的推广费：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核算时增加“辅助核算项目”维度，一次核算到项目、产品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以</a:t>
              </a:r>
              <a:r>
                <a:rPr kumimoji="0" lang="en-US" altLang="zh-CN" sz="120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MPM</a:t>
              </a:r>
              <a:r>
                <a:rPr kumimoji="0" lang="zh-CN" altLang="en-US" sz="120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系统立项时创建的项目信息作为信息来源</a:t>
              </a:r>
              <a:endParaRPr kumimoji="0" lang="en-US" altLang="zh-CN" sz="140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101" name="椭圆 100">
              <a:extLst>
                <a:ext uri="{FF2B5EF4-FFF2-40B4-BE49-F238E27FC236}">
                  <a16:creationId xmlns:a16="http://schemas.microsoft.com/office/drawing/2014/main" id="{99E840B3-E249-8C58-46C1-BAD0D4E210D1}"/>
                </a:ext>
              </a:extLst>
            </p:cNvPr>
            <p:cNvSpPr/>
            <p:nvPr/>
          </p:nvSpPr>
          <p:spPr>
            <a:xfrm>
              <a:off x="7773622" y="1275975"/>
              <a:ext cx="252000" cy="252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1</a:t>
              </a:r>
              <a:endPara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</p:grp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05333B02-1D40-FFBB-16FE-F79C6CEC14E0}"/>
              </a:ext>
            </a:extLst>
          </p:cNvPr>
          <p:cNvGrpSpPr/>
          <p:nvPr/>
        </p:nvGrpSpPr>
        <p:grpSpPr>
          <a:xfrm>
            <a:off x="1250723" y="893858"/>
            <a:ext cx="5472000" cy="370791"/>
            <a:chOff x="708445" y="770033"/>
            <a:chExt cx="5472000" cy="370791"/>
          </a:xfrm>
        </p:grpSpPr>
        <p:cxnSp>
          <p:nvCxnSpPr>
            <p:cNvPr id="9" name="Straight Connector 44">
              <a:extLst>
                <a:ext uri="{FF2B5EF4-FFF2-40B4-BE49-F238E27FC236}">
                  <a16:creationId xmlns:a16="http://schemas.microsoft.com/office/drawing/2014/main" id="{B1514B67-CBD6-EC2F-EB61-C72B25296ED0}"/>
                </a:ext>
              </a:extLst>
            </p:cNvPr>
            <p:cNvCxnSpPr>
              <a:cxnSpLocks/>
            </p:cNvCxnSpPr>
            <p:nvPr/>
          </p:nvCxnSpPr>
          <p:spPr>
            <a:xfrm>
              <a:off x="708445" y="955428"/>
              <a:ext cx="547200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0" name="Rectangle 4">
              <a:extLst>
                <a:ext uri="{FF2B5EF4-FFF2-40B4-BE49-F238E27FC236}">
                  <a16:creationId xmlns:a16="http://schemas.microsoft.com/office/drawing/2014/main" id="{5A015B2F-A2CB-8515-98E6-A19B7AE2150F}"/>
                </a:ext>
              </a:extLst>
            </p:cNvPr>
            <p:cNvSpPr/>
            <p:nvPr/>
          </p:nvSpPr>
          <p:spPr>
            <a:xfrm>
              <a:off x="2856159" y="770033"/>
              <a:ext cx="1176573" cy="3707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/>
                  <a:ea typeface="Microsoft YaHei"/>
                  <a:cs typeface="+mn-ea"/>
                  <a:sym typeface="+mn-lt"/>
                </a:rPr>
                <a:t>现状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endParaRP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5638179B-B102-0220-247F-DE5CD3D7CAD3}"/>
              </a:ext>
            </a:extLst>
          </p:cNvPr>
          <p:cNvGrpSpPr/>
          <p:nvPr/>
        </p:nvGrpSpPr>
        <p:grpSpPr>
          <a:xfrm>
            <a:off x="7834766" y="923450"/>
            <a:ext cx="3420000" cy="370791"/>
            <a:chOff x="782876" y="770033"/>
            <a:chExt cx="3420000" cy="370791"/>
          </a:xfrm>
        </p:grpSpPr>
        <p:cxnSp>
          <p:nvCxnSpPr>
            <p:cNvPr id="16" name="Straight Connector 44">
              <a:extLst>
                <a:ext uri="{FF2B5EF4-FFF2-40B4-BE49-F238E27FC236}">
                  <a16:creationId xmlns:a16="http://schemas.microsoft.com/office/drawing/2014/main" id="{4D76B6B8-9F00-FB87-5FAC-16C652007C73}"/>
                </a:ext>
              </a:extLst>
            </p:cNvPr>
            <p:cNvCxnSpPr>
              <a:cxnSpLocks/>
            </p:cNvCxnSpPr>
            <p:nvPr/>
          </p:nvCxnSpPr>
          <p:spPr>
            <a:xfrm>
              <a:off x="782876" y="955428"/>
              <a:ext cx="342000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7" name="Rectangle 4">
              <a:extLst>
                <a:ext uri="{FF2B5EF4-FFF2-40B4-BE49-F238E27FC236}">
                  <a16:creationId xmlns:a16="http://schemas.microsoft.com/office/drawing/2014/main" id="{307CDA01-3421-7FEE-B7E0-1E10B2DDBF6E}"/>
                </a:ext>
              </a:extLst>
            </p:cNvPr>
            <p:cNvSpPr/>
            <p:nvPr/>
          </p:nvSpPr>
          <p:spPr>
            <a:xfrm>
              <a:off x="1904590" y="770033"/>
              <a:ext cx="1176573" cy="3707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/>
                  <a:ea typeface="Microsoft YaHei"/>
                  <a:cs typeface="+mn-ea"/>
                  <a:sym typeface="+mn-lt"/>
                </a:rPr>
                <a:t>业务建议方案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endParaRPr>
            </a:p>
          </p:txBody>
        </p:sp>
      </p:grpSp>
      <p:cxnSp>
        <p:nvCxnSpPr>
          <p:cNvPr id="37" name="直接连接符 9">
            <a:extLst>
              <a:ext uri="{FF2B5EF4-FFF2-40B4-BE49-F238E27FC236}">
                <a16:creationId xmlns:a16="http://schemas.microsoft.com/office/drawing/2014/main" id="{832F3C93-EEE1-C02D-0361-1A9746C9BDFC}"/>
              </a:ext>
            </a:extLst>
          </p:cNvPr>
          <p:cNvCxnSpPr>
            <a:cxnSpLocks/>
          </p:cNvCxnSpPr>
          <p:nvPr/>
        </p:nvCxnSpPr>
        <p:spPr>
          <a:xfrm flipH="1">
            <a:off x="974778" y="1627265"/>
            <a:ext cx="1260000" cy="0"/>
          </a:xfrm>
          <a:prstGeom prst="line">
            <a:avLst/>
          </a:prstGeom>
          <a:noFill/>
          <a:ln w="50800" cmpd="thickThin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748C86B9-FEA9-C7ED-D696-F492A1FDFEAC}"/>
              </a:ext>
            </a:extLst>
          </p:cNvPr>
          <p:cNvSpPr/>
          <p:nvPr/>
        </p:nvSpPr>
        <p:spPr>
          <a:xfrm>
            <a:off x="992366" y="1806669"/>
            <a:ext cx="1207563" cy="2780227"/>
          </a:xfrm>
          <a:prstGeom prst="roundRect">
            <a:avLst>
              <a:gd name="adj" fmla="val 5719"/>
            </a:avLst>
          </a:prstGeom>
          <a:solidFill>
            <a:srgbClr val="007F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全球市场中心统管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94" name="矩形: 圆角 93">
            <a:extLst>
              <a:ext uri="{FF2B5EF4-FFF2-40B4-BE49-F238E27FC236}">
                <a16:creationId xmlns:a16="http://schemas.microsoft.com/office/drawing/2014/main" id="{3D68DA91-999E-AC87-6CE0-4B086500086F}"/>
              </a:ext>
            </a:extLst>
          </p:cNvPr>
          <p:cNvSpPr/>
          <p:nvPr/>
        </p:nvSpPr>
        <p:spPr>
          <a:xfrm>
            <a:off x="803142" y="1766129"/>
            <a:ext cx="6488389" cy="2845448"/>
          </a:xfrm>
          <a:prstGeom prst="roundRect">
            <a:avLst>
              <a:gd name="adj" fmla="val 2923"/>
            </a:avLst>
          </a:prstGeom>
          <a:noFill/>
          <a:ln>
            <a:solidFill>
              <a:srgbClr val="005F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97" name="椭圆 96">
            <a:extLst>
              <a:ext uri="{FF2B5EF4-FFF2-40B4-BE49-F238E27FC236}">
                <a16:creationId xmlns:a16="http://schemas.microsoft.com/office/drawing/2014/main" id="{034A0819-9554-E682-4BE0-E705F515277C}"/>
              </a:ext>
            </a:extLst>
          </p:cNvPr>
          <p:cNvSpPr/>
          <p:nvPr/>
        </p:nvSpPr>
        <p:spPr>
          <a:xfrm>
            <a:off x="704437" y="1642964"/>
            <a:ext cx="228600" cy="2286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1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32" name="Rectangle 11">
            <a:extLst>
              <a:ext uri="{FF2B5EF4-FFF2-40B4-BE49-F238E27FC236}">
                <a16:creationId xmlns:a16="http://schemas.microsoft.com/office/drawing/2014/main" id="{FFCCC6E7-EBD1-5F6B-178B-C9F256ED18F4}"/>
              </a:ext>
            </a:extLst>
          </p:cNvPr>
          <p:cNvSpPr/>
          <p:nvPr/>
        </p:nvSpPr>
        <p:spPr>
          <a:xfrm>
            <a:off x="974778" y="4802520"/>
            <a:ext cx="1213259" cy="1657605"/>
          </a:xfrm>
          <a:prstGeom prst="roundRect">
            <a:avLst>
              <a:gd name="adj" fmla="val 893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>
                <a:solidFill>
                  <a:prstClr val="white"/>
                </a:solidFill>
                <a:latin typeface="Microsoft YaHei"/>
                <a:ea typeface="Microsoft YaHei"/>
              </a:rPr>
              <a:t>非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全球市场中心统管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92" name="矩形: 圆角 91">
            <a:extLst>
              <a:ext uri="{FF2B5EF4-FFF2-40B4-BE49-F238E27FC236}">
                <a16:creationId xmlns:a16="http://schemas.microsoft.com/office/drawing/2014/main" id="{21B584A7-9492-8F39-C7FD-B951E2115A83}"/>
              </a:ext>
            </a:extLst>
          </p:cNvPr>
          <p:cNvSpPr/>
          <p:nvPr/>
        </p:nvSpPr>
        <p:spPr>
          <a:xfrm>
            <a:off x="803142" y="4706090"/>
            <a:ext cx="6482255" cy="1795570"/>
          </a:xfrm>
          <a:prstGeom prst="roundRect">
            <a:avLst>
              <a:gd name="adj" fmla="val 5639"/>
            </a:avLst>
          </a:prstGeom>
          <a:noFill/>
          <a:ln>
            <a:solidFill>
              <a:srgbClr val="005F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98" name="椭圆 97">
            <a:extLst>
              <a:ext uri="{FF2B5EF4-FFF2-40B4-BE49-F238E27FC236}">
                <a16:creationId xmlns:a16="http://schemas.microsoft.com/office/drawing/2014/main" id="{D048216C-3982-415A-F727-2BFAA5D87086}"/>
              </a:ext>
            </a:extLst>
          </p:cNvPr>
          <p:cNvSpPr/>
          <p:nvPr/>
        </p:nvSpPr>
        <p:spPr>
          <a:xfrm>
            <a:off x="702971" y="4631992"/>
            <a:ext cx="228600" cy="2286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2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8" name="Rectangle 53">
            <a:extLst>
              <a:ext uri="{FF2B5EF4-FFF2-40B4-BE49-F238E27FC236}">
                <a16:creationId xmlns:a16="http://schemas.microsoft.com/office/drawing/2014/main" id="{ACF4E145-5FFF-3EEA-D0A7-B2486739A77C}"/>
              </a:ext>
            </a:extLst>
          </p:cNvPr>
          <p:cNvSpPr/>
          <p:nvPr/>
        </p:nvSpPr>
        <p:spPr>
          <a:xfrm>
            <a:off x="2547891" y="1789576"/>
            <a:ext cx="4674907" cy="2807728"/>
          </a:xfrm>
          <a:prstGeom prst="rect">
            <a:avLst/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由全球市场中心统管的推广费：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在</a:t>
            </a:r>
            <a:r>
              <a:rPr kumimoji="0" lang="en-US" altLang="zh-CN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MPM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系统进行项目立项申请，按照项目制方式进行管理，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未来希望按项目维度进行核算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srgbClr val="4471A7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300" b="1">
                <a:solidFill>
                  <a:schemeClr val="tx1"/>
                </a:solidFill>
                <a:latin typeface="Microsoft YaHei"/>
                <a:ea typeface="Microsoft YaHei"/>
              </a:rPr>
              <a:t>费用承担主体为</a:t>
            </a:r>
            <a:r>
              <a:rPr lang="zh-CN" altLang="en-US" sz="1300" b="1">
                <a:solidFill>
                  <a:srgbClr val="4471A7"/>
                </a:solidFill>
                <a:latin typeface="Microsoft YaHei"/>
                <a:ea typeface="Microsoft YaHei"/>
              </a:rPr>
              <a:t>各</a:t>
            </a:r>
            <a:r>
              <a:rPr lang="en-US" altLang="zh-CN" sz="1300" b="1">
                <a:solidFill>
                  <a:srgbClr val="4471A7"/>
                </a:solidFill>
                <a:latin typeface="Microsoft YaHei"/>
                <a:ea typeface="Microsoft YaHei"/>
              </a:rPr>
              <a:t>BU/BG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srgbClr val="4471A7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43" name="Rectangle 53">
            <a:extLst>
              <a:ext uri="{FF2B5EF4-FFF2-40B4-BE49-F238E27FC236}">
                <a16:creationId xmlns:a16="http://schemas.microsoft.com/office/drawing/2014/main" id="{5E4F71DE-0CF8-661E-875F-9531ACA7C7E7}"/>
              </a:ext>
            </a:extLst>
          </p:cNvPr>
          <p:cNvSpPr/>
          <p:nvPr/>
        </p:nvSpPr>
        <p:spPr>
          <a:xfrm>
            <a:off x="2547891" y="4703653"/>
            <a:ext cx="4722363" cy="1799055"/>
          </a:xfrm>
          <a:prstGeom prst="rect">
            <a:avLst/>
          </a:prstGeom>
          <a:solidFill>
            <a:schemeClr val="bg1">
              <a:lumMod val="8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R="0" lvl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300" b="1">
                <a:solidFill>
                  <a:prstClr val="black"/>
                </a:solidFill>
                <a:latin typeface="Microsoft YaHei"/>
                <a:ea typeface="Microsoft YaHei"/>
              </a:rPr>
              <a:t>非全球市场中心统管的推广费：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在</a:t>
            </a:r>
            <a:r>
              <a:rPr kumimoji="0" lang="en-US" altLang="zh-CN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OA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系统进行项目立项申请，前端业务暂无按项目维度核算、分析的诉求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94161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534CB2-97F9-E782-DDF1-91C91BAA2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03430" y="6424571"/>
            <a:ext cx="585140" cy="232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FE292F-1EBE-6D4A-B339-A324D614A372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D5EE364C-4150-3381-5919-6CA7CF55B1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9926956" cy="706293"/>
          </a:xfrm>
        </p:spPr>
        <p:txBody>
          <a:bodyPr/>
          <a:lstStyle/>
          <a:p>
            <a:r>
              <a:rPr lang="zh-CN" altLang="en-US"/>
              <a:t>推广费 </a:t>
            </a:r>
            <a:r>
              <a:rPr lang="en-US" altLang="zh-CN"/>
              <a:t>–</a:t>
            </a:r>
            <a:r>
              <a:rPr lang="zh-CN" altLang="en-US"/>
              <a:t>短期核算方案：全球市场中心统管的推广费，按项目核算</a:t>
            </a: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AF0E56B4-330B-A3C5-3924-1B7DB40581B6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9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D5EE9F8A-B8D8-8187-A9EC-976CAE12BE6A}"/>
              </a:ext>
            </a:extLst>
          </p:cNvPr>
          <p:cNvSpPr/>
          <p:nvPr/>
        </p:nvSpPr>
        <p:spPr>
          <a:xfrm>
            <a:off x="974778" y="1195857"/>
            <a:ext cx="1280160" cy="3553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推广费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38" name="Rectangle 4">
            <a:extLst>
              <a:ext uri="{FF2B5EF4-FFF2-40B4-BE49-F238E27FC236}">
                <a16:creationId xmlns:a16="http://schemas.microsoft.com/office/drawing/2014/main" id="{9656151D-4658-E608-7F08-7DD43A709AC9}"/>
              </a:ext>
            </a:extLst>
          </p:cNvPr>
          <p:cNvSpPr/>
          <p:nvPr/>
        </p:nvSpPr>
        <p:spPr>
          <a:xfrm>
            <a:off x="2745219" y="1307908"/>
            <a:ext cx="864847" cy="35531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BG</a:t>
            </a:r>
          </a:p>
        </p:txBody>
      </p:sp>
      <p:sp>
        <p:nvSpPr>
          <p:cNvPr id="39" name="Rectangle 4">
            <a:extLst>
              <a:ext uri="{FF2B5EF4-FFF2-40B4-BE49-F238E27FC236}">
                <a16:creationId xmlns:a16="http://schemas.microsoft.com/office/drawing/2014/main" id="{3CDD9857-FEC9-F924-8FBB-CAC82F058692}"/>
              </a:ext>
            </a:extLst>
          </p:cNvPr>
          <p:cNvSpPr/>
          <p:nvPr/>
        </p:nvSpPr>
        <p:spPr>
          <a:xfrm>
            <a:off x="3881119" y="1318740"/>
            <a:ext cx="864847" cy="35531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BU</a:t>
            </a:r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24D99400-FF18-B597-5E0E-FD3651CAE8F1}"/>
              </a:ext>
            </a:extLst>
          </p:cNvPr>
          <p:cNvSpPr/>
          <p:nvPr/>
        </p:nvSpPr>
        <p:spPr>
          <a:xfrm>
            <a:off x="5134159" y="1307908"/>
            <a:ext cx="864847" cy="35531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BG</a:t>
            </a:r>
          </a:p>
        </p:txBody>
      </p:sp>
      <p:sp>
        <p:nvSpPr>
          <p:cNvPr id="42" name="Rectangle 4">
            <a:extLst>
              <a:ext uri="{FF2B5EF4-FFF2-40B4-BE49-F238E27FC236}">
                <a16:creationId xmlns:a16="http://schemas.microsoft.com/office/drawing/2014/main" id="{E1DC3580-8C88-CDDF-F931-D041AEF6446F}"/>
              </a:ext>
            </a:extLst>
          </p:cNvPr>
          <p:cNvSpPr/>
          <p:nvPr/>
        </p:nvSpPr>
        <p:spPr>
          <a:xfrm>
            <a:off x="6259334" y="1318739"/>
            <a:ext cx="864847" cy="35531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NABG</a:t>
            </a:r>
          </a:p>
        </p:txBody>
      </p:sp>
      <p:grpSp>
        <p:nvGrpSpPr>
          <p:cNvPr id="107" name="组合 106">
            <a:extLst>
              <a:ext uri="{FF2B5EF4-FFF2-40B4-BE49-F238E27FC236}">
                <a16:creationId xmlns:a16="http://schemas.microsoft.com/office/drawing/2014/main" id="{BA474D5E-1310-3975-218E-633B02CFEFD4}"/>
              </a:ext>
            </a:extLst>
          </p:cNvPr>
          <p:cNvGrpSpPr/>
          <p:nvPr/>
        </p:nvGrpSpPr>
        <p:grpSpPr>
          <a:xfrm>
            <a:off x="7722222" y="4210426"/>
            <a:ext cx="3518162" cy="1995165"/>
            <a:chOff x="7744667" y="3357743"/>
            <a:chExt cx="3518162" cy="1995165"/>
          </a:xfrm>
        </p:grpSpPr>
        <p:sp>
          <p:nvSpPr>
            <p:cNvPr id="95" name="矩形 94">
              <a:extLst>
                <a:ext uri="{FF2B5EF4-FFF2-40B4-BE49-F238E27FC236}">
                  <a16:creationId xmlns:a16="http://schemas.microsoft.com/office/drawing/2014/main" id="{34F01614-2150-7E32-28E0-968E84AF1DAC}"/>
                </a:ext>
              </a:extLst>
            </p:cNvPr>
            <p:cNvSpPr/>
            <p:nvPr/>
          </p:nvSpPr>
          <p:spPr>
            <a:xfrm>
              <a:off x="7882891" y="3433206"/>
              <a:ext cx="3379938" cy="1919702"/>
            </a:xfrm>
            <a:prstGeom prst="rect">
              <a:avLst/>
            </a:prstGeom>
            <a:pattFill prst="ltUpDiag">
              <a:fgClr>
                <a:schemeClr val="accent6">
                  <a:lumMod val="20000"/>
                  <a:lumOff val="8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非全球市场中心统管的推广费：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目前暂无按项目维度核算、分析的诉求，</a:t>
              </a:r>
              <a:r>
                <a:rPr lang="zh-CN" altLang="en-US" sz="1400" b="1">
                  <a:solidFill>
                    <a:prstClr val="black"/>
                  </a:solidFill>
                  <a:latin typeface="Microsoft YaHei"/>
                  <a:ea typeface="Microsoft YaHei"/>
                </a:rPr>
                <a:t>核</a:t>
              </a: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算层面保持现状</a:t>
              </a:r>
              <a:r>
                <a:rPr kumimoji="0" lang="zh-CN" alt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，</a:t>
              </a: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后续待纳入全球市场中心统管后，即可按照项目制方式进行管理、核算、分析</a:t>
              </a:r>
              <a:endParaRPr kumimoji="0" lang="zh-CN" altLang="en-US" sz="12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96" name="椭圆 95">
              <a:extLst>
                <a:ext uri="{FF2B5EF4-FFF2-40B4-BE49-F238E27FC236}">
                  <a16:creationId xmlns:a16="http://schemas.microsoft.com/office/drawing/2014/main" id="{3D98A2DA-CC59-0B07-92AD-715ADEAD39DF}"/>
                </a:ext>
              </a:extLst>
            </p:cNvPr>
            <p:cNvSpPr/>
            <p:nvPr/>
          </p:nvSpPr>
          <p:spPr>
            <a:xfrm>
              <a:off x="7744667" y="3357743"/>
              <a:ext cx="252000" cy="252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2</a:t>
              </a:r>
              <a:endPara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</p:grpSp>
      <p:grpSp>
        <p:nvGrpSpPr>
          <p:cNvPr id="106" name="组合 105">
            <a:extLst>
              <a:ext uri="{FF2B5EF4-FFF2-40B4-BE49-F238E27FC236}">
                <a16:creationId xmlns:a16="http://schemas.microsoft.com/office/drawing/2014/main" id="{151D8B97-8354-16EF-E759-F06BA9756263}"/>
              </a:ext>
            </a:extLst>
          </p:cNvPr>
          <p:cNvGrpSpPr/>
          <p:nvPr/>
        </p:nvGrpSpPr>
        <p:grpSpPr>
          <a:xfrm>
            <a:off x="7722222" y="1825954"/>
            <a:ext cx="3666636" cy="1790549"/>
            <a:chOff x="7773622" y="1275975"/>
            <a:chExt cx="3666636" cy="1790549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CDCCF724-E1E4-3C6E-9D42-048C4F196354}"/>
                </a:ext>
              </a:extLst>
            </p:cNvPr>
            <p:cNvSpPr/>
            <p:nvPr/>
          </p:nvSpPr>
          <p:spPr>
            <a:xfrm>
              <a:off x="7911845" y="1351439"/>
              <a:ext cx="3528413" cy="1715085"/>
            </a:xfrm>
            <a:prstGeom prst="rect">
              <a:avLst/>
            </a:prstGeom>
            <a:pattFill prst="ltUpDiag">
              <a:fgClr>
                <a:schemeClr val="accent6">
                  <a:lumMod val="20000"/>
                  <a:lumOff val="8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全球市场中心统管的推广费：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核算时增加“项目”维度，一次核算到项目、产品、渠道、区域（视管理需求）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*</a:t>
              </a:r>
              <a:r>
                <a:rPr lang="zh-CN" altLang="en-US" sz="1200" i="1">
                  <a:solidFill>
                    <a:prstClr val="black"/>
                  </a:solidFill>
                  <a:latin typeface="Microsoft YaHei"/>
                  <a:ea typeface="Microsoft YaHei"/>
                </a:rPr>
                <a:t>预算控制方式保持现状不变</a:t>
              </a:r>
              <a:endParaRPr kumimoji="0" lang="en-US" altLang="zh-CN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101" name="椭圆 100">
              <a:extLst>
                <a:ext uri="{FF2B5EF4-FFF2-40B4-BE49-F238E27FC236}">
                  <a16:creationId xmlns:a16="http://schemas.microsoft.com/office/drawing/2014/main" id="{99E840B3-E249-8C58-46C1-BAD0D4E210D1}"/>
                </a:ext>
              </a:extLst>
            </p:cNvPr>
            <p:cNvSpPr/>
            <p:nvPr/>
          </p:nvSpPr>
          <p:spPr>
            <a:xfrm>
              <a:off x="7773622" y="1275975"/>
              <a:ext cx="252000" cy="252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1</a:t>
              </a:r>
              <a:endPara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</p:grp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05333B02-1D40-FFBB-16FE-F79C6CEC14E0}"/>
              </a:ext>
            </a:extLst>
          </p:cNvPr>
          <p:cNvGrpSpPr/>
          <p:nvPr/>
        </p:nvGrpSpPr>
        <p:grpSpPr>
          <a:xfrm>
            <a:off x="1250723" y="893858"/>
            <a:ext cx="5472000" cy="370791"/>
            <a:chOff x="708445" y="770033"/>
            <a:chExt cx="5472000" cy="370791"/>
          </a:xfrm>
        </p:grpSpPr>
        <p:cxnSp>
          <p:nvCxnSpPr>
            <p:cNvPr id="9" name="Straight Connector 44">
              <a:extLst>
                <a:ext uri="{FF2B5EF4-FFF2-40B4-BE49-F238E27FC236}">
                  <a16:creationId xmlns:a16="http://schemas.microsoft.com/office/drawing/2014/main" id="{B1514B67-CBD6-EC2F-EB61-C72B25296ED0}"/>
                </a:ext>
              </a:extLst>
            </p:cNvPr>
            <p:cNvCxnSpPr>
              <a:cxnSpLocks/>
            </p:cNvCxnSpPr>
            <p:nvPr/>
          </p:nvCxnSpPr>
          <p:spPr>
            <a:xfrm>
              <a:off x="708445" y="955428"/>
              <a:ext cx="547200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0" name="Rectangle 4">
              <a:extLst>
                <a:ext uri="{FF2B5EF4-FFF2-40B4-BE49-F238E27FC236}">
                  <a16:creationId xmlns:a16="http://schemas.microsoft.com/office/drawing/2014/main" id="{5A015B2F-A2CB-8515-98E6-A19B7AE2150F}"/>
                </a:ext>
              </a:extLst>
            </p:cNvPr>
            <p:cNvSpPr/>
            <p:nvPr/>
          </p:nvSpPr>
          <p:spPr>
            <a:xfrm>
              <a:off x="2856159" y="770033"/>
              <a:ext cx="1176573" cy="3707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/>
                  <a:ea typeface="Microsoft YaHei"/>
                  <a:cs typeface="+mn-ea"/>
                  <a:sym typeface="+mn-lt"/>
                </a:rPr>
                <a:t>现状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endParaRP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5638179B-B102-0220-247F-DE5CD3D7CAD3}"/>
              </a:ext>
            </a:extLst>
          </p:cNvPr>
          <p:cNvGrpSpPr/>
          <p:nvPr/>
        </p:nvGrpSpPr>
        <p:grpSpPr>
          <a:xfrm>
            <a:off x="7834766" y="913176"/>
            <a:ext cx="3420000" cy="395285"/>
            <a:chOff x="782876" y="759759"/>
            <a:chExt cx="3420000" cy="395285"/>
          </a:xfrm>
        </p:grpSpPr>
        <p:cxnSp>
          <p:nvCxnSpPr>
            <p:cNvPr id="16" name="Straight Connector 44">
              <a:extLst>
                <a:ext uri="{FF2B5EF4-FFF2-40B4-BE49-F238E27FC236}">
                  <a16:creationId xmlns:a16="http://schemas.microsoft.com/office/drawing/2014/main" id="{4D76B6B8-9F00-FB87-5FAC-16C652007C73}"/>
                </a:ext>
              </a:extLst>
            </p:cNvPr>
            <p:cNvCxnSpPr>
              <a:cxnSpLocks/>
            </p:cNvCxnSpPr>
            <p:nvPr/>
          </p:nvCxnSpPr>
          <p:spPr>
            <a:xfrm>
              <a:off x="782876" y="955428"/>
              <a:ext cx="342000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7" name="Rectangle 4">
              <a:extLst>
                <a:ext uri="{FF2B5EF4-FFF2-40B4-BE49-F238E27FC236}">
                  <a16:creationId xmlns:a16="http://schemas.microsoft.com/office/drawing/2014/main" id="{307CDA01-3421-7FEE-B7E0-1E10B2DDBF6E}"/>
                </a:ext>
              </a:extLst>
            </p:cNvPr>
            <p:cNvSpPr/>
            <p:nvPr/>
          </p:nvSpPr>
          <p:spPr>
            <a:xfrm>
              <a:off x="1863494" y="759759"/>
              <a:ext cx="1427457" cy="3952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/>
                  <a:ea typeface="Microsoft YaHei"/>
                  <a:cs typeface="+mn-ea"/>
                  <a:sym typeface="+mn-lt"/>
                </a:rPr>
                <a:t>业务建议方案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endParaRPr>
            </a:p>
          </p:txBody>
        </p:sp>
      </p:grpSp>
      <p:cxnSp>
        <p:nvCxnSpPr>
          <p:cNvPr id="37" name="直接连接符 9">
            <a:extLst>
              <a:ext uri="{FF2B5EF4-FFF2-40B4-BE49-F238E27FC236}">
                <a16:creationId xmlns:a16="http://schemas.microsoft.com/office/drawing/2014/main" id="{832F3C93-EEE1-C02D-0361-1A9746C9BDFC}"/>
              </a:ext>
            </a:extLst>
          </p:cNvPr>
          <p:cNvCxnSpPr>
            <a:cxnSpLocks/>
          </p:cNvCxnSpPr>
          <p:nvPr/>
        </p:nvCxnSpPr>
        <p:spPr>
          <a:xfrm flipH="1">
            <a:off x="974778" y="1627265"/>
            <a:ext cx="1260000" cy="0"/>
          </a:xfrm>
          <a:prstGeom prst="line">
            <a:avLst/>
          </a:prstGeom>
          <a:noFill/>
          <a:ln w="50800" cmpd="thickThin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748C86B9-FEA9-C7ED-D696-F492A1FDFEAC}"/>
              </a:ext>
            </a:extLst>
          </p:cNvPr>
          <p:cNvSpPr/>
          <p:nvPr/>
        </p:nvSpPr>
        <p:spPr>
          <a:xfrm>
            <a:off x="992366" y="1806669"/>
            <a:ext cx="1207563" cy="2780227"/>
          </a:xfrm>
          <a:prstGeom prst="roundRect">
            <a:avLst>
              <a:gd name="adj" fmla="val 5719"/>
            </a:avLst>
          </a:prstGeom>
          <a:solidFill>
            <a:srgbClr val="007F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全球市场中心统管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94" name="矩形: 圆角 93">
            <a:extLst>
              <a:ext uri="{FF2B5EF4-FFF2-40B4-BE49-F238E27FC236}">
                <a16:creationId xmlns:a16="http://schemas.microsoft.com/office/drawing/2014/main" id="{3D68DA91-999E-AC87-6CE0-4B086500086F}"/>
              </a:ext>
            </a:extLst>
          </p:cNvPr>
          <p:cNvSpPr/>
          <p:nvPr/>
        </p:nvSpPr>
        <p:spPr>
          <a:xfrm>
            <a:off x="803142" y="1766129"/>
            <a:ext cx="6488389" cy="2845448"/>
          </a:xfrm>
          <a:prstGeom prst="roundRect">
            <a:avLst>
              <a:gd name="adj" fmla="val 2923"/>
            </a:avLst>
          </a:prstGeom>
          <a:noFill/>
          <a:ln>
            <a:solidFill>
              <a:srgbClr val="005F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97" name="椭圆 96">
            <a:extLst>
              <a:ext uri="{FF2B5EF4-FFF2-40B4-BE49-F238E27FC236}">
                <a16:creationId xmlns:a16="http://schemas.microsoft.com/office/drawing/2014/main" id="{034A0819-9554-E682-4BE0-E705F515277C}"/>
              </a:ext>
            </a:extLst>
          </p:cNvPr>
          <p:cNvSpPr/>
          <p:nvPr/>
        </p:nvSpPr>
        <p:spPr>
          <a:xfrm>
            <a:off x="704437" y="1642964"/>
            <a:ext cx="228600" cy="2286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1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32" name="Rectangle 11">
            <a:extLst>
              <a:ext uri="{FF2B5EF4-FFF2-40B4-BE49-F238E27FC236}">
                <a16:creationId xmlns:a16="http://schemas.microsoft.com/office/drawing/2014/main" id="{FFCCC6E7-EBD1-5F6B-178B-C9F256ED18F4}"/>
              </a:ext>
            </a:extLst>
          </p:cNvPr>
          <p:cNvSpPr/>
          <p:nvPr/>
        </p:nvSpPr>
        <p:spPr>
          <a:xfrm>
            <a:off x="974778" y="4802520"/>
            <a:ext cx="1213259" cy="1657605"/>
          </a:xfrm>
          <a:prstGeom prst="roundRect">
            <a:avLst>
              <a:gd name="adj" fmla="val 893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非全球市场中心统管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92" name="矩形: 圆角 91">
            <a:extLst>
              <a:ext uri="{FF2B5EF4-FFF2-40B4-BE49-F238E27FC236}">
                <a16:creationId xmlns:a16="http://schemas.microsoft.com/office/drawing/2014/main" id="{21B584A7-9492-8F39-C7FD-B951E2115A83}"/>
              </a:ext>
            </a:extLst>
          </p:cNvPr>
          <p:cNvSpPr/>
          <p:nvPr/>
        </p:nvSpPr>
        <p:spPr>
          <a:xfrm>
            <a:off x="803142" y="4706090"/>
            <a:ext cx="6482255" cy="1795570"/>
          </a:xfrm>
          <a:prstGeom prst="roundRect">
            <a:avLst>
              <a:gd name="adj" fmla="val 5639"/>
            </a:avLst>
          </a:prstGeom>
          <a:noFill/>
          <a:ln>
            <a:solidFill>
              <a:srgbClr val="005F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98" name="椭圆 97">
            <a:extLst>
              <a:ext uri="{FF2B5EF4-FFF2-40B4-BE49-F238E27FC236}">
                <a16:creationId xmlns:a16="http://schemas.microsoft.com/office/drawing/2014/main" id="{D048216C-3982-415A-F727-2BFAA5D87086}"/>
              </a:ext>
            </a:extLst>
          </p:cNvPr>
          <p:cNvSpPr/>
          <p:nvPr/>
        </p:nvSpPr>
        <p:spPr>
          <a:xfrm>
            <a:off x="702971" y="4631992"/>
            <a:ext cx="228600" cy="2286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2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8" name="Rectangle 53">
            <a:extLst>
              <a:ext uri="{FF2B5EF4-FFF2-40B4-BE49-F238E27FC236}">
                <a16:creationId xmlns:a16="http://schemas.microsoft.com/office/drawing/2014/main" id="{ACF4E145-5FFF-3EEA-D0A7-B2486739A77C}"/>
              </a:ext>
            </a:extLst>
          </p:cNvPr>
          <p:cNvSpPr/>
          <p:nvPr/>
        </p:nvSpPr>
        <p:spPr>
          <a:xfrm>
            <a:off x="2547891" y="1789576"/>
            <a:ext cx="4737506" cy="2807728"/>
          </a:xfrm>
          <a:prstGeom prst="rect">
            <a:avLst/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由全球市场中心统管的推广费：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在</a:t>
            </a:r>
            <a:r>
              <a:rPr kumimoji="0" lang="en-US" altLang="zh-CN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MPM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系统进行项目立项申请，按照项目制方式进行管理，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未来希望按项目维度进行核算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预算控制：</a:t>
            </a:r>
            <a:r>
              <a:rPr kumimoji="0" lang="zh-CN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通过推广费一级科目</a:t>
            </a:r>
            <a:r>
              <a:rPr kumimoji="0" lang="en-US" altLang="zh-CN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+</a:t>
            </a:r>
            <a:r>
              <a:rPr kumimoji="0" lang="zh-CN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部门进行费用控制，未来增加项目核算维度，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不改变现有预算控制方式，不按项目控预算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srgbClr val="4471A7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费用承担主体：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srgbClr val="4471A7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各</a:t>
            </a:r>
            <a:r>
              <a:rPr kumimoji="0" lang="en-US" altLang="zh-CN" sz="1300" b="1" i="0" u="none" strike="noStrike" kern="1200" cap="none" spc="0" normalizeH="0" baseline="0" noProof="0">
                <a:ln>
                  <a:noFill/>
                </a:ln>
                <a:solidFill>
                  <a:srgbClr val="4471A7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BU/BG</a:t>
            </a:r>
          </a:p>
        </p:txBody>
      </p:sp>
      <p:sp>
        <p:nvSpPr>
          <p:cNvPr id="43" name="Rectangle 53">
            <a:extLst>
              <a:ext uri="{FF2B5EF4-FFF2-40B4-BE49-F238E27FC236}">
                <a16:creationId xmlns:a16="http://schemas.microsoft.com/office/drawing/2014/main" id="{5E4F71DE-0CF8-661E-875F-9531ACA7C7E7}"/>
              </a:ext>
            </a:extLst>
          </p:cNvPr>
          <p:cNvSpPr/>
          <p:nvPr/>
        </p:nvSpPr>
        <p:spPr>
          <a:xfrm>
            <a:off x="2547891" y="4703653"/>
            <a:ext cx="4722363" cy="1799055"/>
          </a:xfrm>
          <a:prstGeom prst="rect">
            <a:avLst/>
          </a:prstGeom>
          <a:solidFill>
            <a:schemeClr val="bg1">
              <a:lumMod val="8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非全球市场中心统管的推广费：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在</a:t>
            </a:r>
            <a:r>
              <a:rPr kumimoji="0" lang="en-US" altLang="zh-CN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OA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系统进行项目立项申请，前端业务暂无按项目维度核算、分析的诉求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预算控制：</a:t>
            </a:r>
            <a:r>
              <a:rPr kumimoji="0" lang="zh-CN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通过推广费一级科目</a:t>
            </a:r>
            <a:r>
              <a:rPr kumimoji="0" lang="en-US" altLang="zh-CN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+</a:t>
            </a:r>
            <a:r>
              <a:rPr kumimoji="0" lang="zh-CN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部门进行费用控制，维持现状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费用承担主体：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srgbClr val="4471A7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各</a:t>
            </a:r>
            <a:r>
              <a:rPr kumimoji="0" lang="en-US" altLang="zh-CN" sz="1300" b="1" i="0" u="none" strike="noStrike" kern="1200" cap="none" spc="0" normalizeH="0" baseline="0" noProof="0">
                <a:ln>
                  <a:noFill/>
                </a:ln>
                <a:solidFill>
                  <a:srgbClr val="4471A7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BU/BG</a:t>
            </a:r>
          </a:p>
        </p:txBody>
      </p:sp>
    </p:spTree>
    <p:extLst>
      <p:ext uri="{BB962C8B-B14F-4D97-AF65-F5344CB8AC3E}">
        <p14:creationId xmlns:p14="http://schemas.microsoft.com/office/powerpoint/2010/main" val="41224306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18">
            <a:extLst>
              <a:ext uri="{FF2B5EF4-FFF2-40B4-BE49-F238E27FC236}">
                <a16:creationId xmlns:a16="http://schemas.microsoft.com/office/drawing/2014/main" id="{63B4EB4D-803B-B99B-F427-61856A1A59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6245" y="4477964"/>
            <a:ext cx="4622927" cy="1416139"/>
          </a:xfrm>
          <a:prstGeom prst="rect">
            <a:avLst/>
          </a:prstGeom>
          <a:solidFill>
            <a:srgbClr val="C0E9FF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AP ERP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10984A-1973-E074-373C-41FA2BFB49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0195" y="1250994"/>
            <a:ext cx="2933181" cy="4659949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R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8" name="Rectangle 18">
            <a:extLst>
              <a:ext uri="{FF2B5EF4-FFF2-40B4-BE49-F238E27FC236}">
                <a16:creationId xmlns:a16="http://schemas.microsoft.com/office/drawing/2014/main" id="{404DBAC2-18F7-7509-B24D-258FC79C2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1500071"/>
            <a:ext cx="2451610" cy="949673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管理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3E9A57-CB75-5562-65AA-BBEC656EC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03430" y="6445055"/>
            <a:ext cx="585140" cy="232752"/>
          </a:xfrm>
        </p:spPr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25</a:t>
            </a:fld>
            <a:endParaRPr kumimoji="1" lang="zh-CN" alt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351361-B5FC-3B4C-93C7-23720EA4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10282312" cy="706293"/>
          </a:xfrm>
        </p:spPr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长期系统方案：搭建</a:t>
            </a:r>
            <a:r>
              <a:rPr lang="en-US" altLang="zh-CN"/>
              <a:t>PTP</a:t>
            </a:r>
            <a:r>
              <a:rPr lang="zh-CN" altLang="en-US"/>
              <a:t>系统流程，实现及时自动核算多维度推广费核算及分摊</a:t>
            </a:r>
            <a:endParaRPr lang="en-US"/>
          </a:p>
        </p:txBody>
      </p:sp>
      <p:sp>
        <p:nvSpPr>
          <p:cNvPr id="16" name="Rectangle 18">
            <a:extLst>
              <a:ext uri="{FF2B5EF4-FFF2-40B4-BE49-F238E27FC236}">
                <a16:creationId xmlns:a16="http://schemas.microsoft.com/office/drawing/2014/main" id="{E26698F4-350E-C049-E5A1-A718B51A9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1766505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准入</a:t>
            </a:r>
          </a:p>
        </p:txBody>
      </p:sp>
      <p:sp>
        <p:nvSpPr>
          <p:cNvPr id="103" name="Rectangle 30">
            <a:extLst>
              <a:ext uri="{FF2B5EF4-FFF2-40B4-BE49-F238E27FC236}">
                <a16:creationId xmlns:a16="http://schemas.microsoft.com/office/drawing/2014/main" id="{9A73E786-6CEC-FA2E-31C5-1EC4AC4A38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8815" y="1766007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0" name="Rectangle 18">
            <a:extLst>
              <a:ext uri="{FF2B5EF4-FFF2-40B4-BE49-F238E27FC236}">
                <a16:creationId xmlns:a16="http://schemas.microsoft.com/office/drawing/2014/main" id="{8215F382-68BB-1B97-CCAA-840E1E959B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2532178"/>
            <a:ext cx="2451610" cy="929695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寻源协同</a:t>
            </a:r>
          </a:p>
        </p:txBody>
      </p:sp>
      <p:sp>
        <p:nvSpPr>
          <p:cNvPr id="293" name="Rectangle 17">
            <a:extLst>
              <a:ext uri="{FF2B5EF4-FFF2-40B4-BE49-F238E27FC236}">
                <a16:creationId xmlns:a16="http://schemas.microsoft.com/office/drawing/2014/main" id="{1D3F46A8-6AEA-A772-BC95-CC446FDE02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275234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询报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5725C3B3-43B9-537F-C7B6-625F0AE8E3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8815" y="275234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竞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3" name="Rectangle 18">
            <a:extLst>
              <a:ext uri="{FF2B5EF4-FFF2-40B4-BE49-F238E27FC236}">
                <a16:creationId xmlns:a16="http://schemas.microsoft.com/office/drawing/2014/main" id="{542C84DF-0CFC-603E-8CE0-FE2C218111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3544307"/>
            <a:ext cx="2451610" cy="717534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合同管理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A6E260C3-8A19-6E3B-53B3-51E1DD373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4382529"/>
            <a:ext cx="2451610" cy="717534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订单履行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0D9DE54B-B5AC-44E7-593C-AA89FD48D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5182193"/>
            <a:ext cx="2451610" cy="659785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财务协同</a:t>
            </a: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D3852551-1543-EC05-EBF5-F7FB94D8B0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205" y="5419574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结算单对账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7E31F183-EB64-54BF-4381-1DC44EFD0C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8682" y="5421926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发票上传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审核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44136927-858F-6DA3-98D9-F71401917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383276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年框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B7316411-D4C5-299C-1622-5F54EC5A98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8815" y="383276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6DC6D3BB-3AAF-C52A-02D2-5DCB03804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467874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186652DF-610C-F1BF-04ED-DD93B0BC4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8682" y="4684674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7" name="Rectangle 18">
            <a:extLst>
              <a:ext uri="{FF2B5EF4-FFF2-40B4-BE49-F238E27FC236}">
                <a16:creationId xmlns:a16="http://schemas.microsoft.com/office/drawing/2014/main" id="{6278E8FF-BB7D-DCA7-2BF6-971FBC8C52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2116946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绩效考核</a:t>
            </a:r>
          </a:p>
        </p:txBody>
      </p: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09FC2D6D-FC1A-E7EA-44DB-BD5B54CFE610}"/>
              </a:ext>
            </a:extLst>
          </p:cNvPr>
          <p:cNvGrpSpPr/>
          <p:nvPr/>
        </p:nvGrpSpPr>
        <p:grpSpPr>
          <a:xfrm>
            <a:off x="8484608" y="866137"/>
            <a:ext cx="3160099" cy="313175"/>
            <a:chOff x="10133105" y="1104727"/>
            <a:chExt cx="2058895" cy="313175"/>
          </a:xfrm>
        </p:grpSpPr>
        <p:grpSp>
          <p:nvGrpSpPr>
            <p:cNvPr id="47" name="Group 63">
              <a:extLst>
                <a:ext uri="{FF2B5EF4-FFF2-40B4-BE49-F238E27FC236}">
                  <a16:creationId xmlns:a16="http://schemas.microsoft.com/office/drawing/2014/main" id="{FF07DC3E-8926-7696-EFE5-9C8B8A49AFD5}"/>
                </a:ext>
              </a:extLst>
            </p:cNvPr>
            <p:cNvGrpSpPr/>
            <p:nvPr/>
          </p:nvGrpSpPr>
          <p:grpSpPr>
            <a:xfrm>
              <a:off x="10133105" y="1104727"/>
              <a:ext cx="2058895" cy="313175"/>
              <a:chOff x="9344415" y="1038841"/>
              <a:chExt cx="2551176" cy="313175"/>
            </a:xfrm>
          </p:grpSpPr>
          <p:cxnSp>
            <p:nvCxnSpPr>
              <p:cNvPr id="48" name="Straight Connector 38">
                <a:extLst>
                  <a:ext uri="{FF2B5EF4-FFF2-40B4-BE49-F238E27FC236}">
                    <a16:creationId xmlns:a16="http://schemas.microsoft.com/office/drawing/2014/main" id="{A4AB9685-F160-7599-DDB2-7C31B65E8C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44415" y="1225644"/>
                <a:ext cx="2551176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 type="diamond"/>
                <a:tailEnd type="diamond"/>
              </a:ln>
              <a:effectLst/>
            </p:spPr>
          </p:cxnSp>
          <p:sp>
            <p:nvSpPr>
              <p:cNvPr id="50" name="TextBox 39">
                <a:extLst>
                  <a:ext uri="{FF2B5EF4-FFF2-40B4-BE49-F238E27FC236}">
                    <a16:creationId xmlns:a16="http://schemas.microsoft.com/office/drawing/2014/main" id="{60FC412D-CA07-B12E-2A4E-460DD39CBF79}"/>
                  </a:ext>
                </a:extLst>
              </p:cNvPr>
              <p:cNvSpPr txBox="1"/>
              <p:nvPr/>
            </p:nvSpPr>
            <p:spPr>
              <a:xfrm>
                <a:off x="10193126" y="1038841"/>
                <a:ext cx="1115431" cy="307777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1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Times New Roman"/>
                    <a:ea typeface="Microsoft YaHei"/>
                    <a:cs typeface="+mn-cs"/>
                  </a:rPr>
                  <a:t>现状</a:t>
                </a:r>
                <a:r>
                  <a:rPr lang="en-US" altLang="zh-CN" sz="1400" b="1" kern="0">
                    <a:latin typeface="Times New Roman"/>
                    <a:ea typeface="Microsoft YaHei"/>
                  </a:rPr>
                  <a:t>/</a:t>
                </a:r>
                <a:r>
                  <a:rPr lang="zh-CN" altLang="en-US" sz="1400" b="1" kern="0">
                    <a:latin typeface="Times New Roman"/>
                    <a:ea typeface="Microsoft YaHei"/>
                  </a:rPr>
                  <a:t>提升方向</a:t>
                </a:r>
                <a:endParaRPr kumimoji="0" lang="zh-CN" altLang="en-US" sz="1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Times New Roman"/>
                  <a:ea typeface="Microsoft YaHei"/>
                  <a:cs typeface="+mn-cs"/>
                </a:endParaRPr>
              </a:p>
            </p:txBody>
          </p:sp>
          <p:sp>
            <p:nvSpPr>
              <p:cNvPr id="52" name="Rectangle 59">
                <a:extLst>
                  <a:ext uri="{FF2B5EF4-FFF2-40B4-BE49-F238E27FC236}">
                    <a16:creationId xmlns:a16="http://schemas.microsoft.com/office/drawing/2014/main" id="{7EBFF4C7-AE2C-5CD4-9F05-11FCAFA30191}"/>
                  </a:ext>
                </a:extLst>
              </p:cNvPr>
              <p:cNvSpPr/>
              <p:nvPr/>
            </p:nvSpPr>
            <p:spPr>
              <a:xfrm>
                <a:off x="9966693" y="1044241"/>
                <a:ext cx="253249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</p:grpSp>
        <p:pic>
          <p:nvPicPr>
            <p:cNvPr id="55" name="Graphic 66">
              <a:extLst>
                <a:ext uri="{FF2B5EF4-FFF2-40B4-BE49-F238E27FC236}">
                  <a16:creationId xmlns:a16="http://schemas.microsoft.com/office/drawing/2014/main" id="{46E33D4C-F0E4-F422-6716-A80BBCDD53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653055" y="1138070"/>
              <a:ext cx="164992" cy="256032"/>
            </a:xfrm>
            <a:prstGeom prst="rect">
              <a:avLst/>
            </a:prstGeom>
          </p:spPr>
        </p:pic>
      </p:grpSp>
      <p:sp>
        <p:nvSpPr>
          <p:cNvPr id="56" name="矩形 189">
            <a:extLst>
              <a:ext uri="{FF2B5EF4-FFF2-40B4-BE49-F238E27FC236}">
                <a16:creationId xmlns:a16="http://schemas.microsoft.com/office/drawing/2014/main" id="{C9CDC39A-79BF-9E57-BAA2-2DE9D1DAF8B3}"/>
              </a:ext>
            </a:extLst>
          </p:cNvPr>
          <p:cNvSpPr/>
          <p:nvPr/>
        </p:nvSpPr>
        <p:spPr>
          <a:xfrm>
            <a:off x="8441632" y="1250994"/>
            <a:ext cx="3210172" cy="5180286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系统现状：</a:t>
            </a:r>
            <a:endParaRPr lang="en-US" altLang="zh-CN" sz="1200" b="1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1. </a:t>
            </a:r>
            <a:r>
              <a:rPr lang="zh-CN" altLang="en-US" sz="1200" b="1">
                <a:latin typeface="+mj-ea"/>
                <a:ea typeface="+mj-ea"/>
              </a:rPr>
              <a:t>推广费计提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>
                <a:latin typeface="+mj-ea"/>
                <a:ea typeface="+mj-ea"/>
              </a:rPr>
              <a:t>FSSC</a:t>
            </a:r>
            <a:r>
              <a:rPr lang="zh-CN" altLang="en-US" sz="1200">
                <a:latin typeface="+mj-ea"/>
                <a:ea typeface="+mj-ea"/>
              </a:rPr>
              <a:t>系统中通过费用申请单计提推广费，下月全部手工冲销；</a:t>
            </a:r>
            <a:endParaRPr lang="en-US" altLang="zh-CN" sz="1200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2. </a:t>
            </a:r>
            <a:r>
              <a:rPr lang="zh-CN" altLang="en-US" sz="1200" b="1">
                <a:latin typeface="+mj-ea"/>
                <a:ea typeface="+mj-ea"/>
              </a:rPr>
              <a:t>推广费报销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>
                <a:latin typeface="+mj-ea"/>
                <a:ea typeface="+mj-ea"/>
              </a:rPr>
              <a:t>FSSC</a:t>
            </a:r>
            <a:r>
              <a:rPr lang="zh-CN" altLang="en-US" sz="1200">
                <a:latin typeface="+mj-ea"/>
                <a:ea typeface="+mj-ea"/>
              </a:rPr>
              <a:t>系统中通过费用报销单进行费用报销，无过程管控</a:t>
            </a:r>
            <a:r>
              <a:rPr lang="zh-CN" altLang="en-US" sz="1200" b="1">
                <a:latin typeface="+mj-ea"/>
                <a:ea typeface="+mj-ea"/>
              </a:rPr>
              <a:t>。</a:t>
            </a:r>
            <a:endParaRPr lang="en-US" altLang="zh-CN" sz="1200">
              <a:latin typeface="+mj-ea"/>
              <a:ea typeface="+mj-ea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提升方向：</a:t>
            </a:r>
            <a:endParaRPr lang="en-US" altLang="zh-CN" sz="1200" b="1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>
                <a:latin typeface="+mj-ea"/>
                <a:ea typeface="+mj-ea"/>
              </a:rPr>
              <a:t>搭建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SRM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</a:t>
            </a:r>
            <a:r>
              <a:rPr lang="zh-CN" altLang="en-US" sz="1200">
                <a:latin typeface="+mj-ea"/>
                <a:ea typeface="+mj-ea"/>
              </a:rPr>
              <a:t>管理推广业务供应商、寻源报价、采购合同、对账等功能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>
                <a:latin typeface="+mj-ea"/>
                <a:ea typeface="+mj-ea"/>
              </a:rPr>
              <a:t>完善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MPM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</a:t>
            </a:r>
            <a:r>
              <a:rPr lang="zh-CN" altLang="en-US" sz="1200">
                <a:latin typeface="+mj-ea"/>
                <a:ea typeface="+mj-ea"/>
              </a:rPr>
              <a:t>中费用管理功能，未来均与</a:t>
            </a:r>
            <a:r>
              <a:rPr lang="en-US" altLang="zh-CN" sz="1200">
                <a:latin typeface="+mj-ea"/>
                <a:ea typeface="+mj-ea"/>
              </a:rPr>
              <a:t>SRM</a:t>
            </a:r>
            <a:r>
              <a:rPr lang="zh-CN" altLang="en-US" sz="1200">
                <a:latin typeface="+mj-ea"/>
                <a:ea typeface="+mj-ea"/>
              </a:rPr>
              <a:t>系统和</a:t>
            </a:r>
            <a:r>
              <a:rPr lang="en-US" altLang="zh-CN" sz="1200">
                <a:latin typeface="+mj-ea"/>
                <a:ea typeface="+mj-ea"/>
              </a:rPr>
              <a:t>SAP</a:t>
            </a:r>
            <a:r>
              <a:rPr lang="zh-CN" altLang="en-US" sz="1200">
                <a:latin typeface="+mj-ea"/>
                <a:ea typeface="+mj-ea"/>
              </a:rPr>
              <a:t>系统联动，采用</a:t>
            </a:r>
            <a:r>
              <a:rPr lang="en-US" altLang="zh-CN" sz="1200">
                <a:latin typeface="+mj-ea"/>
                <a:ea typeface="+mj-ea"/>
              </a:rPr>
              <a:t>PTP</a:t>
            </a:r>
            <a:r>
              <a:rPr lang="zh-CN" altLang="en-US" sz="1200">
                <a:latin typeface="+mj-ea"/>
                <a:ea typeface="+mj-ea"/>
              </a:rPr>
              <a:t>流程管理推广费，不在手工计提推广费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>
                <a:latin typeface="+mj-ea"/>
                <a:ea typeface="+mj-ea"/>
              </a:rPr>
              <a:t>搭建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SAP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</a:t>
            </a:r>
            <a:r>
              <a:rPr lang="zh-CN" altLang="en-US" sz="1200">
                <a:latin typeface="+mj-ea"/>
                <a:ea typeface="+mj-ea"/>
              </a:rPr>
              <a:t>推广费</a:t>
            </a:r>
            <a:r>
              <a:rPr lang="en-US" altLang="zh-CN" sz="1200">
                <a:latin typeface="+mj-ea"/>
                <a:ea typeface="+mj-ea"/>
              </a:rPr>
              <a:t>PTP</a:t>
            </a:r>
            <a:r>
              <a:rPr lang="zh-CN" altLang="en-US" sz="1200">
                <a:latin typeface="+mj-ea"/>
                <a:ea typeface="+mj-ea"/>
              </a:rPr>
              <a:t>流程；</a:t>
            </a:r>
            <a:endParaRPr lang="en-US" altLang="zh-CN" sz="1200">
              <a:latin typeface="+mj-ea"/>
              <a:ea typeface="+mj-ea"/>
            </a:endParaRPr>
          </a:p>
        </p:txBody>
      </p: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E55475C0-EEA7-6FC8-07A8-9B1D970C7AE3}"/>
              </a:ext>
            </a:extLst>
          </p:cNvPr>
          <p:cNvGrpSpPr/>
          <p:nvPr/>
        </p:nvGrpSpPr>
        <p:grpSpPr>
          <a:xfrm>
            <a:off x="547293" y="904656"/>
            <a:ext cx="7709724" cy="307776"/>
            <a:chOff x="393790" y="1071756"/>
            <a:chExt cx="7955080" cy="307776"/>
          </a:xfrm>
        </p:grpSpPr>
        <p:cxnSp>
          <p:nvCxnSpPr>
            <p:cNvPr id="81" name="Straight Connector 38">
              <a:extLst>
                <a:ext uri="{FF2B5EF4-FFF2-40B4-BE49-F238E27FC236}">
                  <a16:creationId xmlns:a16="http://schemas.microsoft.com/office/drawing/2014/main" id="{A2F57F02-A4EE-079F-E620-EC487EA988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790" y="1218242"/>
              <a:ext cx="7955080" cy="7402"/>
            </a:xfrm>
            <a:prstGeom prst="line">
              <a:avLst/>
            </a:prstGeom>
            <a:noFill/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diamond"/>
              <a:tailEnd type="diamond"/>
            </a:ln>
            <a:effectLst/>
          </p:spPr>
        </p:cxnSp>
        <p:sp>
          <p:nvSpPr>
            <p:cNvPr id="82" name="Rectangle 24">
              <a:extLst>
                <a:ext uri="{FF2B5EF4-FFF2-40B4-BE49-F238E27FC236}">
                  <a16:creationId xmlns:a16="http://schemas.microsoft.com/office/drawing/2014/main" id="{161D99B6-FF3E-1D66-D890-AD0BA723250A}"/>
                </a:ext>
              </a:extLst>
            </p:cNvPr>
            <p:cNvSpPr/>
            <p:nvPr/>
          </p:nvSpPr>
          <p:spPr>
            <a:xfrm>
              <a:off x="3546889" y="1071756"/>
              <a:ext cx="2103120" cy="307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r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400" b="1">
                  <a:latin typeface="Microsoft YaHei"/>
                  <a:ea typeface="Microsoft YaHei"/>
                  <a:cs typeface="Arial" panose="020B0604020202020204" pitchFamily="34" charset="0"/>
                </a:rPr>
                <a:t>推广费长</a:t>
              </a:r>
              <a:r>
                <a:rPr kumimoji="1" lang="zh-CN" altLang="en-US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YaHei"/>
                  <a:ea typeface="Microsoft YaHei"/>
                  <a:cs typeface="Arial" panose="020B0604020202020204" pitchFamily="34" charset="0"/>
                </a:rPr>
                <a:t>期方案</a:t>
              </a:r>
              <a:endParaRPr kumimoji="1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Arial" panose="020B0604020202020204" pitchFamily="34" charset="0"/>
              </a:endParaRPr>
            </a:p>
          </p:txBody>
        </p:sp>
        <p:grpSp>
          <p:nvGrpSpPr>
            <p:cNvPr id="83" name="Group 55">
              <a:extLst>
                <a:ext uri="{FF2B5EF4-FFF2-40B4-BE49-F238E27FC236}">
                  <a16:creationId xmlns:a16="http://schemas.microsoft.com/office/drawing/2014/main" id="{748F363F-598A-5DBE-07A4-E7706396C922}"/>
                </a:ext>
              </a:extLst>
            </p:cNvPr>
            <p:cNvGrpSpPr/>
            <p:nvPr/>
          </p:nvGrpSpPr>
          <p:grpSpPr>
            <a:xfrm>
              <a:off x="3432303" y="1071757"/>
              <a:ext cx="431104" cy="307775"/>
              <a:chOff x="3126173" y="1114361"/>
              <a:chExt cx="431104" cy="307775"/>
            </a:xfrm>
          </p:grpSpPr>
          <p:sp>
            <p:nvSpPr>
              <p:cNvPr id="85" name="Rectangle 49">
                <a:extLst>
                  <a:ext uri="{FF2B5EF4-FFF2-40B4-BE49-F238E27FC236}">
                    <a16:creationId xmlns:a16="http://schemas.microsoft.com/office/drawing/2014/main" id="{41959D13-B337-0497-F283-252FB5609711}"/>
                  </a:ext>
                </a:extLst>
              </p:cNvPr>
              <p:cNvSpPr/>
              <p:nvPr/>
            </p:nvSpPr>
            <p:spPr>
              <a:xfrm>
                <a:off x="3126173" y="1114361"/>
                <a:ext cx="431104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86" name="Graphic 44">
                <a:extLst>
                  <a:ext uri="{FF2B5EF4-FFF2-40B4-BE49-F238E27FC236}">
                    <a16:creationId xmlns:a16="http://schemas.microsoft.com/office/drawing/2014/main" id="{7DBEA2AB-F8B5-08BD-1641-5CCA8D47DC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204565" y="1122751"/>
                <a:ext cx="274320" cy="252882"/>
              </a:xfrm>
              <a:prstGeom prst="rect">
                <a:avLst/>
              </a:prstGeom>
            </p:spPr>
          </p:pic>
        </p:grpSp>
      </p:grpSp>
      <p:sp>
        <p:nvSpPr>
          <p:cNvPr id="99" name="Rectangle 17">
            <a:extLst>
              <a:ext uri="{FF2B5EF4-FFF2-40B4-BE49-F238E27FC236}">
                <a16:creationId xmlns:a16="http://schemas.microsoft.com/office/drawing/2014/main" id="{271B20AC-F24A-6727-E5CF-95D6D300F1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3107411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招投标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0" name="矩形 189">
            <a:extLst>
              <a:ext uri="{FF2B5EF4-FFF2-40B4-BE49-F238E27FC236}">
                <a16:creationId xmlns:a16="http://schemas.microsoft.com/office/drawing/2014/main" id="{1DA86A75-B960-2B54-8DEB-60CB24714A25}"/>
              </a:ext>
            </a:extLst>
          </p:cNvPr>
          <p:cNvSpPr/>
          <p:nvPr/>
        </p:nvSpPr>
        <p:spPr>
          <a:xfrm>
            <a:off x="540196" y="1250995"/>
            <a:ext cx="7709724" cy="5179256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81323"/>
              </a:buClr>
              <a:buSzPct val="130000"/>
              <a:tabLst/>
              <a:defRPr/>
            </a:pPr>
            <a:endParaRPr lang="en-US" altLang="zh-CN" sz="1200" b="1">
              <a:latin typeface="+mj-ea"/>
              <a:ea typeface="+mj-ea"/>
            </a:endParaRPr>
          </a:p>
        </p:txBody>
      </p:sp>
      <p:sp>
        <p:nvSpPr>
          <p:cNvPr id="109" name="Rectangle 18">
            <a:extLst>
              <a:ext uri="{FF2B5EF4-FFF2-40B4-BE49-F238E27FC236}">
                <a16:creationId xmlns:a16="http://schemas.microsoft.com/office/drawing/2014/main" id="{B7214C6E-0F32-2725-6DCC-13C740D2A0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294" y="5993378"/>
            <a:ext cx="7620018" cy="451668"/>
          </a:xfrm>
          <a:prstGeom prst="rect">
            <a:avLst/>
          </a:prstGeom>
          <a:solidFill>
            <a:srgbClr val="1084D0">
              <a:alpha val="7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vert="eaVert"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10" name="TextBox 48">
            <a:extLst>
              <a:ext uri="{FF2B5EF4-FFF2-40B4-BE49-F238E27FC236}">
                <a16:creationId xmlns:a16="http://schemas.microsoft.com/office/drawing/2014/main" id="{0246DDA4-1652-16BA-CB24-12EB02CE0D55}"/>
              </a:ext>
            </a:extLst>
          </p:cNvPr>
          <p:cNvSpPr txBox="1"/>
          <p:nvPr/>
        </p:nvSpPr>
        <p:spPr>
          <a:xfrm>
            <a:off x="403048" y="5924413"/>
            <a:ext cx="810816" cy="539323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r>
              <a:rPr lang="en-US" altLang="zh-CN" b="1">
                <a:latin typeface="+mn-ea"/>
              </a:rPr>
              <a:t>MDM</a:t>
            </a:r>
            <a:endParaRPr lang="en-US" b="1">
              <a:latin typeface="+mn-ea"/>
            </a:endParaRPr>
          </a:p>
        </p:txBody>
      </p:sp>
      <p:sp>
        <p:nvSpPr>
          <p:cNvPr id="112" name="Rectangle 17">
            <a:extLst>
              <a:ext uri="{FF2B5EF4-FFF2-40B4-BE49-F238E27FC236}">
                <a16:creationId xmlns:a16="http://schemas.microsoft.com/office/drawing/2014/main" id="{044A6CA2-F78F-5A2B-40C5-F01A38F76C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2443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5" name="Rectangle 17">
            <a:extLst>
              <a:ext uri="{FF2B5EF4-FFF2-40B4-BE49-F238E27FC236}">
                <a16:creationId xmlns:a16="http://schemas.microsoft.com/office/drawing/2014/main" id="{803B49B9-0E73-5981-A97B-828E591DA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1766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产品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7" name="Rectangle 17">
            <a:extLst>
              <a:ext uri="{FF2B5EF4-FFF2-40B4-BE49-F238E27FC236}">
                <a16:creationId xmlns:a16="http://schemas.microsoft.com/office/drawing/2014/main" id="{1C799E89-17D7-50FB-1171-1AFCD878F2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9057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账户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8" name="Rectangle 17">
            <a:extLst>
              <a:ext uri="{FF2B5EF4-FFF2-40B4-BE49-F238E27FC236}">
                <a16:creationId xmlns:a16="http://schemas.microsoft.com/office/drawing/2014/main" id="{B6EBD142-5AB5-D181-5E4B-F84EDA2602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1089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渠道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2" name="Rectangle 17">
            <a:extLst>
              <a:ext uri="{FF2B5EF4-FFF2-40B4-BE49-F238E27FC236}">
                <a16:creationId xmlns:a16="http://schemas.microsoft.com/office/drawing/2014/main" id="{5B2D1DA8-90A9-F18E-DCE7-167B3FFDB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0412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区域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31B18FA-C95D-A60F-6F16-3909EB323A57}"/>
              </a:ext>
            </a:extLst>
          </p:cNvPr>
          <p:cNvGrpSpPr/>
          <p:nvPr/>
        </p:nvGrpSpPr>
        <p:grpSpPr>
          <a:xfrm>
            <a:off x="3568064" y="1330018"/>
            <a:ext cx="4660258" cy="1171566"/>
            <a:chOff x="3556042" y="4752847"/>
            <a:chExt cx="4660258" cy="1171566"/>
          </a:xfrm>
        </p:grpSpPr>
        <p:sp>
          <p:nvSpPr>
            <p:cNvPr id="39" name="Rectangle 18">
              <a:extLst>
                <a:ext uri="{FF2B5EF4-FFF2-40B4-BE49-F238E27FC236}">
                  <a16:creationId xmlns:a16="http://schemas.microsoft.com/office/drawing/2014/main" id="{4A70E0A0-4235-4403-740C-184A310DFD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8835" y="4753091"/>
              <a:ext cx="1707465" cy="551865"/>
            </a:xfrm>
            <a:prstGeom prst="rect">
              <a:avLst/>
            </a:prstGeom>
            <a:solidFill>
              <a:srgbClr val="E8EDF8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OA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69" name="Rectangle 84">
              <a:extLst>
                <a:ext uri="{FF2B5EF4-FFF2-40B4-BE49-F238E27FC236}">
                  <a16:creationId xmlns:a16="http://schemas.microsoft.com/office/drawing/2014/main" id="{2847C21F-6D23-FDA6-BD19-5B638FC571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3502" y="4999158"/>
              <a:ext cx="1052335" cy="255387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立项审批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44" name="Rectangle 18">
              <a:extLst>
                <a:ext uri="{FF2B5EF4-FFF2-40B4-BE49-F238E27FC236}">
                  <a16:creationId xmlns:a16="http://schemas.microsoft.com/office/drawing/2014/main" id="{62D3B640-4A90-B350-049B-3E2334A461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6042" y="4752847"/>
              <a:ext cx="2812164" cy="1171566"/>
            </a:xfrm>
            <a:prstGeom prst="rect">
              <a:avLst/>
            </a:prstGeom>
            <a:solidFill>
              <a:srgbClr val="F2F2F2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MPM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26" name="Rectangle 50">
              <a:extLst>
                <a:ext uri="{FF2B5EF4-FFF2-40B4-BE49-F238E27FC236}">
                  <a16:creationId xmlns:a16="http://schemas.microsoft.com/office/drawing/2014/main" id="{ACE84A0D-155F-43A8-8A57-79E56688D5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5939" y="5432543"/>
              <a:ext cx="1008000" cy="360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项目结项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4" name="Rectangle 17">
              <a:extLst>
                <a:ext uri="{FF2B5EF4-FFF2-40B4-BE49-F238E27FC236}">
                  <a16:creationId xmlns:a16="http://schemas.microsoft.com/office/drawing/2014/main" id="{55054CB2-60FD-98A9-5029-40AF50469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4552" y="4981203"/>
              <a:ext cx="1008000" cy="360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项目立项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5" name="Rectangle 17">
              <a:extLst>
                <a:ext uri="{FF2B5EF4-FFF2-40B4-BE49-F238E27FC236}">
                  <a16:creationId xmlns:a16="http://schemas.microsoft.com/office/drawing/2014/main" id="{9860A6DF-5C68-C31A-94E8-8A78C161F1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4552" y="5452808"/>
              <a:ext cx="1008000" cy="360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项目计划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4" name="箭头: 右 3">
            <a:extLst>
              <a:ext uri="{FF2B5EF4-FFF2-40B4-BE49-F238E27FC236}">
                <a16:creationId xmlns:a16="http://schemas.microsoft.com/office/drawing/2014/main" id="{F2744372-ED7F-C1E4-437F-42D7D85A9001}"/>
              </a:ext>
            </a:extLst>
          </p:cNvPr>
          <p:cNvSpPr/>
          <p:nvPr/>
        </p:nvSpPr>
        <p:spPr>
          <a:xfrm rot="16200000">
            <a:off x="2560056" y="584056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箭头: 右 24">
            <a:extLst>
              <a:ext uri="{FF2B5EF4-FFF2-40B4-BE49-F238E27FC236}">
                <a16:creationId xmlns:a16="http://schemas.microsoft.com/office/drawing/2014/main" id="{044EF3B8-075C-AF5D-0B11-A2A6F2C2A623}"/>
              </a:ext>
            </a:extLst>
          </p:cNvPr>
          <p:cNvSpPr/>
          <p:nvPr/>
        </p:nvSpPr>
        <p:spPr>
          <a:xfrm rot="16200000">
            <a:off x="6226357" y="583362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箭头: 右 50">
            <a:extLst>
              <a:ext uri="{FF2B5EF4-FFF2-40B4-BE49-F238E27FC236}">
                <a16:creationId xmlns:a16="http://schemas.microsoft.com/office/drawing/2014/main" id="{94AE6377-D923-D7E4-77F4-E910CEC12EB6}"/>
              </a:ext>
            </a:extLst>
          </p:cNvPr>
          <p:cNvSpPr/>
          <p:nvPr/>
        </p:nvSpPr>
        <p:spPr>
          <a:xfrm rot="10800000">
            <a:off x="3427100" y="5309099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箭头: 右 52">
            <a:extLst>
              <a:ext uri="{FF2B5EF4-FFF2-40B4-BE49-F238E27FC236}">
                <a16:creationId xmlns:a16="http://schemas.microsoft.com/office/drawing/2014/main" id="{9D717655-90B3-B672-A51F-CBDA17DAEAC8}"/>
              </a:ext>
            </a:extLst>
          </p:cNvPr>
          <p:cNvSpPr/>
          <p:nvPr/>
        </p:nvSpPr>
        <p:spPr>
          <a:xfrm>
            <a:off x="3435026" y="489940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Rectangle 30">
            <a:extLst>
              <a:ext uri="{FF2B5EF4-FFF2-40B4-BE49-F238E27FC236}">
                <a16:creationId xmlns:a16="http://schemas.microsoft.com/office/drawing/2014/main" id="{5C039F13-0454-07BF-6A56-3A3BEC837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237" y="1558240"/>
            <a:ext cx="1008000" cy="360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费用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4" name="箭头: 右 53">
            <a:extLst>
              <a:ext uri="{FF2B5EF4-FFF2-40B4-BE49-F238E27FC236}">
                <a16:creationId xmlns:a16="http://schemas.microsoft.com/office/drawing/2014/main" id="{54B97630-6241-36C2-FFE8-A75A6011F381}"/>
              </a:ext>
            </a:extLst>
          </p:cNvPr>
          <p:cNvSpPr/>
          <p:nvPr/>
        </p:nvSpPr>
        <p:spPr>
          <a:xfrm>
            <a:off x="3428139" y="358096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箭头: 右 56">
            <a:extLst>
              <a:ext uri="{FF2B5EF4-FFF2-40B4-BE49-F238E27FC236}">
                <a16:creationId xmlns:a16="http://schemas.microsoft.com/office/drawing/2014/main" id="{0D8ACFED-24A3-854F-7A43-37B500AEA3B7}"/>
              </a:ext>
            </a:extLst>
          </p:cNvPr>
          <p:cNvSpPr/>
          <p:nvPr/>
        </p:nvSpPr>
        <p:spPr>
          <a:xfrm rot="10800000">
            <a:off x="3421253" y="4058554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7" name="箭头: 右 66">
            <a:extLst>
              <a:ext uri="{FF2B5EF4-FFF2-40B4-BE49-F238E27FC236}">
                <a16:creationId xmlns:a16="http://schemas.microsoft.com/office/drawing/2014/main" id="{7F551EA3-7122-523E-54D1-33A217CD05DC}"/>
              </a:ext>
            </a:extLst>
          </p:cNvPr>
          <p:cNvSpPr/>
          <p:nvPr/>
        </p:nvSpPr>
        <p:spPr>
          <a:xfrm rot="5400000">
            <a:off x="4681815" y="4294123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Rectangle 157">
            <a:extLst>
              <a:ext uri="{FF2B5EF4-FFF2-40B4-BE49-F238E27FC236}">
                <a16:creationId xmlns:a16="http://schemas.microsoft.com/office/drawing/2014/main" id="{DEDDEE1E-CA50-A531-01DC-E660B780AE73}"/>
              </a:ext>
            </a:extLst>
          </p:cNvPr>
          <p:cNvSpPr/>
          <p:nvPr/>
        </p:nvSpPr>
        <p:spPr>
          <a:xfrm>
            <a:off x="603619" y="1297926"/>
            <a:ext cx="2879645" cy="4617668"/>
          </a:xfrm>
          <a:prstGeom prst="rect">
            <a:avLst/>
          </a:prstGeom>
          <a:solidFill>
            <a:srgbClr val="42BDFF">
              <a:alpha val="34902"/>
            </a:srgbClr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待建设</a:t>
            </a:r>
            <a:r>
              <a:rPr lang="zh-CN" altLang="en-US" sz="1600" b="1">
                <a:solidFill>
                  <a:srgbClr val="FF0000"/>
                </a:solidFill>
                <a:latin typeface="Microsoft YaHei"/>
                <a:ea typeface="Microsoft YaHei"/>
              </a:rPr>
              <a:t>对推广费的采购支持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7" name="Rectangle 157">
            <a:extLst>
              <a:ext uri="{FF2B5EF4-FFF2-40B4-BE49-F238E27FC236}">
                <a16:creationId xmlns:a16="http://schemas.microsoft.com/office/drawing/2014/main" id="{C80B02E7-1180-234E-F2F3-E33C44A47D52}"/>
              </a:ext>
            </a:extLst>
          </p:cNvPr>
          <p:cNvSpPr/>
          <p:nvPr/>
        </p:nvSpPr>
        <p:spPr>
          <a:xfrm>
            <a:off x="4983314" y="1542502"/>
            <a:ext cx="1246892" cy="413898"/>
          </a:xfrm>
          <a:prstGeom prst="rect">
            <a:avLst/>
          </a:prstGeom>
          <a:solidFill>
            <a:srgbClr val="42BDFF">
              <a:alpha val="34902"/>
            </a:srgbClr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功能逐步建设中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68" name="Rectangle 5">
            <a:extLst>
              <a:ext uri="{FF2B5EF4-FFF2-40B4-BE49-F238E27FC236}">
                <a16:creationId xmlns:a16="http://schemas.microsoft.com/office/drawing/2014/main" id="{F4278DE9-3955-53EB-9783-BF9CF760E40D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D8E1593-11E0-54C5-E190-C88203F0DDB6}"/>
              </a:ext>
            </a:extLst>
          </p:cNvPr>
          <p:cNvGrpSpPr/>
          <p:nvPr/>
        </p:nvGrpSpPr>
        <p:grpSpPr>
          <a:xfrm>
            <a:off x="3590106" y="2593994"/>
            <a:ext cx="4589228" cy="1780562"/>
            <a:chOff x="3552331" y="1259687"/>
            <a:chExt cx="4589228" cy="1780562"/>
          </a:xfrm>
        </p:grpSpPr>
        <p:sp>
          <p:nvSpPr>
            <p:cNvPr id="40" name="Rectangle 18">
              <a:extLst>
                <a:ext uri="{FF2B5EF4-FFF2-40B4-BE49-F238E27FC236}">
                  <a16:creationId xmlns:a16="http://schemas.microsoft.com/office/drawing/2014/main" id="{FBD981CB-3606-A850-645B-4404AB7FD3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2331" y="1265723"/>
              <a:ext cx="2484924" cy="1774526"/>
            </a:xfrm>
            <a:prstGeom prst="rect">
              <a:avLst/>
            </a:prstGeom>
            <a:solidFill>
              <a:srgbClr val="E8EDF8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FSSC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38" name="Rectangle 84">
              <a:extLst>
                <a:ext uri="{FF2B5EF4-FFF2-40B4-BE49-F238E27FC236}">
                  <a16:creationId xmlns:a16="http://schemas.microsoft.com/office/drawing/2014/main" id="{79517A75-9E37-67DD-ED9E-E12247BF27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1962" y="1749680"/>
              <a:ext cx="1080000" cy="432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提出付款申请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41" name="Rectangle 85">
              <a:extLst>
                <a:ext uri="{FF2B5EF4-FFF2-40B4-BE49-F238E27FC236}">
                  <a16:creationId xmlns:a16="http://schemas.microsoft.com/office/drawing/2014/main" id="{98B473A6-18A4-B43F-F7A3-3761F6CCE6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2619" y="1749680"/>
              <a:ext cx="1080000" cy="432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通知银行付款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（银企直连）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14" name="Rectangle 85">
              <a:extLst>
                <a:ext uri="{FF2B5EF4-FFF2-40B4-BE49-F238E27FC236}">
                  <a16:creationId xmlns:a16="http://schemas.microsoft.com/office/drawing/2014/main" id="{552D9B66-B4AD-4B1E-1599-38BC2BFD28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1962" y="2290415"/>
              <a:ext cx="1080000" cy="400993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银行付款确认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（银企直连）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9" name="Rectangle 18">
              <a:extLst>
                <a:ext uri="{FF2B5EF4-FFF2-40B4-BE49-F238E27FC236}">
                  <a16:creationId xmlns:a16="http://schemas.microsoft.com/office/drawing/2014/main" id="{B4EF6349-EE03-70D9-ACF7-177C20A70F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565" y="1259687"/>
              <a:ext cx="1890994" cy="1756866"/>
            </a:xfrm>
            <a:prstGeom prst="rect">
              <a:avLst/>
            </a:prstGeom>
            <a:solidFill>
              <a:srgbClr val="C5D3ED">
                <a:alpha val="40000"/>
              </a:srgbClr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资金管理平台</a:t>
              </a:r>
            </a:p>
          </p:txBody>
        </p:sp>
        <p:sp>
          <p:nvSpPr>
            <p:cNvPr id="151" name="Rectangle 84">
              <a:extLst>
                <a:ext uri="{FF2B5EF4-FFF2-40B4-BE49-F238E27FC236}">
                  <a16:creationId xmlns:a16="http://schemas.microsoft.com/office/drawing/2014/main" id="{FD2E0028-496C-8CC8-531C-52B0D5AEAA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5069" y="1728336"/>
              <a:ext cx="1080000" cy="432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资金支付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66" name="箭头: 右 65">
              <a:extLst>
                <a:ext uri="{FF2B5EF4-FFF2-40B4-BE49-F238E27FC236}">
                  <a16:creationId xmlns:a16="http://schemas.microsoft.com/office/drawing/2014/main" id="{2A49D86E-3EBE-CF96-571C-4C9A1CF28EAF}"/>
                </a:ext>
              </a:extLst>
            </p:cNvPr>
            <p:cNvSpPr/>
            <p:nvPr/>
          </p:nvSpPr>
          <p:spPr>
            <a:xfrm>
              <a:off x="6090261" y="1792125"/>
              <a:ext cx="125518" cy="232240"/>
            </a:xfrm>
            <a:prstGeom prst="rightArrow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" name="Rectangle 84">
              <a:extLst>
                <a:ext uri="{FF2B5EF4-FFF2-40B4-BE49-F238E27FC236}">
                  <a16:creationId xmlns:a16="http://schemas.microsoft.com/office/drawing/2014/main" id="{B5C92738-CBB4-A183-69DB-561E291B3B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8149" y="2290415"/>
              <a:ext cx="1080000" cy="432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回单确认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71" name="Oval 510">
            <a:extLst>
              <a:ext uri="{FF2B5EF4-FFF2-40B4-BE49-F238E27FC236}">
                <a16:creationId xmlns:a16="http://schemas.microsoft.com/office/drawing/2014/main" id="{7F1D12B8-7BBB-7570-3A11-549195A3243A}"/>
              </a:ext>
            </a:extLst>
          </p:cNvPr>
          <p:cNvSpPr/>
          <p:nvPr/>
        </p:nvSpPr>
        <p:spPr>
          <a:xfrm>
            <a:off x="1347657" y="1244940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1</a:t>
            </a:r>
          </a:p>
        </p:txBody>
      </p:sp>
      <p:sp>
        <p:nvSpPr>
          <p:cNvPr id="72" name="Oval 510">
            <a:extLst>
              <a:ext uri="{FF2B5EF4-FFF2-40B4-BE49-F238E27FC236}">
                <a16:creationId xmlns:a16="http://schemas.microsoft.com/office/drawing/2014/main" id="{73BE0095-B33D-CE3C-8AE5-953BB91FD4CE}"/>
              </a:ext>
            </a:extLst>
          </p:cNvPr>
          <p:cNvSpPr/>
          <p:nvPr/>
        </p:nvSpPr>
        <p:spPr>
          <a:xfrm>
            <a:off x="4806905" y="1481439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2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DB22AF5-BAC5-902E-F5C8-B86B603DE846}"/>
              </a:ext>
            </a:extLst>
          </p:cNvPr>
          <p:cNvSpPr txBox="1"/>
          <p:nvPr/>
        </p:nvSpPr>
        <p:spPr>
          <a:xfrm>
            <a:off x="3709423" y="4831538"/>
            <a:ext cx="1008000" cy="360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服务主数据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1AC2D51-2161-8661-1945-3EE380E4E1BA}"/>
              </a:ext>
            </a:extLst>
          </p:cNvPr>
          <p:cNvSpPr txBox="1"/>
          <p:nvPr/>
        </p:nvSpPr>
        <p:spPr>
          <a:xfrm>
            <a:off x="3709423" y="5328629"/>
            <a:ext cx="1008000" cy="360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申请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A84FDE8-FCF8-2DF5-B5BF-6A5DCD206B12}"/>
              </a:ext>
            </a:extLst>
          </p:cNvPr>
          <p:cNvSpPr txBox="1"/>
          <p:nvPr/>
        </p:nvSpPr>
        <p:spPr>
          <a:xfrm>
            <a:off x="5183489" y="5306998"/>
            <a:ext cx="1008000" cy="360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服务确认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C112D3C-A170-C5DA-72CE-C6599B5C9BA0}"/>
              </a:ext>
            </a:extLst>
          </p:cNvPr>
          <p:cNvSpPr txBox="1"/>
          <p:nvPr/>
        </p:nvSpPr>
        <p:spPr>
          <a:xfrm>
            <a:off x="6631865" y="5318704"/>
            <a:ext cx="1008000" cy="360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往来管理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DE2A1E0-4BD9-F0F2-A8BB-B3E97ECBBB14}"/>
              </a:ext>
            </a:extLst>
          </p:cNvPr>
          <p:cNvSpPr txBox="1"/>
          <p:nvPr/>
        </p:nvSpPr>
        <p:spPr>
          <a:xfrm>
            <a:off x="5205782" y="4841118"/>
            <a:ext cx="1008000" cy="360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订单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94C7ED8-678D-FE15-F153-7B7A84033A2B}"/>
              </a:ext>
            </a:extLst>
          </p:cNvPr>
          <p:cNvSpPr txBox="1"/>
          <p:nvPr/>
        </p:nvSpPr>
        <p:spPr>
          <a:xfrm>
            <a:off x="6631865" y="4841118"/>
            <a:ext cx="1008000" cy="360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发票校验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9" name="箭头: 右 58">
            <a:extLst>
              <a:ext uri="{FF2B5EF4-FFF2-40B4-BE49-F238E27FC236}">
                <a16:creationId xmlns:a16="http://schemas.microsoft.com/office/drawing/2014/main" id="{100F6A83-0C25-7843-96C1-E74EA2F6037E}"/>
              </a:ext>
            </a:extLst>
          </p:cNvPr>
          <p:cNvSpPr/>
          <p:nvPr/>
        </p:nvSpPr>
        <p:spPr>
          <a:xfrm rot="16200000">
            <a:off x="5107891" y="580843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箭头: 右 59">
            <a:extLst>
              <a:ext uri="{FF2B5EF4-FFF2-40B4-BE49-F238E27FC236}">
                <a16:creationId xmlns:a16="http://schemas.microsoft.com/office/drawing/2014/main" id="{1A362634-49F4-A8B3-4DB5-FB431F2F8AC6}"/>
              </a:ext>
            </a:extLst>
          </p:cNvPr>
          <p:cNvSpPr/>
          <p:nvPr/>
        </p:nvSpPr>
        <p:spPr>
          <a:xfrm>
            <a:off x="6396565" y="164988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箭头: 右 60">
            <a:extLst>
              <a:ext uri="{FF2B5EF4-FFF2-40B4-BE49-F238E27FC236}">
                <a16:creationId xmlns:a16="http://schemas.microsoft.com/office/drawing/2014/main" id="{3BC0909C-192F-24F4-4945-CCD30F696A08}"/>
              </a:ext>
            </a:extLst>
          </p:cNvPr>
          <p:cNvSpPr/>
          <p:nvPr/>
        </p:nvSpPr>
        <p:spPr>
          <a:xfrm rot="16200000">
            <a:off x="6762756" y="4259754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Rectangle 157">
            <a:extLst>
              <a:ext uri="{FF2B5EF4-FFF2-40B4-BE49-F238E27FC236}">
                <a16:creationId xmlns:a16="http://schemas.microsoft.com/office/drawing/2014/main" id="{4CF9433E-2310-DE83-2E19-F17CDC19CF82}"/>
              </a:ext>
            </a:extLst>
          </p:cNvPr>
          <p:cNvSpPr/>
          <p:nvPr/>
        </p:nvSpPr>
        <p:spPr>
          <a:xfrm>
            <a:off x="3621141" y="4480662"/>
            <a:ext cx="4508918" cy="1416139"/>
          </a:xfrm>
          <a:prstGeom prst="rect">
            <a:avLst/>
          </a:prstGeom>
          <a:solidFill>
            <a:srgbClr val="42BDFF">
              <a:alpha val="34902"/>
            </a:srgbClr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待建设</a:t>
            </a:r>
            <a:r>
              <a: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PTP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对</a:t>
            </a:r>
            <a:r>
              <a:rPr lang="zh-CN" altLang="en-US" sz="1600" b="1">
                <a:solidFill>
                  <a:srgbClr val="FF0000"/>
                </a:solidFill>
                <a:latin typeface="Microsoft YaHei"/>
                <a:ea typeface="Microsoft YaHei"/>
              </a:rPr>
              <a:t>推广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费的支持</a:t>
            </a:r>
            <a:endParaRPr kumimoji="0" lang="en-US" altLang="zh-CN" sz="16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73" name="Oval 510">
            <a:extLst>
              <a:ext uri="{FF2B5EF4-FFF2-40B4-BE49-F238E27FC236}">
                <a16:creationId xmlns:a16="http://schemas.microsoft.com/office/drawing/2014/main" id="{6E65EC3F-FF48-9B95-A785-B384250A13B2}"/>
              </a:ext>
            </a:extLst>
          </p:cNvPr>
          <p:cNvSpPr/>
          <p:nvPr/>
        </p:nvSpPr>
        <p:spPr>
          <a:xfrm>
            <a:off x="5101472" y="4513484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3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6D967CCF-5E54-4443-F254-F5EF3F13B6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9735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6" name="箭头: 右 65">
            <a:extLst>
              <a:ext uri="{FF2B5EF4-FFF2-40B4-BE49-F238E27FC236}">
                <a16:creationId xmlns:a16="http://schemas.microsoft.com/office/drawing/2014/main" id="{4C993B57-5080-0E7B-CFA8-BFA96F16A9EF}"/>
              </a:ext>
            </a:extLst>
          </p:cNvPr>
          <p:cNvSpPr/>
          <p:nvPr/>
        </p:nvSpPr>
        <p:spPr>
          <a:xfrm rot="10800000">
            <a:off x="6370281" y="2042550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Rectangle 18">
            <a:extLst>
              <a:ext uri="{FF2B5EF4-FFF2-40B4-BE49-F238E27FC236}">
                <a16:creationId xmlns:a16="http://schemas.microsoft.com/office/drawing/2014/main" id="{5A40EAB2-F340-89D1-CAC7-C7EBE81A0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0857" y="1978704"/>
            <a:ext cx="1646455" cy="575959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PBF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62" name="Rectangle 84">
            <a:extLst>
              <a:ext uri="{FF2B5EF4-FFF2-40B4-BE49-F238E27FC236}">
                <a16:creationId xmlns:a16="http://schemas.microsoft.com/office/drawing/2014/main" id="{D0A540FA-02CA-2729-343D-ACD21C960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5515" y="2201331"/>
            <a:ext cx="1052335" cy="304957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推广费预算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3" name="箭头: 右 56">
            <a:extLst>
              <a:ext uri="{FF2B5EF4-FFF2-40B4-BE49-F238E27FC236}">
                <a16:creationId xmlns:a16="http://schemas.microsoft.com/office/drawing/2014/main" id="{F5ADB45B-B6B8-A873-767B-EFC33CC8D182}"/>
              </a:ext>
            </a:extLst>
          </p:cNvPr>
          <p:cNvSpPr/>
          <p:nvPr/>
        </p:nvSpPr>
        <p:spPr>
          <a:xfrm rot="10800000">
            <a:off x="6105148" y="374782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箭头: 右 65">
            <a:extLst>
              <a:ext uri="{FF2B5EF4-FFF2-40B4-BE49-F238E27FC236}">
                <a16:creationId xmlns:a16="http://schemas.microsoft.com/office/drawing/2014/main" id="{2A965560-C7FE-0349-B0AF-F5D940B2390B}"/>
              </a:ext>
            </a:extLst>
          </p:cNvPr>
          <p:cNvSpPr/>
          <p:nvPr/>
        </p:nvSpPr>
        <p:spPr>
          <a:xfrm rot="10800000">
            <a:off x="3487990" y="1859883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箭头: 右 66">
            <a:extLst>
              <a:ext uri="{FF2B5EF4-FFF2-40B4-BE49-F238E27FC236}">
                <a16:creationId xmlns:a16="http://schemas.microsoft.com/office/drawing/2014/main" id="{171328AC-8B28-0B9D-5301-DED210D9941C}"/>
              </a:ext>
            </a:extLst>
          </p:cNvPr>
          <p:cNvSpPr/>
          <p:nvPr/>
        </p:nvSpPr>
        <p:spPr>
          <a:xfrm rot="5400000">
            <a:off x="4496330" y="2426113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箭头: 右 60">
            <a:extLst>
              <a:ext uri="{FF2B5EF4-FFF2-40B4-BE49-F238E27FC236}">
                <a16:creationId xmlns:a16="http://schemas.microsoft.com/office/drawing/2014/main" id="{EC2AF732-5463-12C5-569C-B0DFD96B09C8}"/>
              </a:ext>
            </a:extLst>
          </p:cNvPr>
          <p:cNvSpPr/>
          <p:nvPr/>
        </p:nvSpPr>
        <p:spPr>
          <a:xfrm rot="16200000">
            <a:off x="5127154" y="243220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013503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18">
            <a:extLst>
              <a:ext uri="{FF2B5EF4-FFF2-40B4-BE49-F238E27FC236}">
                <a16:creationId xmlns:a16="http://schemas.microsoft.com/office/drawing/2014/main" id="{63B4EB4D-803B-B99B-F427-61856A1A59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4356" y="2666524"/>
            <a:ext cx="4622927" cy="1416139"/>
          </a:xfrm>
          <a:prstGeom prst="rect">
            <a:avLst/>
          </a:prstGeom>
          <a:solidFill>
            <a:srgbClr val="C0E9FF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AP ERP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10984A-1973-E074-373C-41FA2BFB49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0195" y="1250994"/>
            <a:ext cx="2933181" cy="4659949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R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8" name="Rectangle 18">
            <a:extLst>
              <a:ext uri="{FF2B5EF4-FFF2-40B4-BE49-F238E27FC236}">
                <a16:creationId xmlns:a16="http://schemas.microsoft.com/office/drawing/2014/main" id="{404DBAC2-18F7-7509-B24D-258FC79C2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1500071"/>
            <a:ext cx="2451610" cy="949673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管理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3E9A57-CB75-5562-65AA-BBEC656EC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03430" y="6445055"/>
            <a:ext cx="585140" cy="232752"/>
          </a:xfrm>
        </p:spPr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26</a:t>
            </a:fld>
            <a:endParaRPr kumimoji="1" lang="zh-CN" alt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351361-B5FC-3B4C-93C7-23720EA4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10282312" cy="706293"/>
          </a:xfrm>
        </p:spPr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长期系统方案：对大额推广费立项项目搭建</a:t>
            </a:r>
            <a:r>
              <a:rPr lang="en-US" altLang="zh-CN"/>
              <a:t>PTP</a:t>
            </a:r>
            <a:r>
              <a:rPr lang="zh-CN" altLang="en-US"/>
              <a:t>系统流程，实现及时自动核算多维度推广费核算及分摊；</a:t>
            </a:r>
            <a:endParaRPr lang="en-US"/>
          </a:p>
        </p:txBody>
      </p:sp>
      <p:sp>
        <p:nvSpPr>
          <p:cNvPr id="16" name="Rectangle 18">
            <a:extLst>
              <a:ext uri="{FF2B5EF4-FFF2-40B4-BE49-F238E27FC236}">
                <a16:creationId xmlns:a16="http://schemas.microsoft.com/office/drawing/2014/main" id="{E26698F4-350E-C049-E5A1-A718B51A9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1766505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准入</a:t>
            </a:r>
          </a:p>
        </p:txBody>
      </p:sp>
      <p:sp>
        <p:nvSpPr>
          <p:cNvPr id="103" name="Rectangle 30">
            <a:extLst>
              <a:ext uri="{FF2B5EF4-FFF2-40B4-BE49-F238E27FC236}">
                <a16:creationId xmlns:a16="http://schemas.microsoft.com/office/drawing/2014/main" id="{9A73E786-6CEC-FA2E-31C5-1EC4AC4A38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8815" y="1766007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0" name="Rectangle 18">
            <a:extLst>
              <a:ext uri="{FF2B5EF4-FFF2-40B4-BE49-F238E27FC236}">
                <a16:creationId xmlns:a16="http://schemas.microsoft.com/office/drawing/2014/main" id="{8215F382-68BB-1B97-CCAA-840E1E959B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2532178"/>
            <a:ext cx="2451610" cy="929695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寻源协同</a:t>
            </a:r>
          </a:p>
        </p:txBody>
      </p:sp>
      <p:sp>
        <p:nvSpPr>
          <p:cNvPr id="293" name="Rectangle 17">
            <a:extLst>
              <a:ext uri="{FF2B5EF4-FFF2-40B4-BE49-F238E27FC236}">
                <a16:creationId xmlns:a16="http://schemas.microsoft.com/office/drawing/2014/main" id="{1D3F46A8-6AEA-A772-BC95-CC446FDE02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275234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询报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5725C3B3-43B9-537F-C7B6-625F0AE8E3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8815" y="275234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竞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3" name="Rectangle 18">
            <a:extLst>
              <a:ext uri="{FF2B5EF4-FFF2-40B4-BE49-F238E27FC236}">
                <a16:creationId xmlns:a16="http://schemas.microsoft.com/office/drawing/2014/main" id="{542C84DF-0CFC-603E-8CE0-FE2C218111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3544307"/>
            <a:ext cx="2451610" cy="717534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合同管理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A6E260C3-8A19-6E3B-53B3-51E1DD373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4382529"/>
            <a:ext cx="2451610" cy="717534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订单履行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0D9DE54B-B5AC-44E7-593C-AA89FD48D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5182193"/>
            <a:ext cx="2451610" cy="659785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财务协同</a:t>
            </a: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D3852551-1543-EC05-EBF5-F7FB94D8B0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205" y="5419574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结算单对账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7E31F183-EB64-54BF-4381-1DC44EFD0C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8682" y="5421926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发票上传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审核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44136927-858F-6DA3-98D9-F71401917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383276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年框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B7316411-D4C5-299C-1622-5F54EC5A98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8815" y="383276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6DC6D3BB-3AAF-C52A-02D2-5DCB03804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467874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186652DF-610C-F1BF-04ED-DD93B0BC4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8682" y="4684674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7" name="Rectangle 18">
            <a:extLst>
              <a:ext uri="{FF2B5EF4-FFF2-40B4-BE49-F238E27FC236}">
                <a16:creationId xmlns:a16="http://schemas.microsoft.com/office/drawing/2014/main" id="{6278E8FF-BB7D-DCA7-2BF6-971FBC8C52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2116946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绩效考核</a:t>
            </a:r>
          </a:p>
        </p:txBody>
      </p: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09FC2D6D-FC1A-E7EA-44DB-BD5B54CFE610}"/>
              </a:ext>
            </a:extLst>
          </p:cNvPr>
          <p:cNvGrpSpPr/>
          <p:nvPr/>
        </p:nvGrpSpPr>
        <p:grpSpPr>
          <a:xfrm>
            <a:off x="8484608" y="866137"/>
            <a:ext cx="3160099" cy="313175"/>
            <a:chOff x="10133105" y="1104727"/>
            <a:chExt cx="2058895" cy="313175"/>
          </a:xfrm>
        </p:grpSpPr>
        <p:grpSp>
          <p:nvGrpSpPr>
            <p:cNvPr id="47" name="Group 63">
              <a:extLst>
                <a:ext uri="{FF2B5EF4-FFF2-40B4-BE49-F238E27FC236}">
                  <a16:creationId xmlns:a16="http://schemas.microsoft.com/office/drawing/2014/main" id="{FF07DC3E-8926-7696-EFE5-9C8B8A49AFD5}"/>
                </a:ext>
              </a:extLst>
            </p:cNvPr>
            <p:cNvGrpSpPr/>
            <p:nvPr/>
          </p:nvGrpSpPr>
          <p:grpSpPr>
            <a:xfrm>
              <a:off x="10133105" y="1104727"/>
              <a:ext cx="2058895" cy="313175"/>
              <a:chOff x="9344415" y="1038841"/>
              <a:chExt cx="2551176" cy="313175"/>
            </a:xfrm>
          </p:grpSpPr>
          <p:cxnSp>
            <p:nvCxnSpPr>
              <p:cNvPr id="48" name="Straight Connector 38">
                <a:extLst>
                  <a:ext uri="{FF2B5EF4-FFF2-40B4-BE49-F238E27FC236}">
                    <a16:creationId xmlns:a16="http://schemas.microsoft.com/office/drawing/2014/main" id="{A4AB9685-F160-7599-DDB2-7C31B65E8C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44415" y="1225644"/>
                <a:ext cx="2551176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 type="diamond"/>
                <a:tailEnd type="diamond"/>
              </a:ln>
              <a:effectLst/>
            </p:spPr>
          </p:cxnSp>
          <p:sp>
            <p:nvSpPr>
              <p:cNvPr id="50" name="TextBox 39">
                <a:extLst>
                  <a:ext uri="{FF2B5EF4-FFF2-40B4-BE49-F238E27FC236}">
                    <a16:creationId xmlns:a16="http://schemas.microsoft.com/office/drawing/2014/main" id="{60FC412D-CA07-B12E-2A4E-460DD39CBF79}"/>
                  </a:ext>
                </a:extLst>
              </p:cNvPr>
              <p:cNvSpPr txBox="1"/>
              <p:nvPr/>
            </p:nvSpPr>
            <p:spPr>
              <a:xfrm>
                <a:off x="10193126" y="1038841"/>
                <a:ext cx="1115431" cy="307777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1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Times New Roman"/>
                    <a:ea typeface="Microsoft YaHei"/>
                    <a:cs typeface="+mn-cs"/>
                  </a:rPr>
                  <a:t>现状</a:t>
                </a:r>
                <a:r>
                  <a:rPr lang="en-US" altLang="zh-CN" sz="1400" b="1" kern="0">
                    <a:latin typeface="Times New Roman"/>
                    <a:ea typeface="Microsoft YaHei"/>
                  </a:rPr>
                  <a:t>/</a:t>
                </a:r>
                <a:r>
                  <a:rPr lang="zh-CN" altLang="en-US" sz="1400" b="1" kern="0">
                    <a:latin typeface="Times New Roman"/>
                    <a:ea typeface="Microsoft YaHei"/>
                  </a:rPr>
                  <a:t>提升方向</a:t>
                </a:r>
                <a:endParaRPr kumimoji="0" lang="zh-CN" altLang="en-US" sz="1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Times New Roman"/>
                  <a:ea typeface="Microsoft YaHei"/>
                  <a:cs typeface="+mn-cs"/>
                </a:endParaRPr>
              </a:p>
            </p:txBody>
          </p:sp>
          <p:sp>
            <p:nvSpPr>
              <p:cNvPr id="52" name="Rectangle 59">
                <a:extLst>
                  <a:ext uri="{FF2B5EF4-FFF2-40B4-BE49-F238E27FC236}">
                    <a16:creationId xmlns:a16="http://schemas.microsoft.com/office/drawing/2014/main" id="{7EBFF4C7-AE2C-5CD4-9F05-11FCAFA30191}"/>
                  </a:ext>
                </a:extLst>
              </p:cNvPr>
              <p:cNvSpPr/>
              <p:nvPr/>
            </p:nvSpPr>
            <p:spPr>
              <a:xfrm>
                <a:off x="9966693" y="1044241"/>
                <a:ext cx="253249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</p:grpSp>
        <p:pic>
          <p:nvPicPr>
            <p:cNvPr id="55" name="Graphic 66">
              <a:extLst>
                <a:ext uri="{FF2B5EF4-FFF2-40B4-BE49-F238E27FC236}">
                  <a16:creationId xmlns:a16="http://schemas.microsoft.com/office/drawing/2014/main" id="{46E33D4C-F0E4-F422-6716-A80BBCDD53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653055" y="1138070"/>
              <a:ext cx="164992" cy="256032"/>
            </a:xfrm>
            <a:prstGeom prst="rect">
              <a:avLst/>
            </a:prstGeom>
          </p:spPr>
        </p:pic>
      </p:grpSp>
      <p:sp>
        <p:nvSpPr>
          <p:cNvPr id="56" name="矩形 189">
            <a:extLst>
              <a:ext uri="{FF2B5EF4-FFF2-40B4-BE49-F238E27FC236}">
                <a16:creationId xmlns:a16="http://schemas.microsoft.com/office/drawing/2014/main" id="{C9CDC39A-79BF-9E57-BAA2-2DE9D1DAF8B3}"/>
              </a:ext>
            </a:extLst>
          </p:cNvPr>
          <p:cNvSpPr/>
          <p:nvPr/>
        </p:nvSpPr>
        <p:spPr>
          <a:xfrm>
            <a:off x="8441632" y="1250994"/>
            <a:ext cx="3210172" cy="5180286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系统现状：</a:t>
            </a:r>
            <a:endParaRPr lang="en-US" altLang="zh-CN" sz="1200" b="1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1. </a:t>
            </a:r>
            <a:r>
              <a:rPr lang="zh-CN" altLang="en-US" sz="1200" b="1">
                <a:latin typeface="+mj-ea"/>
                <a:ea typeface="+mj-ea"/>
              </a:rPr>
              <a:t>推广费计提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>
                <a:latin typeface="+mj-ea"/>
                <a:ea typeface="+mj-ea"/>
              </a:rPr>
              <a:t>FSSC</a:t>
            </a:r>
            <a:r>
              <a:rPr lang="zh-CN" altLang="en-US" sz="1200">
                <a:latin typeface="+mj-ea"/>
                <a:ea typeface="+mj-ea"/>
              </a:rPr>
              <a:t>系统中通过费用申请单计提推广费，下月全部手工冲销；</a:t>
            </a:r>
            <a:endParaRPr lang="en-US" altLang="zh-CN" sz="1200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2. </a:t>
            </a:r>
            <a:r>
              <a:rPr lang="zh-CN" altLang="en-US" sz="1200" b="1">
                <a:latin typeface="+mj-ea"/>
                <a:ea typeface="+mj-ea"/>
              </a:rPr>
              <a:t>推广费报销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>
                <a:latin typeface="+mj-ea"/>
                <a:ea typeface="+mj-ea"/>
              </a:rPr>
              <a:t>FSSC</a:t>
            </a:r>
            <a:r>
              <a:rPr lang="zh-CN" altLang="en-US" sz="1200">
                <a:latin typeface="+mj-ea"/>
                <a:ea typeface="+mj-ea"/>
              </a:rPr>
              <a:t>系统中通过费用报销单进行费用报销，无过程管控</a:t>
            </a:r>
            <a:r>
              <a:rPr lang="zh-CN" altLang="en-US" sz="1200" b="1">
                <a:latin typeface="+mj-ea"/>
                <a:ea typeface="+mj-ea"/>
              </a:rPr>
              <a:t>。</a:t>
            </a:r>
            <a:endParaRPr lang="en-US" altLang="zh-CN" sz="1200">
              <a:latin typeface="+mj-ea"/>
              <a:ea typeface="+mj-ea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提升方向：</a:t>
            </a:r>
            <a:endParaRPr lang="en-US" altLang="zh-CN" sz="1200" b="1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>
                <a:latin typeface="+mj-ea"/>
                <a:ea typeface="+mj-ea"/>
              </a:rPr>
              <a:t>搭建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SRM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</a:t>
            </a:r>
            <a:r>
              <a:rPr lang="zh-CN" altLang="en-US" sz="1200">
                <a:latin typeface="+mj-ea"/>
                <a:ea typeface="+mj-ea"/>
              </a:rPr>
              <a:t>管理推广业务供应商、寻源报价、采购合同、对账等功能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>
                <a:latin typeface="+mj-ea"/>
                <a:ea typeface="+mj-ea"/>
              </a:rPr>
              <a:t>完善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MPM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</a:t>
            </a:r>
            <a:r>
              <a:rPr lang="zh-CN" altLang="en-US" sz="1200">
                <a:latin typeface="+mj-ea"/>
                <a:ea typeface="+mj-ea"/>
              </a:rPr>
              <a:t>中项目管理功能，未来均与</a:t>
            </a:r>
            <a:r>
              <a:rPr lang="en-US" altLang="zh-CN" sz="1200">
                <a:latin typeface="+mj-ea"/>
                <a:ea typeface="+mj-ea"/>
              </a:rPr>
              <a:t>SRM</a:t>
            </a:r>
            <a:r>
              <a:rPr lang="zh-CN" altLang="en-US" sz="1200">
                <a:latin typeface="+mj-ea"/>
                <a:ea typeface="+mj-ea"/>
              </a:rPr>
              <a:t>系统和</a:t>
            </a:r>
            <a:r>
              <a:rPr lang="en-US" altLang="zh-CN" sz="1200">
                <a:latin typeface="+mj-ea"/>
                <a:ea typeface="+mj-ea"/>
              </a:rPr>
              <a:t>SAP</a:t>
            </a:r>
            <a:r>
              <a:rPr lang="zh-CN" altLang="en-US" sz="1200">
                <a:latin typeface="+mj-ea"/>
                <a:ea typeface="+mj-ea"/>
              </a:rPr>
              <a:t>系统联动，采用</a:t>
            </a:r>
            <a:r>
              <a:rPr lang="en-US" altLang="zh-CN" sz="1200">
                <a:latin typeface="+mj-ea"/>
                <a:ea typeface="+mj-ea"/>
              </a:rPr>
              <a:t>PTP</a:t>
            </a:r>
            <a:r>
              <a:rPr lang="zh-CN" altLang="en-US" sz="1200">
                <a:latin typeface="+mj-ea"/>
                <a:ea typeface="+mj-ea"/>
              </a:rPr>
              <a:t>流程管理推广费，不在手工计提推广费；检查项目预算状况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>
                <a:latin typeface="+mj-ea"/>
                <a:ea typeface="+mj-ea"/>
              </a:rPr>
              <a:t>搭建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SAP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</a:t>
            </a:r>
            <a:r>
              <a:rPr lang="zh-CN" altLang="en-US" sz="1200">
                <a:latin typeface="+mj-ea"/>
                <a:ea typeface="+mj-ea"/>
              </a:rPr>
              <a:t>推广费</a:t>
            </a:r>
            <a:r>
              <a:rPr lang="en-US" altLang="zh-CN" sz="1200">
                <a:latin typeface="+mj-ea"/>
                <a:ea typeface="+mj-ea"/>
              </a:rPr>
              <a:t>PTP</a:t>
            </a:r>
            <a:r>
              <a:rPr lang="zh-CN" altLang="en-US" sz="1200">
                <a:latin typeface="+mj-ea"/>
                <a:ea typeface="+mj-ea"/>
              </a:rPr>
              <a:t>流程；</a:t>
            </a:r>
            <a:endParaRPr lang="en-US" altLang="zh-CN" sz="1200">
              <a:latin typeface="+mj-ea"/>
              <a:ea typeface="+mj-ea"/>
            </a:endParaRPr>
          </a:p>
        </p:txBody>
      </p: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E55475C0-EEA7-6FC8-07A8-9B1D970C7AE3}"/>
              </a:ext>
            </a:extLst>
          </p:cNvPr>
          <p:cNvGrpSpPr/>
          <p:nvPr/>
        </p:nvGrpSpPr>
        <p:grpSpPr>
          <a:xfrm>
            <a:off x="547293" y="894498"/>
            <a:ext cx="7709724" cy="317934"/>
            <a:chOff x="393790" y="1061598"/>
            <a:chExt cx="7955080" cy="317934"/>
          </a:xfrm>
        </p:grpSpPr>
        <p:cxnSp>
          <p:nvCxnSpPr>
            <p:cNvPr id="81" name="Straight Connector 38">
              <a:extLst>
                <a:ext uri="{FF2B5EF4-FFF2-40B4-BE49-F238E27FC236}">
                  <a16:creationId xmlns:a16="http://schemas.microsoft.com/office/drawing/2014/main" id="{A2F57F02-A4EE-079F-E620-EC487EA988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790" y="1218242"/>
              <a:ext cx="7955080" cy="7402"/>
            </a:xfrm>
            <a:prstGeom prst="line">
              <a:avLst/>
            </a:prstGeom>
            <a:noFill/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diamond"/>
              <a:tailEnd type="diamond"/>
            </a:ln>
            <a:effectLst/>
          </p:spPr>
        </p:cxnSp>
        <p:sp>
          <p:nvSpPr>
            <p:cNvPr id="82" name="Rectangle 24">
              <a:extLst>
                <a:ext uri="{FF2B5EF4-FFF2-40B4-BE49-F238E27FC236}">
                  <a16:creationId xmlns:a16="http://schemas.microsoft.com/office/drawing/2014/main" id="{161D99B6-FF3E-1D66-D890-AD0BA723250A}"/>
                </a:ext>
              </a:extLst>
            </p:cNvPr>
            <p:cNvSpPr/>
            <p:nvPr/>
          </p:nvSpPr>
          <p:spPr>
            <a:xfrm>
              <a:off x="3603012" y="1061598"/>
              <a:ext cx="2509281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r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400" b="1">
                  <a:latin typeface="Microsoft YaHei"/>
                  <a:ea typeface="Microsoft YaHei"/>
                  <a:cs typeface="Arial" panose="020B0604020202020204" pitchFamily="34" charset="0"/>
                </a:rPr>
                <a:t>大额推广费</a:t>
              </a:r>
              <a:r>
                <a:rPr kumimoji="1" lang="en-US" altLang="zh-CN" sz="1400" b="1">
                  <a:latin typeface="Microsoft YaHei"/>
                  <a:ea typeface="Microsoft YaHei"/>
                  <a:cs typeface="Arial" panose="020B0604020202020204" pitchFamily="34" charset="0"/>
                </a:rPr>
                <a:t>PTP</a:t>
              </a:r>
              <a:r>
                <a:rPr kumimoji="1" lang="zh-CN" altLang="en-US" sz="1400" b="1">
                  <a:latin typeface="Microsoft YaHei"/>
                  <a:ea typeface="Microsoft YaHei"/>
                  <a:cs typeface="Arial" panose="020B0604020202020204" pitchFamily="34" charset="0"/>
                </a:rPr>
                <a:t>长</a:t>
              </a:r>
              <a:r>
                <a:rPr kumimoji="1" lang="zh-CN" altLang="en-US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YaHei"/>
                  <a:ea typeface="Microsoft YaHei"/>
                  <a:cs typeface="Arial" panose="020B0604020202020204" pitchFamily="34" charset="0"/>
                </a:rPr>
                <a:t>期方案</a:t>
              </a:r>
              <a:endParaRPr kumimoji="1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Arial" panose="020B0604020202020204" pitchFamily="34" charset="0"/>
              </a:endParaRPr>
            </a:p>
          </p:txBody>
        </p:sp>
        <p:grpSp>
          <p:nvGrpSpPr>
            <p:cNvPr id="83" name="Group 55">
              <a:extLst>
                <a:ext uri="{FF2B5EF4-FFF2-40B4-BE49-F238E27FC236}">
                  <a16:creationId xmlns:a16="http://schemas.microsoft.com/office/drawing/2014/main" id="{748F363F-598A-5DBE-07A4-E7706396C922}"/>
                </a:ext>
              </a:extLst>
            </p:cNvPr>
            <p:cNvGrpSpPr/>
            <p:nvPr/>
          </p:nvGrpSpPr>
          <p:grpSpPr>
            <a:xfrm>
              <a:off x="3432303" y="1071757"/>
              <a:ext cx="431104" cy="307775"/>
              <a:chOff x="3126173" y="1114361"/>
              <a:chExt cx="431104" cy="307775"/>
            </a:xfrm>
          </p:grpSpPr>
          <p:sp>
            <p:nvSpPr>
              <p:cNvPr id="85" name="Rectangle 49">
                <a:extLst>
                  <a:ext uri="{FF2B5EF4-FFF2-40B4-BE49-F238E27FC236}">
                    <a16:creationId xmlns:a16="http://schemas.microsoft.com/office/drawing/2014/main" id="{41959D13-B337-0497-F283-252FB5609711}"/>
                  </a:ext>
                </a:extLst>
              </p:cNvPr>
              <p:cNvSpPr/>
              <p:nvPr/>
            </p:nvSpPr>
            <p:spPr>
              <a:xfrm>
                <a:off x="3126173" y="1114361"/>
                <a:ext cx="431104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86" name="Graphic 44">
                <a:extLst>
                  <a:ext uri="{FF2B5EF4-FFF2-40B4-BE49-F238E27FC236}">
                    <a16:creationId xmlns:a16="http://schemas.microsoft.com/office/drawing/2014/main" id="{7DBEA2AB-F8B5-08BD-1641-5CCA8D47DC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204565" y="1122751"/>
                <a:ext cx="274320" cy="252882"/>
              </a:xfrm>
              <a:prstGeom prst="rect">
                <a:avLst/>
              </a:prstGeom>
            </p:spPr>
          </p:pic>
        </p:grpSp>
      </p:grpSp>
      <p:sp>
        <p:nvSpPr>
          <p:cNvPr id="99" name="Rectangle 17">
            <a:extLst>
              <a:ext uri="{FF2B5EF4-FFF2-40B4-BE49-F238E27FC236}">
                <a16:creationId xmlns:a16="http://schemas.microsoft.com/office/drawing/2014/main" id="{271B20AC-F24A-6727-E5CF-95D6D300F1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3107411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招投标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0" name="矩形 189">
            <a:extLst>
              <a:ext uri="{FF2B5EF4-FFF2-40B4-BE49-F238E27FC236}">
                <a16:creationId xmlns:a16="http://schemas.microsoft.com/office/drawing/2014/main" id="{1DA86A75-B960-2B54-8DEB-60CB24714A25}"/>
              </a:ext>
            </a:extLst>
          </p:cNvPr>
          <p:cNvSpPr/>
          <p:nvPr/>
        </p:nvSpPr>
        <p:spPr>
          <a:xfrm>
            <a:off x="540196" y="1250995"/>
            <a:ext cx="7709724" cy="5179256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81323"/>
              </a:buClr>
              <a:buSzPct val="130000"/>
              <a:tabLst/>
              <a:defRPr/>
            </a:pPr>
            <a:endParaRPr lang="en-US" altLang="zh-CN" sz="1200" b="1">
              <a:latin typeface="+mj-ea"/>
              <a:ea typeface="+mj-ea"/>
            </a:endParaRPr>
          </a:p>
        </p:txBody>
      </p:sp>
      <p:sp>
        <p:nvSpPr>
          <p:cNvPr id="109" name="Rectangle 18">
            <a:extLst>
              <a:ext uri="{FF2B5EF4-FFF2-40B4-BE49-F238E27FC236}">
                <a16:creationId xmlns:a16="http://schemas.microsoft.com/office/drawing/2014/main" id="{B7214C6E-0F32-2725-6DCC-13C740D2A0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294" y="5993378"/>
            <a:ext cx="7620018" cy="451668"/>
          </a:xfrm>
          <a:prstGeom prst="rect">
            <a:avLst/>
          </a:prstGeom>
          <a:solidFill>
            <a:srgbClr val="1084D0">
              <a:alpha val="7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vert="eaVert"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10" name="TextBox 48">
            <a:extLst>
              <a:ext uri="{FF2B5EF4-FFF2-40B4-BE49-F238E27FC236}">
                <a16:creationId xmlns:a16="http://schemas.microsoft.com/office/drawing/2014/main" id="{0246DDA4-1652-16BA-CB24-12EB02CE0D55}"/>
              </a:ext>
            </a:extLst>
          </p:cNvPr>
          <p:cNvSpPr txBox="1"/>
          <p:nvPr/>
        </p:nvSpPr>
        <p:spPr>
          <a:xfrm>
            <a:off x="403048" y="5924413"/>
            <a:ext cx="810816" cy="539323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r>
              <a:rPr lang="en-US" altLang="zh-CN" b="1">
                <a:latin typeface="+mn-ea"/>
              </a:rPr>
              <a:t>MDM</a:t>
            </a:r>
            <a:endParaRPr lang="en-US" b="1">
              <a:latin typeface="+mn-ea"/>
            </a:endParaRPr>
          </a:p>
        </p:txBody>
      </p:sp>
      <p:sp>
        <p:nvSpPr>
          <p:cNvPr id="112" name="Rectangle 17">
            <a:extLst>
              <a:ext uri="{FF2B5EF4-FFF2-40B4-BE49-F238E27FC236}">
                <a16:creationId xmlns:a16="http://schemas.microsoft.com/office/drawing/2014/main" id="{044A6CA2-F78F-5A2B-40C5-F01A38F76C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2443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5" name="Rectangle 17">
            <a:extLst>
              <a:ext uri="{FF2B5EF4-FFF2-40B4-BE49-F238E27FC236}">
                <a16:creationId xmlns:a16="http://schemas.microsoft.com/office/drawing/2014/main" id="{803B49B9-0E73-5981-A97B-828E591DA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1766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产品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7" name="Rectangle 17">
            <a:extLst>
              <a:ext uri="{FF2B5EF4-FFF2-40B4-BE49-F238E27FC236}">
                <a16:creationId xmlns:a16="http://schemas.microsoft.com/office/drawing/2014/main" id="{1C799E89-17D7-50FB-1171-1AFCD878F2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9057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账户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8" name="Rectangle 17">
            <a:extLst>
              <a:ext uri="{FF2B5EF4-FFF2-40B4-BE49-F238E27FC236}">
                <a16:creationId xmlns:a16="http://schemas.microsoft.com/office/drawing/2014/main" id="{B6EBD142-5AB5-D181-5E4B-F84EDA2602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1089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渠道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2" name="Rectangle 17">
            <a:extLst>
              <a:ext uri="{FF2B5EF4-FFF2-40B4-BE49-F238E27FC236}">
                <a16:creationId xmlns:a16="http://schemas.microsoft.com/office/drawing/2014/main" id="{5B2D1DA8-90A9-F18E-DCE7-167B3FFDB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0412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区域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31B18FA-C95D-A60F-6F16-3909EB323A57}"/>
              </a:ext>
            </a:extLst>
          </p:cNvPr>
          <p:cNvGrpSpPr/>
          <p:nvPr/>
        </p:nvGrpSpPr>
        <p:grpSpPr>
          <a:xfrm>
            <a:off x="3568064" y="1330018"/>
            <a:ext cx="4660258" cy="1171566"/>
            <a:chOff x="3556042" y="4752847"/>
            <a:chExt cx="4660258" cy="1171566"/>
          </a:xfrm>
        </p:grpSpPr>
        <p:sp>
          <p:nvSpPr>
            <p:cNvPr id="39" name="Rectangle 18">
              <a:extLst>
                <a:ext uri="{FF2B5EF4-FFF2-40B4-BE49-F238E27FC236}">
                  <a16:creationId xmlns:a16="http://schemas.microsoft.com/office/drawing/2014/main" id="{4A70E0A0-4235-4403-740C-184A310DFD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8835" y="4753091"/>
              <a:ext cx="1707465" cy="551865"/>
            </a:xfrm>
            <a:prstGeom prst="rect">
              <a:avLst/>
            </a:prstGeom>
            <a:solidFill>
              <a:srgbClr val="E8EDF8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OA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69" name="Rectangle 84">
              <a:extLst>
                <a:ext uri="{FF2B5EF4-FFF2-40B4-BE49-F238E27FC236}">
                  <a16:creationId xmlns:a16="http://schemas.microsoft.com/office/drawing/2014/main" id="{2847C21F-6D23-FDA6-BD19-5B638FC571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3502" y="4999158"/>
              <a:ext cx="1052335" cy="255387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立项审批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44" name="Rectangle 18">
              <a:extLst>
                <a:ext uri="{FF2B5EF4-FFF2-40B4-BE49-F238E27FC236}">
                  <a16:creationId xmlns:a16="http://schemas.microsoft.com/office/drawing/2014/main" id="{62D3B640-4A90-B350-049B-3E2334A461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6042" y="4752847"/>
              <a:ext cx="2812164" cy="1171566"/>
            </a:xfrm>
            <a:prstGeom prst="rect">
              <a:avLst/>
            </a:prstGeom>
            <a:solidFill>
              <a:srgbClr val="F2F2F2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MPM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26" name="Rectangle 50">
              <a:extLst>
                <a:ext uri="{FF2B5EF4-FFF2-40B4-BE49-F238E27FC236}">
                  <a16:creationId xmlns:a16="http://schemas.microsoft.com/office/drawing/2014/main" id="{ACE84A0D-155F-43A8-8A57-79E56688D5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5939" y="5432543"/>
              <a:ext cx="1008000" cy="360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项目结项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4" name="Rectangle 17">
              <a:extLst>
                <a:ext uri="{FF2B5EF4-FFF2-40B4-BE49-F238E27FC236}">
                  <a16:creationId xmlns:a16="http://schemas.microsoft.com/office/drawing/2014/main" id="{55054CB2-60FD-98A9-5029-40AF50469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4552" y="4981203"/>
              <a:ext cx="1008000" cy="360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项目立项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5" name="Rectangle 17">
              <a:extLst>
                <a:ext uri="{FF2B5EF4-FFF2-40B4-BE49-F238E27FC236}">
                  <a16:creationId xmlns:a16="http://schemas.microsoft.com/office/drawing/2014/main" id="{9860A6DF-5C68-C31A-94E8-8A78C161F1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4552" y="5452808"/>
              <a:ext cx="1008000" cy="360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项目计划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4" name="箭头: 右 3">
            <a:extLst>
              <a:ext uri="{FF2B5EF4-FFF2-40B4-BE49-F238E27FC236}">
                <a16:creationId xmlns:a16="http://schemas.microsoft.com/office/drawing/2014/main" id="{F2744372-ED7F-C1E4-437F-42D7D85A9001}"/>
              </a:ext>
            </a:extLst>
          </p:cNvPr>
          <p:cNvSpPr/>
          <p:nvPr/>
        </p:nvSpPr>
        <p:spPr>
          <a:xfrm rot="16200000">
            <a:off x="2560056" y="584056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箭头: 右 24">
            <a:extLst>
              <a:ext uri="{FF2B5EF4-FFF2-40B4-BE49-F238E27FC236}">
                <a16:creationId xmlns:a16="http://schemas.microsoft.com/office/drawing/2014/main" id="{044EF3B8-075C-AF5D-0B11-A2A6F2C2A623}"/>
              </a:ext>
            </a:extLst>
          </p:cNvPr>
          <p:cNvSpPr/>
          <p:nvPr/>
        </p:nvSpPr>
        <p:spPr>
          <a:xfrm rot="16200000">
            <a:off x="6226357" y="583362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箭头: 右 50">
            <a:extLst>
              <a:ext uri="{FF2B5EF4-FFF2-40B4-BE49-F238E27FC236}">
                <a16:creationId xmlns:a16="http://schemas.microsoft.com/office/drawing/2014/main" id="{94AE6377-D923-D7E4-77F4-E910CEC12EB6}"/>
              </a:ext>
            </a:extLst>
          </p:cNvPr>
          <p:cNvSpPr/>
          <p:nvPr/>
        </p:nvSpPr>
        <p:spPr>
          <a:xfrm rot="10800000">
            <a:off x="3427100" y="5309099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箭头: 右 52">
            <a:extLst>
              <a:ext uri="{FF2B5EF4-FFF2-40B4-BE49-F238E27FC236}">
                <a16:creationId xmlns:a16="http://schemas.microsoft.com/office/drawing/2014/main" id="{9D717655-90B3-B672-A51F-CBDA17DAEAC8}"/>
              </a:ext>
            </a:extLst>
          </p:cNvPr>
          <p:cNvSpPr/>
          <p:nvPr/>
        </p:nvSpPr>
        <p:spPr>
          <a:xfrm>
            <a:off x="3435026" y="489940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Rectangle 30">
            <a:extLst>
              <a:ext uri="{FF2B5EF4-FFF2-40B4-BE49-F238E27FC236}">
                <a16:creationId xmlns:a16="http://schemas.microsoft.com/office/drawing/2014/main" id="{5C039F13-0454-07BF-6A56-3A3BEC837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237" y="1558240"/>
            <a:ext cx="1008000" cy="360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项目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4" name="箭头: 右 53">
            <a:extLst>
              <a:ext uri="{FF2B5EF4-FFF2-40B4-BE49-F238E27FC236}">
                <a16:creationId xmlns:a16="http://schemas.microsoft.com/office/drawing/2014/main" id="{54B97630-6241-36C2-FFE8-A75A6011F381}"/>
              </a:ext>
            </a:extLst>
          </p:cNvPr>
          <p:cNvSpPr/>
          <p:nvPr/>
        </p:nvSpPr>
        <p:spPr>
          <a:xfrm>
            <a:off x="3437919" y="319553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箭头: 右 56">
            <a:extLst>
              <a:ext uri="{FF2B5EF4-FFF2-40B4-BE49-F238E27FC236}">
                <a16:creationId xmlns:a16="http://schemas.microsoft.com/office/drawing/2014/main" id="{0D8ACFED-24A3-854F-7A43-37B500AEA3B7}"/>
              </a:ext>
            </a:extLst>
          </p:cNvPr>
          <p:cNvSpPr/>
          <p:nvPr/>
        </p:nvSpPr>
        <p:spPr>
          <a:xfrm rot="10800000">
            <a:off x="3460223" y="359271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7" name="箭头: 右 66">
            <a:extLst>
              <a:ext uri="{FF2B5EF4-FFF2-40B4-BE49-F238E27FC236}">
                <a16:creationId xmlns:a16="http://schemas.microsoft.com/office/drawing/2014/main" id="{7F551EA3-7122-523E-54D1-33A217CD05DC}"/>
              </a:ext>
            </a:extLst>
          </p:cNvPr>
          <p:cNvSpPr/>
          <p:nvPr/>
        </p:nvSpPr>
        <p:spPr>
          <a:xfrm rot="5400000">
            <a:off x="10747167" y="7312810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Rectangle 157">
            <a:extLst>
              <a:ext uri="{FF2B5EF4-FFF2-40B4-BE49-F238E27FC236}">
                <a16:creationId xmlns:a16="http://schemas.microsoft.com/office/drawing/2014/main" id="{DEDDEE1E-CA50-A531-01DC-E660B780AE73}"/>
              </a:ext>
            </a:extLst>
          </p:cNvPr>
          <p:cNvSpPr/>
          <p:nvPr/>
        </p:nvSpPr>
        <p:spPr>
          <a:xfrm>
            <a:off x="603619" y="1297926"/>
            <a:ext cx="2879645" cy="4617668"/>
          </a:xfrm>
          <a:prstGeom prst="rect">
            <a:avLst/>
          </a:prstGeom>
          <a:solidFill>
            <a:srgbClr val="42BDFF">
              <a:alpha val="34902"/>
            </a:srgbClr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待建设</a:t>
            </a:r>
            <a:r>
              <a:rPr lang="zh-CN" altLang="en-US" sz="1600" b="1">
                <a:solidFill>
                  <a:srgbClr val="FF0000"/>
                </a:solidFill>
                <a:latin typeface="Microsoft YaHei"/>
                <a:ea typeface="Microsoft YaHei"/>
              </a:rPr>
              <a:t>对推广费的采购支持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7" name="Rectangle 157">
            <a:extLst>
              <a:ext uri="{FF2B5EF4-FFF2-40B4-BE49-F238E27FC236}">
                <a16:creationId xmlns:a16="http://schemas.microsoft.com/office/drawing/2014/main" id="{C80B02E7-1180-234E-F2F3-E33C44A47D52}"/>
              </a:ext>
            </a:extLst>
          </p:cNvPr>
          <p:cNvSpPr/>
          <p:nvPr/>
        </p:nvSpPr>
        <p:spPr>
          <a:xfrm>
            <a:off x="5050767" y="1572892"/>
            <a:ext cx="1246892" cy="413898"/>
          </a:xfrm>
          <a:prstGeom prst="rect">
            <a:avLst/>
          </a:prstGeom>
          <a:solidFill>
            <a:srgbClr val="42BDFF">
              <a:alpha val="34902"/>
            </a:srgbClr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功能逐步建设中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68" name="Rectangle 5">
            <a:extLst>
              <a:ext uri="{FF2B5EF4-FFF2-40B4-BE49-F238E27FC236}">
                <a16:creationId xmlns:a16="http://schemas.microsoft.com/office/drawing/2014/main" id="{F4278DE9-3955-53EB-9783-BF9CF760E40D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D8E1593-11E0-54C5-E190-C88203F0DDB6}"/>
              </a:ext>
            </a:extLst>
          </p:cNvPr>
          <p:cNvGrpSpPr/>
          <p:nvPr/>
        </p:nvGrpSpPr>
        <p:grpSpPr>
          <a:xfrm>
            <a:off x="3604498" y="4151628"/>
            <a:ext cx="4589228" cy="1780562"/>
            <a:chOff x="3552331" y="1259687"/>
            <a:chExt cx="4589228" cy="1780562"/>
          </a:xfrm>
        </p:grpSpPr>
        <p:sp>
          <p:nvSpPr>
            <p:cNvPr id="40" name="Rectangle 18">
              <a:extLst>
                <a:ext uri="{FF2B5EF4-FFF2-40B4-BE49-F238E27FC236}">
                  <a16:creationId xmlns:a16="http://schemas.microsoft.com/office/drawing/2014/main" id="{FBD981CB-3606-A850-645B-4404AB7FD3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2331" y="1265723"/>
              <a:ext cx="2484924" cy="1774526"/>
            </a:xfrm>
            <a:prstGeom prst="rect">
              <a:avLst/>
            </a:prstGeom>
            <a:solidFill>
              <a:srgbClr val="E8EDF8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FSSC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38" name="Rectangle 84">
              <a:extLst>
                <a:ext uri="{FF2B5EF4-FFF2-40B4-BE49-F238E27FC236}">
                  <a16:creationId xmlns:a16="http://schemas.microsoft.com/office/drawing/2014/main" id="{79517A75-9E37-67DD-ED9E-E12247BF27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1962" y="1749680"/>
              <a:ext cx="1080000" cy="432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提出付款申请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41" name="Rectangle 85">
              <a:extLst>
                <a:ext uri="{FF2B5EF4-FFF2-40B4-BE49-F238E27FC236}">
                  <a16:creationId xmlns:a16="http://schemas.microsoft.com/office/drawing/2014/main" id="{98B473A6-18A4-B43F-F7A3-3761F6CCE6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2619" y="1749680"/>
              <a:ext cx="1080000" cy="432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通知银行付款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（银企直连）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14" name="Rectangle 85">
              <a:extLst>
                <a:ext uri="{FF2B5EF4-FFF2-40B4-BE49-F238E27FC236}">
                  <a16:creationId xmlns:a16="http://schemas.microsoft.com/office/drawing/2014/main" id="{552D9B66-B4AD-4B1E-1599-38BC2BFD28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1962" y="2290415"/>
              <a:ext cx="1080000" cy="400993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银行付款确认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（银企直连）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9" name="Rectangle 18">
              <a:extLst>
                <a:ext uri="{FF2B5EF4-FFF2-40B4-BE49-F238E27FC236}">
                  <a16:creationId xmlns:a16="http://schemas.microsoft.com/office/drawing/2014/main" id="{B4EF6349-EE03-70D9-ACF7-177C20A70F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565" y="1259687"/>
              <a:ext cx="1890994" cy="1756866"/>
            </a:xfrm>
            <a:prstGeom prst="rect">
              <a:avLst/>
            </a:prstGeom>
            <a:solidFill>
              <a:srgbClr val="C5D3ED">
                <a:alpha val="40000"/>
              </a:srgbClr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资金管理平台</a:t>
              </a:r>
            </a:p>
          </p:txBody>
        </p:sp>
        <p:sp>
          <p:nvSpPr>
            <p:cNvPr id="151" name="Rectangle 84">
              <a:extLst>
                <a:ext uri="{FF2B5EF4-FFF2-40B4-BE49-F238E27FC236}">
                  <a16:creationId xmlns:a16="http://schemas.microsoft.com/office/drawing/2014/main" id="{FD2E0028-496C-8CC8-531C-52B0D5AEAA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5069" y="1728336"/>
              <a:ext cx="1080000" cy="432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资金支付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66" name="箭头: 右 65">
              <a:extLst>
                <a:ext uri="{FF2B5EF4-FFF2-40B4-BE49-F238E27FC236}">
                  <a16:creationId xmlns:a16="http://schemas.microsoft.com/office/drawing/2014/main" id="{2A49D86E-3EBE-CF96-571C-4C9A1CF28EAF}"/>
                </a:ext>
              </a:extLst>
            </p:cNvPr>
            <p:cNvSpPr/>
            <p:nvPr/>
          </p:nvSpPr>
          <p:spPr>
            <a:xfrm>
              <a:off x="6090261" y="1792125"/>
              <a:ext cx="125518" cy="232240"/>
            </a:xfrm>
            <a:prstGeom prst="rightArrow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" name="Rectangle 84">
              <a:extLst>
                <a:ext uri="{FF2B5EF4-FFF2-40B4-BE49-F238E27FC236}">
                  <a16:creationId xmlns:a16="http://schemas.microsoft.com/office/drawing/2014/main" id="{B5C92738-CBB4-A183-69DB-561E291B3B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8149" y="2290415"/>
              <a:ext cx="1080000" cy="432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回单确认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71" name="Oval 510">
            <a:extLst>
              <a:ext uri="{FF2B5EF4-FFF2-40B4-BE49-F238E27FC236}">
                <a16:creationId xmlns:a16="http://schemas.microsoft.com/office/drawing/2014/main" id="{7F1D12B8-7BBB-7570-3A11-549195A3243A}"/>
              </a:ext>
            </a:extLst>
          </p:cNvPr>
          <p:cNvSpPr/>
          <p:nvPr/>
        </p:nvSpPr>
        <p:spPr>
          <a:xfrm>
            <a:off x="1347657" y="1244940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1</a:t>
            </a:r>
          </a:p>
        </p:txBody>
      </p:sp>
      <p:sp>
        <p:nvSpPr>
          <p:cNvPr id="72" name="Oval 510">
            <a:extLst>
              <a:ext uri="{FF2B5EF4-FFF2-40B4-BE49-F238E27FC236}">
                <a16:creationId xmlns:a16="http://schemas.microsoft.com/office/drawing/2014/main" id="{73BE0095-B33D-CE3C-8AE5-953BB91FD4CE}"/>
              </a:ext>
            </a:extLst>
          </p:cNvPr>
          <p:cNvSpPr/>
          <p:nvPr/>
        </p:nvSpPr>
        <p:spPr>
          <a:xfrm>
            <a:off x="4806905" y="1481439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2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DB22AF5-BAC5-902E-F5C8-B86B603DE846}"/>
              </a:ext>
            </a:extLst>
          </p:cNvPr>
          <p:cNvSpPr txBox="1"/>
          <p:nvPr/>
        </p:nvSpPr>
        <p:spPr>
          <a:xfrm>
            <a:off x="3657534" y="3020098"/>
            <a:ext cx="1008000" cy="360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服务主数据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1AC2D51-2161-8661-1945-3EE380E4E1BA}"/>
              </a:ext>
            </a:extLst>
          </p:cNvPr>
          <p:cNvSpPr txBox="1"/>
          <p:nvPr/>
        </p:nvSpPr>
        <p:spPr>
          <a:xfrm>
            <a:off x="3657534" y="3517189"/>
            <a:ext cx="1008000" cy="360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申请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A84FDE8-FCF8-2DF5-B5BF-6A5DCD206B12}"/>
              </a:ext>
            </a:extLst>
          </p:cNvPr>
          <p:cNvSpPr txBox="1"/>
          <p:nvPr/>
        </p:nvSpPr>
        <p:spPr>
          <a:xfrm>
            <a:off x="5131600" y="3495558"/>
            <a:ext cx="1008000" cy="360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服务确认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C112D3C-A170-C5DA-72CE-C6599B5C9BA0}"/>
              </a:ext>
            </a:extLst>
          </p:cNvPr>
          <p:cNvSpPr txBox="1"/>
          <p:nvPr/>
        </p:nvSpPr>
        <p:spPr>
          <a:xfrm>
            <a:off x="6579976" y="3507264"/>
            <a:ext cx="1008000" cy="360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往来管理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DE2A1E0-4BD9-F0F2-A8BB-B3E97ECBBB14}"/>
              </a:ext>
            </a:extLst>
          </p:cNvPr>
          <p:cNvSpPr txBox="1"/>
          <p:nvPr/>
        </p:nvSpPr>
        <p:spPr>
          <a:xfrm>
            <a:off x="5153893" y="3029678"/>
            <a:ext cx="1008000" cy="360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订单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94C7ED8-678D-FE15-F153-7B7A84033A2B}"/>
              </a:ext>
            </a:extLst>
          </p:cNvPr>
          <p:cNvSpPr txBox="1"/>
          <p:nvPr/>
        </p:nvSpPr>
        <p:spPr>
          <a:xfrm>
            <a:off x="6579976" y="3029678"/>
            <a:ext cx="1008000" cy="360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发票校验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9" name="箭头: 右 58">
            <a:extLst>
              <a:ext uri="{FF2B5EF4-FFF2-40B4-BE49-F238E27FC236}">
                <a16:creationId xmlns:a16="http://schemas.microsoft.com/office/drawing/2014/main" id="{100F6A83-0C25-7843-96C1-E74EA2F6037E}"/>
              </a:ext>
            </a:extLst>
          </p:cNvPr>
          <p:cNvSpPr/>
          <p:nvPr/>
        </p:nvSpPr>
        <p:spPr>
          <a:xfrm rot="16200000">
            <a:off x="5107891" y="580843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箭头: 右 59">
            <a:extLst>
              <a:ext uri="{FF2B5EF4-FFF2-40B4-BE49-F238E27FC236}">
                <a16:creationId xmlns:a16="http://schemas.microsoft.com/office/drawing/2014/main" id="{1A362634-49F4-A8B3-4DB5-FB431F2F8AC6}"/>
              </a:ext>
            </a:extLst>
          </p:cNvPr>
          <p:cNvSpPr/>
          <p:nvPr/>
        </p:nvSpPr>
        <p:spPr>
          <a:xfrm>
            <a:off x="6396565" y="164988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箭头: 右 60">
            <a:extLst>
              <a:ext uri="{FF2B5EF4-FFF2-40B4-BE49-F238E27FC236}">
                <a16:creationId xmlns:a16="http://schemas.microsoft.com/office/drawing/2014/main" id="{3BC0909C-192F-24F4-4945-CCD30F696A08}"/>
              </a:ext>
            </a:extLst>
          </p:cNvPr>
          <p:cNvSpPr/>
          <p:nvPr/>
        </p:nvSpPr>
        <p:spPr>
          <a:xfrm rot="16200000">
            <a:off x="12828108" y="727844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Rectangle 157">
            <a:extLst>
              <a:ext uri="{FF2B5EF4-FFF2-40B4-BE49-F238E27FC236}">
                <a16:creationId xmlns:a16="http://schemas.microsoft.com/office/drawing/2014/main" id="{4CF9433E-2310-DE83-2E19-F17CDC19CF82}"/>
              </a:ext>
            </a:extLst>
          </p:cNvPr>
          <p:cNvSpPr/>
          <p:nvPr/>
        </p:nvSpPr>
        <p:spPr>
          <a:xfrm>
            <a:off x="3569252" y="2669222"/>
            <a:ext cx="4508918" cy="1416139"/>
          </a:xfrm>
          <a:prstGeom prst="rect">
            <a:avLst/>
          </a:prstGeom>
          <a:solidFill>
            <a:srgbClr val="42BDFF">
              <a:alpha val="34902"/>
            </a:srgbClr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待建设</a:t>
            </a:r>
            <a:r>
              <a: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PTP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对</a:t>
            </a:r>
            <a:r>
              <a:rPr lang="zh-CN" altLang="en-US" sz="1600" b="1">
                <a:solidFill>
                  <a:srgbClr val="FF0000"/>
                </a:solidFill>
                <a:latin typeface="Microsoft YaHei"/>
                <a:ea typeface="Microsoft YaHei"/>
              </a:rPr>
              <a:t>推广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费的支持</a:t>
            </a:r>
            <a:endParaRPr kumimoji="0" lang="en-US" altLang="zh-CN" sz="16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73" name="Oval 510">
            <a:extLst>
              <a:ext uri="{FF2B5EF4-FFF2-40B4-BE49-F238E27FC236}">
                <a16:creationId xmlns:a16="http://schemas.microsoft.com/office/drawing/2014/main" id="{6E65EC3F-FF48-9B95-A785-B384250A13B2}"/>
              </a:ext>
            </a:extLst>
          </p:cNvPr>
          <p:cNvSpPr/>
          <p:nvPr/>
        </p:nvSpPr>
        <p:spPr>
          <a:xfrm>
            <a:off x="5049583" y="2702044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3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6D967CCF-5E54-4443-F254-F5EF3F13B6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9735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6" name="箭头: 右 65">
            <a:extLst>
              <a:ext uri="{FF2B5EF4-FFF2-40B4-BE49-F238E27FC236}">
                <a16:creationId xmlns:a16="http://schemas.microsoft.com/office/drawing/2014/main" id="{4C993B57-5080-0E7B-CFA8-BFA96F16A9EF}"/>
              </a:ext>
            </a:extLst>
          </p:cNvPr>
          <p:cNvSpPr/>
          <p:nvPr/>
        </p:nvSpPr>
        <p:spPr>
          <a:xfrm rot="10800000">
            <a:off x="6370281" y="2042550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Rectangle 18">
            <a:extLst>
              <a:ext uri="{FF2B5EF4-FFF2-40B4-BE49-F238E27FC236}">
                <a16:creationId xmlns:a16="http://schemas.microsoft.com/office/drawing/2014/main" id="{5A40EAB2-F340-89D1-CAC7-C7EBE81A0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0857" y="1978704"/>
            <a:ext cx="1646455" cy="575959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PBF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62" name="Rectangle 84">
            <a:extLst>
              <a:ext uri="{FF2B5EF4-FFF2-40B4-BE49-F238E27FC236}">
                <a16:creationId xmlns:a16="http://schemas.microsoft.com/office/drawing/2014/main" id="{D0A540FA-02CA-2729-343D-ACD21C960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5515" y="2201331"/>
            <a:ext cx="1052335" cy="304957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推广费预算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3" name="箭头: 右 56">
            <a:extLst>
              <a:ext uri="{FF2B5EF4-FFF2-40B4-BE49-F238E27FC236}">
                <a16:creationId xmlns:a16="http://schemas.microsoft.com/office/drawing/2014/main" id="{F5ADB45B-B6B8-A873-767B-EFC33CC8D182}"/>
              </a:ext>
            </a:extLst>
          </p:cNvPr>
          <p:cNvSpPr/>
          <p:nvPr/>
        </p:nvSpPr>
        <p:spPr>
          <a:xfrm rot="10800000">
            <a:off x="6119540" y="5305462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箭头: 右 65">
            <a:extLst>
              <a:ext uri="{FF2B5EF4-FFF2-40B4-BE49-F238E27FC236}">
                <a16:creationId xmlns:a16="http://schemas.microsoft.com/office/drawing/2014/main" id="{2A965560-C7FE-0349-B0AF-F5D940B2390B}"/>
              </a:ext>
            </a:extLst>
          </p:cNvPr>
          <p:cNvSpPr/>
          <p:nvPr/>
        </p:nvSpPr>
        <p:spPr>
          <a:xfrm rot="10800000">
            <a:off x="3487990" y="1859883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箭头: 右 66">
            <a:extLst>
              <a:ext uri="{FF2B5EF4-FFF2-40B4-BE49-F238E27FC236}">
                <a16:creationId xmlns:a16="http://schemas.microsoft.com/office/drawing/2014/main" id="{171328AC-8B28-0B9D-5301-DED210D9941C}"/>
              </a:ext>
            </a:extLst>
          </p:cNvPr>
          <p:cNvSpPr/>
          <p:nvPr/>
        </p:nvSpPr>
        <p:spPr>
          <a:xfrm rot="5400000">
            <a:off x="4510722" y="398374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箭头: 右 60">
            <a:extLst>
              <a:ext uri="{FF2B5EF4-FFF2-40B4-BE49-F238E27FC236}">
                <a16:creationId xmlns:a16="http://schemas.microsoft.com/office/drawing/2014/main" id="{EC2AF732-5463-12C5-569C-B0DFD96B09C8}"/>
              </a:ext>
            </a:extLst>
          </p:cNvPr>
          <p:cNvSpPr/>
          <p:nvPr/>
        </p:nvSpPr>
        <p:spPr>
          <a:xfrm rot="16200000">
            <a:off x="5141546" y="398984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箭头: 右 66">
            <a:extLst>
              <a:ext uri="{FF2B5EF4-FFF2-40B4-BE49-F238E27FC236}">
                <a16:creationId xmlns:a16="http://schemas.microsoft.com/office/drawing/2014/main" id="{FFB19AAF-BE32-55E9-30C1-1307C81B111B}"/>
              </a:ext>
            </a:extLst>
          </p:cNvPr>
          <p:cNvSpPr/>
          <p:nvPr/>
        </p:nvSpPr>
        <p:spPr>
          <a:xfrm rot="5400000">
            <a:off x="4638274" y="2496944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箭头: 右 60">
            <a:extLst>
              <a:ext uri="{FF2B5EF4-FFF2-40B4-BE49-F238E27FC236}">
                <a16:creationId xmlns:a16="http://schemas.microsoft.com/office/drawing/2014/main" id="{DB528820-D7FF-C53B-AE08-1CA29824E965}"/>
              </a:ext>
            </a:extLst>
          </p:cNvPr>
          <p:cNvSpPr/>
          <p:nvPr/>
        </p:nvSpPr>
        <p:spPr>
          <a:xfrm rot="16200000">
            <a:off x="5269098" y="250303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374836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18">
            <a:extLst>
              <a:ext uri="{FF2B5EF4-FFF2-40B4-BE49-F238E27FC236}">
                <a16:creationId xmlns:a16="http://schemas.microsoft.com/office/drawing/2014/main" id="{63B4EB4D-803B-B99B-F427-61856A1A59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0524" y="4322771"/>
            <a:ext cx="2451341" cy="1529940"/>
          </a:xfrm>
          <a:prstGeom prst="rect">
            <a:avLst/>
          </a:prstGeom>
          <a:solidFill>
            <a:srgbClr val="C0E9FF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AP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10984A-1973-E074-373C-41FA2BFB49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0195" y="1250994"/>
            <a:ext cx="2933181" cy="4659949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推广费系统</a:t>
            </a:r>
          </a:p>
        </p:txBody>
      </p:sp>
      <p:sp>
        <p:nvSpPr>
          <p:cNvPr id="18" name="Rectangle 18">
            <a:extLst>
              <a:ext uri="{FF2B5EF4-FFF2-40B4-BE49-F238E27FC236}">
                <a16:creationId xmlns:a16="http://schemas.microsoft.com/office/drawing/2014/main" id="{404DBAC2-18F7-7509-B24D-258FC79C2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1500071"/>
            <a:ext cx="2451610" cy="949673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管理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3E9A57-CB75-5562-65AA-BBEC656EC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03430" y="6445055"/>
            <a:ext cx="585140" cy="232752"/>
          </a:xfrm>
        </p:spPr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27</a:t>
            </a:fld>
            <a:endParaRPr kumimoji="1" lang="zh-CN" alt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351361-B5FC-3B4C-93C7-23720EA4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10282312" cy="706293"/>
          </a:xfrm>
        </p:spPr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长期系统方案：对零星推广费采购通过推广费系统与共享报账模式进行管理</a:t>
            </a:r>
            <a:endParaRPr lang="en-US"/>
          </a:p>
        </p:txBody>
      </p:sp>
      <p:sp>
        <p:nvSpPr>
          <p:cNvPr id="16" name="Rectangle 18">
            <a:extLst>
              <a:ext uri="{FF2B5EF4-FFF2-40B4-BE49-F238E27FC236}">
                <a16:creationId xmlns:a16="http://schemas.microsoft.com/office/drawing/2014/main" id="{E26698F4-350E-C049-E5A1-A718B51A9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1766505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准入</a:t>
            </a:r>
          </a:p>
        </p:txBody>
      </p:sp>
      <p:sp>
        <p:nvSpPr>
          <p:cNvPr id="103" name="Rectangle 30">
            <a:extLst>
              <a:ext uri="{FF2B5EF4-FFF2-40B4-BE49-F238E27FC236}">
                <a16:creationId xmlns:a16="http://schemas.microsoft.com/office/drawing/2014/main" id="{9A73E786-6CEC-FA2E-31C5-1EC4AC4A38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8815" y="1766007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0" name="Rectangle 18">
            <a:extLst>
              <a:ext uri="{FF2B5EF4-FFF2-40B4-BE49-F238E27FC236}">
                <a16:creationId xmlns:a16="http://schemas.microsoft.com/office/drawing/2014/main" id="{8215F382-68BB-1B97-CCAA-840E1E959B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2532178"/>
            <a:ext cx="2451610" cy="929695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寻源协同</a:t>
            </a:r>
          </a:p>
        </p:txBody>
      </p:sp>
      <p:sp>
        <p:nvSpPr>
          <p:cNvPr id="293" name="Rectangle 17">
            <a:extLst>
              <a:ext uri="{FF2B5EF4-FFF2-40B4-BE49-F238E27FC236}">
                <a16:creationId xmlns:a16="http://schemas.microsoft.com/office/drawing/2014/main" id="{1D3F46A8-6AEA-A772-BC95-CC446FDE02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275234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询报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5725C3B3-43B9-537F-C7B6-625F0AE8E3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8815" y="275234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竞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3" name="Rectangle 18">
            <a:extLst>
              <a:ext uri="{FF2B5EF4-FFF2-40B4-BE49-F238E27FC236}">
                <a16:creationId xmlns:a16="http://schemas.microsoft.com/office/drawing/2014/main" id="{542C84DF-0CFC-603E-8CE0-FE2C218111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3544307"/>
            <a:ext cx="2451610" cy="717534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合同管理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A6E260C3-8A19-6E3B-53B3-51E1DD373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4382529"/>
            <a:ext cx="2451610" cy="717534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订单履行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0D9DE54B-B5AC-44E7-593C-AA89FD48D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5182193"/>
            <a:ext cx="2451610" cy="659785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财务协同</a:t>
            </a: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D3852551-1543-EC05-EBF5-F7FB94D8B0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205" y="5419574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结算单对账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7E31F183-EB64-54BF-4381-1DC44EFD0C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8682" y="5421926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发票上传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审核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44136927-858F-6DA3-98D9-F71401917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383276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年框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B7316411-D4C5-299C-1622-5F54EC5A98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8815" y="383276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6DC6D3BB-3AAF-C52A-02D2-5DCB03804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467874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186652DF-610C-F1BF-04ED-DD93B0BC4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8682" y="4684674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7" name="Rectangle 18">
            <a:extLst>
              <a:ext uri="{FF2B5EF4-FFF2-40B4-BE49-F238E27FC236}">
                <a16:creationId xmlns:a16="http://schemas.microsoft.com/office/drawing/2014/main" id="{6278E8FF-BB7D-DCA7-2BF6-971FBC8C52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2116946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绩效考核</a:t>
            </a:r>
          </a:p>
        </p:txBody>
      </p: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09FC2D6D-FC1A-E7EA-44DB-BD5B54CFE610}"/>
              </a:ext>
            </a:extLst>
          </p:cNvPr>
          <p:cNvGrpSpPr/>
          <p:nvPr/>
        </p:nvGrpSpPr>
        <p:grpSpPr>
          <a:xfrm>
            <a:off x="8484608" y="866137"/>
            <a:ext cx="3160099" cy="313175"/>
            <a:chOff x="10133105" y="1104727"/>
            <a:chExt cx="2058895" cy="313175"/>
          </a:xfrm>
        </p:grpSpPr>
        <p:grpSp>
          <p:nvGrpSpPr>
            <p:cNvPr id="47" name="Group 63">
              <a:extLst>
                <a:ext uri="{FF2B5EF4-FFF2-40B4-BE49-F238E27FC236}">
                  <a16:creationId xmlns:a16="http://schemas.microsoft.com/office/drawing/2014/main" id="{FF07DC3E-8926-7696-EFE5-9C8B8A49AFD5}"/>
                </a:ext>
              </a:extLst>
            </p:cNvPr>
            <p:cNvGrpSpPr/>
            <p:nvPr/>
          </p:nvGrpSpPr>
          <p:grpSpPr>
            <a:xfrm>
              <a:off x="10133105" y="1104727"/>
              <a:ext cx="2058895" cy="313175"/>
              <a:chOff x="9344415" y="1038841"/>
              <a:chExt cx="2551176" cy="313175"/>
            </a:xfrm>
          </p:grpSpPr>
          <p:cxnSp>
            <p:nvCxnSpPr>
              <p:cNvPr id="48" name="Straight Connector 38">
                <a:extLst>
                  <a:ext uri="{FF2B5EF4-FFF2-40B4-BE49-F238E27FC236}">
                    <a16:creationId xmlns:a16="http://schemas.microsoft.com/office/drawing/2014/main" id="{A4AB9685-F160-7599-DDB2-7C31B65E8C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44415" y="1225644"/>
                <a:ext cx="2551176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 type="diamond"/>
                <a:tailEnd type="diamond"/>
              </a:ln>
              <a:effectLst/>
            </p:spPr>
          </p:cxnSp>
          <p:sp>
            <p:nvSpPr>
              <p:cNvPr id="50" name="TextBox 39">
                <a:extLst>
                  <a:ext uri="{FF2B5EF4-FFF2-40B4-BE49-F238E27FC236}">
                    <a16:creationId xmlns:a16="http://schemas.microsoft.com/office/drawing/2014/main" id="{60FC412D-CA07-B12E-2A4E-460DD39CBF79}"/>
                  </a:ext>
                </a:extLst>
              </p:cNvPr>
              <p:cNvSpPr txBox="1"/>
              <p:nvPr/>
            </p:nvSpPr>
            <p:spPr>
              <a:xfrm>
                <a:off x="10193126" y="1038841"/>
                <a:ext cx="1115431" cy="307777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1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Times New Roman"/>
                    <a:ea typeface="Microsoft YaHei"/>
                    <a:cs typeface="+mn-cs"/>
                  </a:rPr>
                  <a:t>现状</a:t>
                </a:r>
                <a:r>
                  <a:rPr lang="en-US" altLang="zh-CN" sz="1400" b="1" kern="0">
                    <a:latin typeface="Times New Roman"/>
                    <a:ea typeface="Microsoft YaHei"/>
                  </a:rPr>
                  <a:t>/</a:t>
                </a:r>
                <a:r>
                  <a:rPr lang="zh-CN" altLang="en-US" sz="1400" b="1" kern="0">
                    <a:latin typeface="Times New Roman"/>
                    <a:ea typeface="Microsoft YaHei"/>
                  </a:rPr>
                  <a:t>提升方向</a:t>
                </a:r>
                <a:endParaRPr kumimoji="0" lang="zh-CN" altLang="en-US" sz="1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Times New Roman"/>
                  <a:ea typeface="Microsoft YaHei"/>
                  <a:cs typeface="+mn-cs"/>
                </a:endParaRPr>
              </a:p>
            </p:txBody>
          </p:sp>
          <p:sp>
            <p:nvSpPr>
              <p:cNvPr id="52" name="Rectangle 59">
                <a:extLst>
                  <a:ext uri="{FF2B5EF4-FFF2-40B4-BE49-F238E27FC236}">
                    <a16:creationId xmlns:a16="http://schemas.microsoft.com/office/drawing/2014/main" id="{7EBFF4C7-AE2C-5CD4-9F05-11FCAFA30191}"/>
                  </a:ext>
                </a:extLst>
              </p:cNvPr>
              <p:cNvSpPr/>
              <p:nvPr/>
            </p:nvSpPr>
            <p:spPr>
              <a:xfrm>
                <a:off x="9966693" y="1044241"/>
                <a:ext cx="253249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</p:grpSp>
        <p:pic>
          <p:nvPicPr>
            <p:cNvPr id="55" name="Graphic 66">
              <a:extLst>
                <a:ext uri="{FF2B5EF4-FFF2-40B4-BE49-F238E27FC236}">
                  <a16:creationId xmlns:a16="http://schemas.microsoft.com/office/drawing/2014/main" id="{46E33D4C-F0E4-F422-6716-A80BBCDD53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653055" y="1138070"/>
              <a:ext cx="164992" cy="256032"/>
            </a:xfrm>
            <a:prstGeom prst="rect">
              <a:avLst/>
            </a:prstGeom>
          </p:spPr>
        </p:pic>
      </p:grpSp>
      <p:sp>
        <p:nvSpPr>
          <p:cNvPr id="56" name="矩形 189">
            <a:extLst>
              <a:ext uri="{FF2B5EF4-FFF2-40B4-BE49-F238E27FC236}">
                <a16:creationId xmlns:a16="http://schemas.microsoft.com/office/drawing/2014/main" id="{C9CDC39A-79BF-9E57-BAA2-2DE9D1DAF8B3}"/>
              </a:ext>
            </a:extLst>
          </p:cNvPr>
          <p:cNvSpPr/>
          <p:nvPr/>
        </p:nvSpPr>
        <p:spPr>
          <a:xfrm>
            <a:off x="8441632" y="1250994"/>
            <a:ext cx="3210172" cy="5180286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系统现状：</a:t>
            </a:r>
            <a:endParaRPr lang="en-US" altLang="zh-CN" sz="1200" b="1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1. </a:t>
            </a:r>
            <a:r>
              <a:rPr lang="zh-CN" altLang="en-US" sz="1200" b="1">
                <a:latin typeface="+mj-ea"/>
                <a:ea typeface="+mj-ea"/>
              </a:rPr>
              <a:t>推广费计提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>
                <a:latin typeface="+mj-ea"/>
                <a:ea typeface="+mj-ea"/>
              </a:rPr>
              <a:t>FSSC</a:t>
            </a:r>
            <a:r>
              <a:rPr lang="zh-CN" altLang="en-US" sz="1200">
                <a:latin typeface="+mj-ea"/>
                <a:ea typeface="+mj-ea"/>
              </a:rPr>
              <a:t>系统中通过费用申请单计提推广费，下月全部手工冲销；</a:t>
            </a:r>
            <a:endParaRPr lang="en-US" altLang="zh-CN" sz="1200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2. </a:t>
            </a:r>
            <a:r>
              <a:rPr lang="zh-CN" altLang="en-US" sz="1200" b="1">
                <a:latin typeface="+mj-ea"/>
                <a:ea typeface="+mj-ea"/>
              </a:rPr>
              <a:t>推广费报销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>
                <a:latin typeface="+mj-ea"/>
                <a:ea typeface="+mj-ea"/>
              </a:rPr>
              <a:t>FSSC</a:t>
            </a:r>
            <a:r>
              <a:rPr lang="zh-CN" altLang="en-US" sz="1200">
                <a:latin typeface="+mj-ea"/>
                <a:ea typeface="+mj-ea"/>
              </a:rPr>
              <a:t>系统中通过费用报销单进行费用报销，无过程管控</a:t>
            </a:r>
            <a:r>
              <a:rPr lang="zh-CN" altLang="en-US" sz="1200" b="1">
                <a:latin typeface="+mj-ea"/>
                <a:ea typeface="+mj-ea"/>
              </a:rPr>
              <a:t>。</a:t>
            </a:r>
            <a:endParaRPr lang="en-US" altLang="zh-CN" sz="1200" b="1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3. </a:t>
            </a:r>
            <a:r>
              <a:rPr lang="zh-CN" altLang="en-US" sz="1200" b="1">
                <a:latin typeface="+mj-ea"/>
                <a:ea typeface="+mj-ea"/>
              </a:rPr>
              <a:t>项目管理：</a:t>
            </a:r>
            <a:r>
              <a:rPr lang="zh-CN" altLang="en-US" sz="1200">
                <a:latin typeface="+mj-ea"/>
                <a:ea typeface="+mj-ea"/>
              </a:rPr>
              <a:t>未有对推广费零星采购进行项目管理的需求</a:t>
            </a:r>
            <a:endParaRPr lang="en-US" altLang="zh-CN" sz="1200">
              <a:latin typeface="+mj-ea"/>
              <a:ea typeface="+mj-ea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提升方向：</a:t>
            </a:r>
            <a:endParaRPr lang="en-US" altLang="zh-CN" sz="1200" b="1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>
                <a:latin typeface="+mj-ea"/>
                <a:ea typeface="+mj-ea"/>
              </a:rPr>
              <a:t>建立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MPM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</a:t>
            </a:r>
            <a:r>
              <a:rPr lang="zh-CN" altLang="en-US" sz="1200">
                <a:latin typeface="+mj-ea"/>
                <a:ea typeface="+mj-ea"/>
              </a:rPr>
              <a:t>对零星采购项目立项的管理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>
                <a:latin typeface="+mj-ea"/>
                <a:ea typeface="+mj-ea"/>
              </a:rPr>
              <a:t>完善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推广费系统</a:t>
            </a:r>
            <a:r>
              <a:rPr lang="zh-CN" altLang="en-US" sz="1200">
                <a:latin typeface="+mj-ea"/>
                <a:ea typeface="+mj-ea"/>
              </a:rPr>
              <a:t>中项目管理能力，使用</a:t>
            </a:r>
            <a:r>
              <a:rPr lang="en-US" altLang="zh-CN" sz="1200">
                <a:latin typeface="+mj-ea"/>
                <a:ea typeface="+mj-ea"/>
              </a:rPr>
              <a:t>FSSC</a:t>
            </a:r>
            <a:r>
              <a:rPr lang="zh-CN" altLang="en-US" sz="1200">
                <a:latin typeface="+mj-ea"/>
                <a:ea typeface="+mj-ea"/>
              </a:rPr>
              <a:t>现接口进行手工申请和报账</a:t>
            </a:r>
            <a:endParaRPr lang="en-US" altLang="zh-CN" sz="1200">
              <a:latin typeface="+mj-ea"/>
              <a:ea typeface="+mj-ea"/>
            </a:endParaRPr>
          </a:p>
        </p:txBody>
      </p: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E55475C0-EEA7-6FC8-07A8-9B1D970C7AE3}"/>
              </a:ext>
            </a:extLst>
          </p:cNvPr>
          <p:cNvGrpSpPr/>
          <p:nvPr/>
        </p:nvGrpSpPr>
        <p:grpSpPr>
          <a:xfrm>
            <a:off x="547293" y="904657"/>
            <a:ext cx="7709724" cy="328476"/>
            <a:chOff x="393790" y="1071757"/>
            <a:chExt cx="7955080" cy="328476"/>
          </a:xfrm>
        </p:grpSpPr>
        <p:cxnSp>
          <p:nvCxnSpPr>
            <p:cNvPr id="81" name="Straight Connector 38">
              <a:extLst>
                <a:ext uri="{FF2B5EF4-FFF2-40B4-BE49-F238E27FC236}">
                  <a16:creationId xmlns:a16="http://schemas.microsoft.com/office/drawing/2014/main" id="{A2F57F02-A4EE-079F-E620-EC487EA988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790" y="1218242"/>
              <a:ext cx="7955080" cy="7402"/>
            </a:xfrm>
            <a:prstGeom prst="line">
              <a:avLst/>
            </a:prstGeom>
            <a:noFill/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diamond"/>
              <a:tailEnd type="diamond"/>
            </a:ln>
            <a:effectLst/>
          </p:spPr>
        </p:cxnSp>
        <p:sp>
          <p:nvSpPr>
            <p:cNvPr id="82" name="Rectangle 24">
              <a:extLst>
                <a:ext uri="{FF2B5EF4-FFF2-40B4-BE49-F238E27FC236}">
                  <a16:creationId xmlns:a16="http://schemas.microsoft.com/office/drawing/2014/main" id="{161D99B6-FF3E-1D66-D890-AD0BA723250A}"/>
                </a:ext>
              </a:extLst>
            </p:cNvPr>
            <p:cNvSpPr/>
            <p:nvPr/>
          </p:nvSpPr>
          <p:spPr>
            <a:xfrm>
              <a:off x="3706954" y="1092456"/>
              <a:ext cx="245711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r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400" b="1">
                  <a:latin typeface="Microsoft YaHei"/>
                  <a:ea typeface="Microsoft YaHei"/>
                  <a:cs typeface="Arial" panose="020B0604020202020204" pitchFamily="34" charset="0"/>
                </a:rPr>
                <a:t>推广费零星采购长</a:t>
              </a:r>
              <a:r>
                <a:rPr kumimoji="1" lang="zh-CN" altLang="en-US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YaHei"/>
                  <a:ea typeface="Microsoft YaHei"/>
                  <a:cs typeface="Arial" panose="020B0604020202020204" pitchFamily="34" charset="0"/>
                </a:rPr>
                <a:t>期方案</a:t>
              </a:r>
              <a:endParaRPr kumimoji="1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Arial" panose="020B0604020202020204" pitchFamily="34" charset="0"/>
              </a:endParaRPr>
            </a:p>
          </p:txBody>
        </p:sp>
        <p:grpSp>
          <p:nvGrpSpPr>
            <p:cNvPr id="83" name="Group 55">
              <a:extLst>
                <a:ext uri="{FF2B5EF4-FFF2-40B4-BE49-F238E27FC236}">
                  <a16:creationId xmlns:a16="http://schemas.microsoft.com/office/drawing/2014/main" id="{748F363F-598A-5DBE-07A4-E7706396C922}"/>
                </a:ext>
              </a:extLst>
            </p:cNvPr>
            <p:cNvGrpSpPr/>
            <p:nvPr/>
          </p:nvGrpSpPr>
          <p:grpSpPr>
            <a:xfrm>
              <a:off x="3432303" y="1071757"/>
              <a:ext cx="431104" cy="307775"/>
              <a:chOff x="3126173" y="1114361"/>
              <a:chExt cx="431104" cy="307775"/>
            </a:xfrm>
          </p:grpSpPr>
          <p:sp>
            <p:nvSpPr>
              <p:cNvPr id="85" name="Rectangle 49">
                <a:extLst>
                  <a:ext uri="{FF2B5EF4-FFF2-40B4-BE49-F238E27FC236}">
                    <a16:creationId xmlns:a16="http://schemas.microsoft.com/office/drawing/2014/main" id="{41959D13-B337-0497-F283-252FB5609711}"/>
                  </a:ext>
                </a:extLst>
              </p:cNvPr>
              <p:cNvSpPr/>
              <p:nvPr/>
            </p:nvSpPr>
            <p:spPr>
              <a:xfrm>
                <a:off x="3126173" y="1114361"/>
                <a:ext cx="431104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86" name="Graphic 44">
                <a:extLst>
                  <a:ext uri="{FF2B5EF4-FFF2-40B4-BE49-F238E27FC236}">
                    <a16:creationId xmlns:a16="http://schemas.microsoft.com/office/drawing/2014/main" id="{7DBEA2AB-F8B5-08BD-1641-5CCA8D47DC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204565" y="1122751"/>
                <a:ext cx="274320" cy="252882"/>
              </a:xfrm>
              <a:prstGeom prst="rect">
                <a:avLst/>
              </a:prstGeom>
            </p:spPr>
          </p:pic>
        </p:grpSp>
      </p:grpSp>
      <p:sp>
        <p:nvSpPr>
          <p:cNvPr id="99" name="Rectangle 17">
            <a:extLst>
              <a:ext uri="{FF2B5EF4-FFF2-40B4-BE49-F238E27FC236}">
                <a16:creationId xmlns:a16="http://schemas.microsoft.com/office/drawing/2014/main" id="{271B20AC-F24A-6727-E5CF-95D6D300F1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3107411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招投标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0" name="矩形 189">
            <a:extLst>
              <a:ext uri="{FF2B5EF4-FFF2-40B4-BE49-F238E27FC236}">
                <a16:creationId xmlns:a16="http://schemas.microsoft.com/office/drawing/2014/main" id="{1DA86A75-B960-2B54-8DEB-60CB24714A25}"/>
              </a:ext>
            </a:extLst>
          </p:cNvPr>
          <p:cNvSpPr/>
          <p:nvPr/>
        </p:nvSpPr>
        <p:spPr>
          <a:xfrm>
            <a:off x="540196" y="1250995"/>
            <a:ext cx="7709724" cy="5179256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81323"/>
              </a:buClr>
              <a:buSzPct val="130000"/>
              <a:tabLst/>
              <a:defRPr/>
            </a:pPr>
            <a:endParaRPr lang="en-US" altLang="zh-CN" sz="1200" b="1">
              <a:latin typeface="+mj-ea"/>
              <a:ea typeface="+mj-ea"/>
            </a:endParaRPr>
          </a:p>
        </p:txBody>
      </p:sp>
      <p:sp>
        <p:nvSpPr>
          <p:cNvPr id="109" name="Rectangle 18">
            <a:extLst>
              <a:ext uri="{FF2B5EF4-FFF2-40B4-BE49-F238E27FC236}">
                <a16:creationId xmlns:a16="http://schemas.microsoft.com/office/drawing/2014/main" id="{B7214C6E-0F32-2725-6DCC-13C740D2A0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294" y="5993378"/>
            <a:ext cx="7620018" cy="451668"/>
          </a:xfrm>
          <a:prstGeom prst="rect">
            <a:avLst/>
          </a:prstGeom>
          <a:solidFill>
            <a:srgbClr val="1084D0">
              <a:alpha val="7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vert="eaVert"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10" name="TextBox 48">
            <a:extLst>
              <a:ext uri="{FF2B5EF4-FFF2-40B4-BE49-F238E27FC236}">
                <a16:creationId xmlns:a16="http://schemas.microsoft.com/office/drawing/2014/main" id="{0246DDA4-1652-16BA-CB24-12EB02CE0D55}"/>
              </a:ext>
            </a:extLst>
          </p:cNvPr>
          <p:cNvSpPr txBox="1"/>
          <p:nvPr/>
        </p:nvSpPr>
        <p:spPr>
          <a:xfrm>
            <a:off x="403048" y="5924413"/>
            <a:ext cx="810816" cy="539323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r>
              <a:rPr lang="en-US" altLang="zh-CN" b="1">
                <a:latin typeface="+mn-ea"/>
              </a:rPr>
              <a:t>MDM</a:t>
            </a:r>
            <a:endParaRPr lang="en-US" b="1">
              <a:latin typeface="+mn-ea"/>
            </a:endParaRPr>
          </a:p>
        </p:txBody>
      </p:sp>
      <p:sp>
        <p:nvSpPr>
          <p:cNvPr id="112" name="Rectangle 17">
            <a:extLst>
              <a:ext uri="{FF2B5EF4-FFF2-40B4-BE49-F238E27FC236}">
                <a16:creationId xmlns:a16="http://schemas.microsoft.com/office/drawing/2014/main" id="{044A6CA2-F78F-5A2B-40C5-F01A38F76C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2443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5" name="Rectangle 17">
            <a:extLst>
              <a:ext uri="{FF2B5EF4-FFF2-40B4-BE49-F238E27FC236}">
                <a16:creationId xmlns:a16="http://schemas.microsoft.com/office/drawing/2014/main" id="{803B49B9-0E73-5981-A97B-828E591DA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1766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产品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7" name="Rectangle 17">
            <a:extLst>
              <a:ext uri="{FF2B5EF4-FFF2-40B4-BE49-F238E27FC236}">
                <a16:creationId xmlns:a16="http://schemas.microsoft.com/office/drawing/2014/main" id="{1C799E89-17D7-50FB-1171-1AFCD878F2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9057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账户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8" name="Rectangle 17">
            <a:extLst>
              <a:ext uri="{FF2B5EF4-FFF2-40B4-BE49-F238E27FC236}">
                <a16:creationId xmlns:a16="http://schemas.microsoft.com/office/drawing/2014/main" id="{B6EBD142-5AB5-D181-5E4B-F84EDA2602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1089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渠道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2" name="Rectangle 17">
            <a:extLst>
              <a:ext uri="{FF2B5EF4-FFF2-40B4-BE49-F238E27FC236}">
                <a16:creationId xmlns:a16="http://schemas.microsoft.com/office/drawing/2014/main" id="{5B2D1DA8-90A9-F18E-DCE7-167B3FFDB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0412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区域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31B18FA-C95D-A60F-6F16-3909EB323A57}"/>
              </a:ext>
            </a:extLst>
          </p:cNvPr>
          <p:cNvGrpSpPr/>
          <p:nvPr/>
        </p:nvGrpSpPr>
        <p:grpSpPr>
          <a:xfrm>
            <a:off x="3568064" y="1330018"/>
            <a:ext cx="4660258" cy="1171566"/>
            <a:chOff x="3556042" y="4752847"/>
            <a:chExt cx="4660258" cy="1171566"/>
          </a:xfrm>
        </p:grpSpPr>
        <p:sp>
          <p:nvSpPr>
            <p:cNvPr id="39" name="Rectangle 18">
              <a:extLst>
                <a:ext uri="{FF2B5EF4-FFF2-40B4-BE49-F238E27FC236}">
                  <a16:creationId xmlns:a16="http://schemas.microsoft.com/office/drawing/2014/main" id="{4A70E0A0-4235-4403-740C-184A310DFD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8835" y="4753091"/>
              <a:ext cx="1707465" cy="551865"/>
            </a:xfrm>
            <a:prstGeom prst="rect">
              <a:avLst/>
            </a:prstGeom>
            <a:solidFill>
              <a:srgbClr val="E8EDF8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OA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69" name="Rectangle 84">
              <a:extLst>
                <a:ext uri="{FF2B5EF4-FFF2-40B4-BE49-F238E27FC236}">
                  <a16:creationId xmlns:a16="http://schemas.microsoft.com/office/drawing/2014/main" id="{2847C21F-6D23-FDA6-BD19-5B638FC571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3502" y="4999158"/>
              <a:ext cx="1052335" cy="255387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立项审批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44" name="Rectangle 18">
              <a:extLst>
                <a:ext uri="{FF2B5EF4-FFF2-40B4-BE49-F238E27FC236}">
                  <a16:creationId xmlns:a16="http://schemas.microsoft.com/office/drawing/2014/main" id="{62D3B640-4A90-B350-049B-3E2334A461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6042" y="4752847"/>
              <a:ext cx="2812164" cy="1171566"/>
            </a:xfrm>
            <a:prstGeom prst="rect">
              <a:avLst/>
            </a:prstGeom>
            <a:solidFill>
              <a:srgbClr val="F2F2F2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MPM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26" name="Rectangle 50">
              <a:extLst>
                <a:ext uri="{FF2B5EF4-FFF2-40B4-BE49-F238E27FC236}">
                  <a16:creationId xmlns:a16="http://schemas.microsoft.com/office/drawing/2014/main" id="{ACE84A0D-155F-43A8-8A57-79E56688D5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5939" y="5432543"/>
              <a:ext cx="1008000" cy="360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项目结项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4" name="Rectangle 17">
              <a:extLst>
                <a:ext uri="{FF2B5EF4-FFF2-40B4-BE49-F238E27FC236}">
                  <a16:creationId xmlns:a16="http://schemas.microsoft.com/office/drawing/2014/main" id="{55054CB2-60FD-98A9-5029-40AF50469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4552" y="4981203"/>
              <a:ext cx="1008000" cy="360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项目立项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5" name="Rectangle 17">
              <a:extLst>
                <a:ext uri="{FF2B5EF4-FFF2-40B4-BE49-F238E27FC236}">
                  <a16:creationId xmlns:a16="http://schemas.microsoft.com/office/drawing/2014/main" id="{9860A6DF-5C68-C31A-94E8-8A78C161F1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4552" y="5452808"/>
              <a:ext cx="1008000" cy="360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项目计划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4" name="箭头: 右 3">
            <a:extLst>
              <a:ext uri="{FF2B5EF4-FFF2-40B4-BE49-F238E27FC236}">
                <a16:creationId xmlns:a16="http://schemas.microsoft.com/office/drawing/2014/main" id="{F2744372-ED7F-C1E4-437F-42D7D85A9001}"/>
              </a:ext>
            </a:extLst>
          </p:cNvPr>
          <p:cNvSpPr/>
          <p:nvPr/>
        </p:nvSpPr>
        <p:spPr>
          <a:xfrm rot="16200000">
            <a:off x="2560056" y="579032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箭头: 右 24">
            <a:extLst>
              <a:ext uri="{FF2B5EF4-FFF2-40B4-BE49-F238E27FC236}">
                <a16:creationId xmlns:a16="http://schemas.microsoft.com/office/drawing/2014/main" id="{044EF3B8-075C-AF5D-0B11-A2A6F2C2A623}"/>
              </a:ext>
            </a:extLst>
          </p:cNvPr>
          <p:cNvSpPr/>
          <p:nvPr/>
        </p:nvSpPr>
        <p:spPr>
          <a:xfrm rot="16200000">
            <a:off x="6236405" y="580347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Rectangle 30">
            <a:extLst>
              <a:ext uri="{FF2B5EF4-FFF2-40B4-BE49-F238E27FC236}">
                <a16:creationId xmlns:a16="http://schemas.microsoft.com/office/drawing/2014/main" id="{5C039F13-0454-07BF-6A56-3A3BEC837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237" y="1558240"/>
            <a:ext cx="1008000" cy="360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费用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4" name="箭头: 右 53">
            <a:extLst>
              <a:ext uri="{FF2B5EF4-FFF2-40B4-BE49-F238E27FC236}">
                <a16:creationId xmlns:a16="http://schemas.microsoft.com/office/drawing/2014/main" id="{54B97630-6241-36C2-FFE8-A75A6011F381}"/>
              </a:ext>
            </a:extLst>
          </p:cNvPr>
          <p:cNvSpPr/>
          <p:nvPr/>
        </p:nvSpPr>
        <p:spPr>
          <a:xfrm>
            <a:off x="3437919" y="319553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箭头: 右 56">
            <a:extLst>
              <a:ext uri="{FF2B5EF4-FFF2-40B4-BE49-F238E27FC236}">
                <a16:creationId xmlns:a16="http://schemas.microsoft.com/office/drawing/2014/main" id="{0D8ACFED-24A3-854F-7A43-37B500AEA3B7}"/>
              </a:ext>
            </a:extLst>
          </p:cNvPr>
          <p:cNvSpPr/>
          <p:nvPr/>
        </p:nvSpPr>
        <p:spPr>
          <a:xfrm rot="10800000">
            <a:off x="3460223" y="359271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7" name="箭头: 右 66">
            <a:extLst>
              <a:ext uri="{FF2B5EF4-FFF2-40B4-BE49-F238E27FC236}">
                <a16:creationId xmlns:a16="http://schemas.microsoft.com/office/drawing/2014/main" id="{7F551EA3-7122-523E-54D1-33A217CD05DC}"/>
              </a:ext>
            </a:extLst>
          </p:cNvPr>
          <p:cNvSpPr/>
          <p:nvPr/>
        </p:nvSpPr>
        <p:spPr>
          <a:xfrm rot="5400000">
            <a:off x="10747167" y="7312810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Rectangle 5">
            <a:extLst>
              <a:ext uri="{FF2B5EF4-FFF2-40B4-BE49-F238E27FC236}">
                <a16:creationId xmlns:a16="http://schemas.microsoft.com/office/drawing/2014/main" id="{F4278DE9-3955-53EB-9783-BF9CF760E40D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40" name="Rectangle 18">
            <a:extLst>
              <a:ext uri="{FF2B5EF4-FFF2-40B4-BE49-F238E27FC236}">
                <a16:creationId xmlns:a16="http://schemas.microsoft.com/office/drawing/2014/main" id="{FBD981CB-3606-A850-645B-4404AB7FD3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4498" y="2737695"/>
            <a:ext cx="2484924" cy="1348965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38" name="Rectangle 84">
            <a:extLst>
              <a:ext uri="{FF2B5EF4-FFF2-40B4-BE49-F238E27FC236}">
                <a16:creationId xmlns:a16="http://schemas.microsoft.com/office/drawing/2014/main" id="{79517A75-9E37-67DD-ED9E-E12247BF27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2244" y="3115152"/>
            <a:ext cx="1007357" cy="406378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1" name="Rectangle 85">
            <a:extLst>
              <a:ext uri="{FF2B5EF4-FFF2-40B4-BE49-F238E27FC236}">
                <a16:creationId xmlns:a16="http://schemas.microsoft.com/office/drawing/2014/main" id="{98B473A6-18A4-B43F-F7A3-3761F6CCE6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5176" y="3096919"/>
            <a:ext cx="1004559" cy="42461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报销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4" name="Rectangle 85">
            <a:extLst>
              <a:ext uri="{FF2B5EF4-FFF2-40B4-BE49-F238E27FC236}">
                <a16:creationId xmlns:a16="http://schemas.microsoft.com/office/drawing/2014/main" id="{552D9B66-B4AD-4B1E-1599-38BC2BFD28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3069" y="3625374"/>
            <a:ext cx="1016532" cy="34026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管控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49" name="Rectangle 18">
            <a:extLst>
              <a:ext uri="{FF2B5EF4-FFF2-40B4-BE49-F238E27FC236}">
                <a16:creationId xmlns:a16="http://schemas.microsoft.com/office/drawing/2014/main" id="{B4EF6349-EE03-70D9-ACF7-177C20A70F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2732" y="2726829"/>
            <a:ext cx="1890994" cy="3162704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资金管理平台</a:t>
            </a:r>
          </a:p>
        </p:txBody>
      </p:sp>
      <p:sp>
        <p:nvSpPr>
          <p:cNvPr id="151" name="Rectangle 84">
            <a:extLst>
              <a:ext uri="{FF2B5EF4-FFF2-40B4-BE49-F238E27FC236}">
                <a16:creationId xmlns:a16="http://schemas.microsoft.com/office/drawing/2014/main" id="{FD2E0028-496C-8CC8-531C-52B0D5AEAA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7864" y="3580537"/>
            <a:ext cx="1080000" cy="777685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资金支付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6" name="箭头: 右 65">
            <a:extLst>
              <a:ext uri="{FF2B5EF4-FFF2-40B4-BE49-F238E27FC236}">
                <a16:creationId xmlns:a16="http://schemas.microsoft.com/office/drawing/2014/main" id="{2A49D86E-3EBE-CF96-571C-4C9A1CF28EAF}"/>
              </a:ext>
            </a:extLst>
          </p:cNvPr>
          <p:cNvSpPr/>
          <p:nvPr/>
        </p:nvSpPr>
        <p:spPr>
          <a:xfrm>
            <a:off x="6142428" y="3685322"/>
            <a:ext cx="125518" cy="418078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0" name="Rectangle 84">
            <a:extLst>
              <a:ext uri="{FF2B5EF4-FFF2-40B4-BE49-F238E27FC236}">
                <a16:creationId xmlns:a16="http://schemas.microsoft.com/office/drawing/2014/main" id="{B5C92738-CBB4-A183-69DB-561E291B3B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0944" y="4592390"/>
            <a:ext cx="1080000" cy="777685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回单确认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2" name="Oval 510">
            <a:extLst>
              <a:ext uri="{FF2B5EF4-FFF2-40B4-BE49-F238E27FC236}">
                <a16:creationId xmlns:a16="http://schemas.microsoft.com/office/drawing/2014/main" id="{73BE0095-B33D-CE3C-8AE5-953BB91FD4CE}"/>
              </a:ext>
            </a:extLst>
          </p:cNvPr>
          <p:cNvSpPr/>
          <p:nvPr/>
        </p:nvSpPr>
        <p:spPr>
          <a:xfrm>
            <a:off x="3682244" y="1321427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1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DB22AF5-BAC5-902E-F5C8-B86B603DE846}"/>
              </a:ext>
            </a:extLst>
          </p:cNvPr>
          <p:cNvSpPr txBox="1"/>
          <p:nvPr/>
        </p:nvSpPr>
        <p:spPr>
          <a:xfrm>
            <a:off x="3672076" y="4686349"/>
            <a:ext cx="1008000" cy="360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计提记账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9" name="箭头: 右 58">
            <a:extLst>
              <a:ext uri="{FF2B5EF4-FFF2-40B4-BE49-F238E27FC236}">
                <a16:creationId xmlns:a16="http://schemas.microsoft.com/office/drawing/2014/main" id="{100F6A83-0C25-7843-96C1-E74EA2F6037E}"/>
              </a:ext>
            </a:extLst>
          </p:cNvPr>
          <p:cNvSpPr/>
          <p:nvPr/>
        </p:nvSpPr>
        <p:spPr>
          <a:xfrm rot="16200000">
            <a:off x="4551533" y="5798484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箭头: 右 59">
            <a:extLst>
              <a:ext uri="{FF2B5EF4-FFF2-40B4-BE49-F238E27FC236}">
                <a16:creationId xmlns:a16="http://schemas.microsoft.com/office/drawing/2014/main" id="{1A362634-49F4-A8B3-4DB5-FB431F2F8AC6}"/>
              </a:ext>
            </a:extLst>
          </p:cNvPr>
          <p:cNvSpPr/>
          <p:nvPr/>
        </p:nvSpPr>
        <p:spPr>
          <a:xfrm>
            <a:off x="6396565" y="164988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箭头: 右 60">
            <a:extLst>
              <a:ext uri="{FF2B5EF4-FFF2-40B4-BE49-F238E27FC236}">
                <a16:creationId xmlns:a16="http://schemas.microsoft.com/office/drawing/2014/main" id="{3BC0909C-192F-24F4-4945-CCD30F696A08}"/>
              </a:ext>
            </a:extLst>
          </p:cNvPr>
          <p:cNvSpPr/>
          <p:nvPr/>
        </p:nvSpPr>
        <p:spPr>
          <a:xfrm rot="16200000">
            <a:off x="12828108" y="727844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Rectangle 157">
            <a:extLst>
              <a:ext uri="{FF2B5EF4-FFF2-40B4-BE49-F238E27FC236}">
                <a16:creationId xmlns:a16="http://schemas.microsoft.com/office/drawing/2014/main" id="{4CF9433E-2310-DE83-2E19-F17CDC19CF82}"/>
              </a:ext>
            </a:extLst>
          </p:cNvPr>
          <p:cNvSpPr/>
          <p:nvPr/>
        </p:nvSpPr>
        <p:spPr>
          <a:xfrm>
            <a:off x="3926695" y="1558495"/>
            <a:ext cx="2114467" cy="804526"/>
          </a:xfrm>
          <a:prstGeom prst="rect">
            <a:avLst/>
          </a:prstGeom>
          <a:solidFill>
            <a:srgbClr val="42BDFF">
              <a:alpha val="34902"/>
            </a:srgbClr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待建设对零星采购</a:t>
            </a:r>
            <a:r>
              <a:rPr lang="zh-CN" altLang="en-US" sz="1600" b="1">
                <a:solidFill>
                  <a:srgbClr val="FF0000"/>
                </a:solidFill>
                <a:latin typeface="Microsoft YaHei"/>
                <a:ea typeface="Microsoft YaHei"/>
              </a:rPr>
              <a:t>推广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费的立项支持</a:t>
            </a:r>
            <a:endParaRPr kumimoji="0" lang="en-US" altLang="zh-CN" sz="16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6D967CCF-5E54-4443-F254-F5EF3F13B6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9735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6" name="箭头: 右 65">
            <a:extLst>
              <a:ext uri="{FF2B5EF4-FFF2-40B4-BE49-F238E27FC236}">
                <a16:creationId xmlns:a16="http://schemas.microsoft.com/office/drawing/2014/main" id="{4C993B57-5080-0E7B-CFA8-BFA96F16A9EF}"/>
              </a:ext>
            </a:extLst>
          </p:cNvPr>
          <p:cNvSpPr/>
          <p:nvPr/>
        </p:nvSpPr>
        <p:spPr>
          <a:xfrm rot="10800000">
            <a:off x="6370281" y="2042550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Rectangle 18">
            <a:extLst>
              <a:ext uri="{FF2B5EF4-FFF2-40B4-BE49-F238E27FC236}">
                <a16:creationId xmlns:a16="http://schemas.microsoft.com/office/drawing/2014/main" id="{5A40EAB2-F340-89D1-CAC7-C7EBE81A0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0857" y="1978704"/>
            <a:ext cx="1646455" cy="575959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PBF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62" name="Rectangle 84">
            <a:extLst>
              <a:ext uri="{FF2B5EF4-FFF2-40B4-BE49-F238E27FC236}">
                <a16:creationId xmlns:a16="http://schemas.microsoft.com/office/drawing/2014/main" id="{D0A540FA-02CA-2729-343D-ACD21C960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5515" y="2201331"/>
            <a:ext cx="1052335" cy="304957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推广费预算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3" name="箭头: 右 56">
            <a:extLst>
              <a:ext uri="{FF2B5EF4-FFF2-40B4-BE49-F238E27FC236}">
                <a16:creationId xmlns:a16="http://schemas.microsoft.com/office/drawing/2014/main" id="{F5ADB45B-B6B8-A873-767B-EFC33CC8D182}"/>
              </a:ext>
            </a:extLst>
          </p:cNvPr>
          <p:cNvSpPr/>
          <p:nvPr/>
        </p:nvSpPr>
        <p:spPr>
          <a:xfrm rot="10800000">
            <a:off x="6119540" y="5305462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箭头: 右 65">
            <a:extLst>
              <a:ext uri="{FF2B5EF4-FFF2-40B4-BE49-F238E27FC236}">
                <a16:creationId xmlns:a16="http://schemas.microsoft.com/office/drawing/2014/main" id="{2A965560-C7FE-0349-B0AF-F5D940B2390B}"/>
              </a:ext>
            </a:extLst>
          </p:cNvPr>
          <p:cNvSpPr/>
          <p:nvPr/>
        </p:nvSpPr>
        <p:spPr>
          <a:xfrm rot="10800000">
            <a:off x="3487990" y="1859883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箭头: 右 66">
            <a:extLst>
              <a:ext uri="{FF2B5EF4-FFF2-40B4-BE49-F238E27FC236}">
                <a16:creationId xmlns:a16="http://schemas.microsoft.com/office/drawing/2014/main" id="{FFB19AAF-BE32-55E9-30C1-1307C81B111B}"/>
              </a:ext>
            </a:extLst>
          </p:cNvPr>
          <p:cNvSpPr/>
          <p:nvPr/>
        </p:nvSpPr>
        <p:spPr>
          <a:xfrm rot="5400000">
            <a:off x="4638274" y="2496944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箭头: 右 60">
            <a:extLst>
              <a:ext uri="{FF2B5EF4-FFF2-40B4-BE49-F238E27FC236}">
                <a16:creationId xmlns:a16="http://schemas.microsoft.com/office/drawing/2014/main" id="{DB528820-D7FF-C53B-AE08-1CA29824E965}"/>
              </a:ext>
            </a:extLst>
          </p:cNvPr>
          <p:cNvSpPr/>
          <p:nvPr/>
        </p:nvSpPr>
        <p:spPr>
          <a:xfrm rot="16200000">
            <a:off x="5285254" y="2485529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Rectangle 85">
            <a:extLst>
              <a:ext uri="{FF2B5EF4-FFF2-40B4-BE49-F238E27FC236}">
                <a16:creationId xmlns:a16="http://schemas.microsoft.com/office/drawing/2014/main" id="{BD14BE27-7488-521C-8DDC-7B4C550460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99561" y="3615928"/>
            <a:ext cx="1016532" cy="34026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付款提报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5" name="文本框 6">
            <a:extLst>
              <a:ext uri="{FF2B5EF4-FFF2-40B4-BE49-F238E27FC236}">
                <a16:creationId xmlns:a16="http://schemas.microsoft.com/office/drawing/2014/main" id="{BAAE826E-C3ED-F610-76F0-686A985DB389}"/>
              </a:ext>
            </a:extLst>
          </p:cNvPr>
          <p:cNvSpPr txBox="1"/>
          <p:nvPr/>
        </p:nvSpPr>
        <p:spPr>
          <a:xfrm>
            <a:off x="4880611" y="4686349"/>
            <a:ext cx="1008000" cy="360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计提冲销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74" name="文本框 6">
            <a:extLst>
              <a:ext uri="{FF2B5EF4-FFF2-40B4-BE49-F238E27FC236}">
                <a16:creationId xmlns:a16="http://schemas.microsoft.com/office/drawing/2014/main" id="{64A0F82A-98A5-45C2-6B96-B180880FAAE5}"/>
              </a:ext>
            </a:extLst>
          </p:cNvPr>
          <p:cNvSpPr txBox="1"/>
          <p:nvPr/>
        </p:nvSpPr>
        <p:spPr>
          <a:xfrm>
            <a:off x="3689062" y="5230205"/>
            <a:ext cx="1008000" cy="360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实际费用</a:t>
            </a:r>
            <a:endParaRPr lang="en-US" altLang="zh-CN" sz="1200">
              <a:solidFill>
                <a:schemeClr val="tx1"/>
              </a:solidFill>
              <a:cs typeface="+mn-ea"/>
              <a:sym typeface="+mn-lt"/>
            </a:endParaRPr>
          </a:p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过账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75" name="文本框 6">
            <a:extLst>
              <a:ext uri="{FF2B5EF4-FFF2-40B4-BE49-F238E27FC236}">
                <a16:creationId xmlns:a16="http://schemas.microsoft.com/office/drawing/2014/main" id="{DC839376-4172-C601-CE57-05EF5429AAA6}"/>
              </a:ext>
            </a:extLst>
          </p:cNvPr>
          <p:cNvSpPr txBox="1"/>
          <p:nvPr/>
        </p:nvSpPr>
        <p:spPr>
          <a:xfrm>
            <a:off x="4866279" y="5248098"/>
            <a:ext cx="1008000" cy="360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应付付款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76" name="箭头: 右 58">
            <a:extLst>
              <a:ext uri="{FF2B5EF4-FFF2-40B4-BE49-F238E27FC236}">
                <a16:creationId xmlns:a16="http://schemas.microsoft.com/office/drawing/2014/main" id="{601C092E-A19B-F7B3-75D6-72541949303E}"/>
              </a:ext>
            </a:extLst>
          </p:cNvPr>
          <p:cNvSpPr/>
          <p:nvPr/>
        </p:nvSpPr>
        <p:spPr>
          <a:xfrm rot="16200000">
            <a:off x="5191400" y="4081133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箭头: 右 66">
            <a:extLst>
              <a:ext uri="{FF2B5EF4-FFF2-40B4-BE49-F238E27FC236}">
                <a16:creationId xmlns:a16="http://schemas.microsoft.com/office/drawing/2014/main" id="{E460DCF3-54BB-5A5A-EFBD-D0E9DCF2A885}"/>
              </a:ext>
            </a:extLst>
          </p:cNvPr>
          <p:cNvSpPr/>
          <p:nvPr/>
        </p:nvSpPr>
        <p:spPr>
          <a:xfrm rot="5400000">
            <a:off x="4469746" y="4085554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Oval 510">
            <a:extLst>
              <a:ext uri="{FF2B5EF4-FFF2-40B4-BE49-F238E27FC236}">
                <a16:creationId xmlns:a16="http://schemas.microsoft.com/office/drawing/2014/main" id="{53831649-5D71-C501-73DB-00100F1E9F39}"/>
              </a:ext>
            </a:extLst>
          </p:cNvPr>
          <p:cNvSpPr/>
          <p:nvPr/>
        </p:nvSpPr>
        <p:spPr>
          <a:xfrm>
            <a:off x="641218" y="1221895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2</a:t>
            </a:r>
          </a:p>
        </p:txBody>
      </p:sp>
      <p:sp>
        <p:nvSpPr>
          <p:cNvPr id="84" name="Rectangle 157">
            <a:extLst>
              <a:ext uri="{FF2B5EF4-FFF2-40B4-BE49-F238E27FC236}">
                <a16:creationId xmlns:a16="http://schemas.microsoft.com/office/drawing/2014/main" id="{594988BD-D2B8-129D-931D-373BB4597471}"/>
              </a:ext>
            </a:extLst>
          </p:cNvPr>
          <p:cNvSpPr/>
          <p:nvPr/>
        </p:nvSpPr>
        <p:spPr>
          <a:xfrm>
            <a:off x="783398" y="1540048"/>
            <a:ext cx="2545201" cy="4311796"/>
          </a:xfrm>
          <a:prstGeom prst="rect">
            <a:avLst/>
          </a:prstGeom>
          <a:solidFill>
            <a:srgbClr val="42BDFF">
              <a:alpha val="34902"/>
            </a:srgbClr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待建设对零星采购</a:t>
            </a:r>
            <a:r>
              <a:rPr lang="zh-CN" altLang="en-US" sz="1600" b="1">
                <a:solidFill>
                  <a:srgbClr val="FF0000"/>
                </a:solidFill>
                <a:latin typeface="Microsoft YaHei"/>
                <a:ea typeface="Microsoft YaHei"/>
              </a:rPr>
              <a:t>推广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费的项目管理能力</a:t>
            </a:r>
            <a:endParaRPr kumimoji="0" lang="en-US" altLang="zh-CN" sz="16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87" name="Oval 510">
            <a:extLst>
              <a:ext uri="{FF2B5EF4-FFF2-40B4-BE49-F238E27FC236}">
                <a16:creationId xmlns:a16="http://schemas.microsoft.com/office/drawing/2014/main" id="{676C636A-E33B-2E52-7CE4-D5C729D2C87F}"/>
              </a:ext>
            </a:extLst>
          </p:cNvPr>
          <p:cNvSpPr/>
          <p:nvPr/>
        </p:nvSpPr>
        <p:spPr>
          <a:xfrm>
            <a:off x="8484608" y="3511739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1</a:t>
            </a:r>
          </a:p>
        </p:txBody>
      </p:sp>
      <p:sp>
        <p:nvSpPr>
          <p:cNvPr id="88" name="Oval 510">
            <a:extLst>
              <a:ext uri="{FF2B5EF4-FFF2-40B4-BE49-F238E27FC236}">
                <a16:creationId xmlns:a16="http://schemas.microsoft.com/office/drawing/2014/main" id="{4EABF1A7-1E79-E0C4-F6E1-B856580E09E0}"/>
              </a:ext>
            </a:extLst>
          </p:cNvPr>
          <p:cNvSpPr/>
          <p:nvPr/>
        </p:nvSpPr>
        <p:spPr>
          <a:xfrm>
            <a:off x="8461922" y="4025884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0933668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18">
            <a:extLst>
              <a:ext uri="{FF2B5EF4-FFF2-40B4-BE49-F238E27FC236}">
                <a16:creationId xmlns:a16="http://schemas.microsoft.com/office/drawing/2014/main" id="{63B4EB4D-803B-B99B-F427-61856A1A59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2821" y="4890633"/>
            <a:ext cx="4657099" cy="1015530"/>
          </a:xfrm>
          <a:prstGeom prst="rect">
            <a:avLst/>
          </a:prstGeom>
          <a:solidFill>
            <a:srgbClr val="C0E9FF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AP ERP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10984A-1973-E074-373C-41FA2BFB49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0195" y="1250994"/>
            <a:ext cx="2933181" cy="4659949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R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8" name="Rectangle 18">
            <a:extLst>
              <a:ext uri="{FF2B5EF4-FFF2-40B4-BE49-F238E27FC236}">
                <a16:creationId xmlns:a16="http://schemas.microsoft.com/office/drawing/2014/main" id="{404DBAC2-18F7-7509-B24D-258FC79C2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1500071"/>
            <a:ext cx="2451610" cy="949673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管理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3E9A57-CB75-5562-65AA-BBEC656EC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03430" y="6445055"/>
            <a:ext cx="585140" cy="232752"/>
          </a:xfrm>
        </p:spPr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28</a:t>
            </a:fld>
            <a:endParaRPr kumimoji="1" lang="zh-CN" alt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351361-B5FC-3B4C-93C7-23720EA4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10282312" cy="706293"/>
          </a:xfrm>
        </p:spPr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长期系统方案：搭建</a:t>
            </a:r>
            <a:r>
              <a:rPr lang="en-US" altLang="zh-CN"/>
              <a:t>PTP</a:t>
            </a:r>
            <a:r>
              <a:rPr lang="zh-CN" altLang="en-US"/>
              <a:t>系统流程，实现及时自动核算多维度推广费核算及分摊</a:t>
            </a:r>
            <a:endParaRPr lang="en-US"/>
          </a:p>
        </p:txBody>
      </p:sp>
      <p:sp>
        <p:nvSpPr>
          <p:cNvPr id="16" name="Rectangle 18">
            <a:extLst>
              <a:ext uri="{FF2B5EF4-FFF2-40B4-BE49-F238E27FC236}">
                <a16:creationId xmlns:a16="http://schemas.microsoft.com/office/drawing/2014/main" id="{E26698F4-350E-C049-E5A1-A718B51A9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1766505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准入</a:t>
            </a:r>
          </a:p>
        </p:txBody>
      </p:sp>
      <p:sp>
        <p:nvSpPr>
          <p:cNvPr id="103" name="Rectangle 30">
            <a:extLst>
              <a:ext uri="{FF2B5EF4-FFF2-40B4-BE49-F238E27FC236}">
                <a16:creationId xmlns:a16="http://schemas.microsoft.com/office/drawing/2014/main" id="{9A73E786-6CEC-FA2E-31C5-1EC4AC4A38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8815" y="1766007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0" name="Rectangle 18">
            <a:extLst>
              <a:ext uri="{FF2B5EF4-FFF2-40B4-BE49-F238E27FC236}">
                <a16:creationId xmlns:a16="http://schemas.microsoft.com/office/drawing/2014/main" id="{8215F382-68BB-1B97-CCAA-840E1E959B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2532178"/>
            <a:ext cx="2451610" cy="929695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寻源协同</a:t>
            </a:r>
          </a:p>
        </p:txBody>
      </p:sp>
      <p:sp>
        <p:nvSpPr>
          <p:cNvPr id="293" name="Rectangle 17">
            <a:extLst>
              <a:ext uri="{FF2B5EF4-FFF2-40B4-BE49-F238E27FC236}">
                <a16:creationId xmlns:a16="http://schemas.microsoft.com/office/drawing/2014/main" id="{1D3F46A8-6AEA-A772-BC95-CC446FDE02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275234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询报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5725C3B3-43B9-537F-C7B6-625F0AE8E3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8815" y="275234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竞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3" name="Rectangle 18">
            <a:extLst>
              <a:ext uri="{FF2B5EF4-FFF2-40B4-BE49-F238E27FC236}">
                <a16:creationId xmlns:a16="http://schemas.microsoft.com/office/drawing/2014/main" id="{542C84DF-0CFC-603E-8CE0-FE2C218111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3544307"/>
            <a:ext cx="2451610" cy="717534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合同管理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A6E260C3-8A19-6E3B-53B3-51E1DD373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4382529"/>
            <a:ext cx="2451610" cy="717534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订单履行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0D9DE54B-B5AC-44E7-593C-AA89FD48D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456" y="5182193"/>
            <a:ext cx="2451610" cy="659785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财务协同</a:t>
            </a: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D3852551-1543-EC05-EBF5-F7FB94D8B0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205" y="5419574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结算单对账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7E31F183-EB64-54BF-4381-1DC44EFD0C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8682" y="5421926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发票上传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审核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44136927-858F-6DA3-98D9-F71401917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383276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年框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B7316411-D4C5-299C-1622-5F54EC5A98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8815" y="383276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6DC6D3BB-3AAF-C52A-02D2-5DCB03804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4678748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186652DF-610C-F1BF-04ED-DD93B0BC4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8682" y="4684674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7" name="Rectangle 18">
            <a:extLst>
              <a:ext uri="{FF2B5EF4-FFF2-40B4-BE49-F238E27FC236}">
                <a16:creationId xmlns:a16="http://schemas.microsoft.com/office/drawing/2014/main" id="{6278E8FF-BB7D-DCA7-2BF6-971FBC8C52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2116946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绩效考核</a:t>
            </a:r>
          </a:p>
        </p:txBody>
      </p: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09FC2D6D-FC1A-E7EA-44DB-BD5B54CFE610}"/>
              </a:ext>
            </a:extLst>
          </p:cNvPr>
          <p:cNvGrpSpPr/>
          <p:nvPr/>
        </p:nvGrpSpPr>
        <p:grpSpPr>
          <a:xfrm>
            <a:off x="8484608" y="866137"/>
            <a:ext cx="3160099" cy="313175"/>
            <a:chOff x="10133105" y="1104727"/>
            <a:chExt cx="2058895" cy="313175"/>
          </a:xfrm>
        </p:grpSpPr>
        <p:grpSp>
          <p:nvGrpSpPr>
            <p:cNvPr id="47" name="Group 63">
              <a:extLst>
                <a:ext uri="{FF2B5EF4-FFF2-40B4-BE49-F238E27FC236}">
                  <a16:creationId xmlns:a16="http://schemas.microsoft.com/office/drawing/2014/main" id="{FF07DC3E-8926-7696-EFE5-9C8B8A49AFD5}"/>
                </a:ext>
              </a:extLst>
            </p:cNvPr>
            <p:cNvGrpSpPr/>
            <p:nvPr/>
          </p:nvGrpSpPr>
          <p:grpSpPr>
            <a:xfrm>
              <a:off x="10133105" y="1104727"/>
              <a:ext cx="2058895" cy="313175"/>
              <a:chOff x="9344415" y="1038841"/>
              <a:chExt cx="2551176" cy="313175"/>
            </a:xfrm>
          </p:grpSpPr>
          <p:cxnSp>
            <p:nvCxnSpPr>
              <p:cNvPr id="48" name="Straight Connector 38">
                <a:extLst>
                  <a:ext uri="{FF2B5EF4-FFF2-40B4-BE49-F238E27FC236}">
                    <a16:creationId xmlns:a16="http://schemas.microsoft.com/office/drawing/2014/main" id="{A4AB9685-F160-7599-DDB2-7C31B65E8C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44415" y="1225644"/>
                <a:ext cx="2551176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 type="diamond"/>
                <a:tailEnd type="diamond"/>
              </a:ln>
              <a:effectLst/>
            </p:spPr>
          </p:cxnSp>
          <p:sp>
            <p:nvSpPr>
              <p:cNvPr id="50" name="TextBox 39">
                <a:extLst>
                  <a:ext uri="{FF2B5EF4-FFF2-40B4-BE49-F238E27FC236}">
                    <a16:creationId xmlns:a16="http://schemas.microsoft.com/office/drawing/2014/main" id="{60FC412D-CA07-B12E-2A4E-460DD39CBF79}"/>
                  </a:ext>
                </a:extLst>
              </p:cNvPr>
              <p:cNvSpPr txBox="1"/>
              <p:nvPr/>
            </p:nvSpPr>
            <p:spPr>
              <a:xfrm>
                <a:off x="10193126" y="1038841"/>
                <a:ext cx="1115431" cy="307777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1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Times New Roman"/>
                    <a:ea typeface="Microsoft YaHei"/>
                    <a:cs typeface="+mn-cs"/>
                  </a:rPr>
                  <a:t>现状</a:t>
                </a:r>
                <a:r>
                  <a:rPr lang="en-US" altLang="zh-CN" sz="1400" b="1" kern="0">
                    <a:latin typeface="Times New Roman"/>
                    <a:ea typeface="Microsoft YaHei"/>
                  </a:rPr>
                  <a:t>/</a:t>
                </a:r>
                <a:r>
                  <a:rPr lang="zh-CN" altLang="en-US" sz="1400" b="1" kern="0">
                    <a:latin typeface="Times New Roman"/>
                    <a:ea typeface="Microsoft YaHei"/>
                  </a:rPr>
                  <a:t>提升方向</a:t>
                </a:r>
                <a:endParaRPr kumimoji="0" lang="zh-CN" altLang="en-US" sz="1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Times New Roman"/>
                  <a:ea typeface="Microsoft YaHei"/>
                  <a:cs typeface="+mn-cs"/>
                </a:endParaRPr>
              </a:p>
            </p:txBody>
          </p:sp>
          <p:sp>
            <p:nvSpPr>
              <p:cNvPr id="52" name="Rectangle 59">
                <a:extLst>
                  <a:ext uri="{FF2B5EF4-FFF2-40B4-BE49-F238E27FC236}">
                    <a16:creationId xmlns:a16="http://schemas.microsoft.com/office/drawing/2014/main" id="{7EBFF4C7-AE2C-5CD4-9F05-11FCAFA30191}"/>
                  </a:ext>
                </a:extLst>
              </p:cNvPr>
              <p:cNvSpPr/>
              <p:nvPr/>
            </p:nvSpPr>
            <p:spPr>
              <a:xfrm>
                <a:off x="9966693" y="1044241"/>
                <a:ext cx="253249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</p:grpSp>
        <p:pic>
          <p:nvPicPr>
            <p:cNvPr id="55" name="Graphic 66">
              <a:extLst>
                <a:ext uri="{FF2B5EF4-FFF2-40B4-BE49-F238E27FC236}">
                  <a16:creationId xmlns:a16="http://schemas.microsoft.com/office/drawing/2014/main" id="{46E33D4C-F0E4-F422-6716-A80BBCDD53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653055" y="1138070"/>
              <a:ext cx="164992" cy="256032"/>
            </a:xfrm>
            <a:prstGeom prst="rect">
              <a:avLst/>
            </a:prstGeom>
          </p:spPr>
        </p:pic>
      </p:grpSp>
      <p:sp>
        <p:nvSpPr>
          <p:cNvPr id="56" name="矩形 189">
            <a:extLst>
              <a:ext uri="{FF2B5EF4-FFF2-40B4-BE49-F238E27FC236}">
                <a16:creationId xmlns:a16="http://schemas.microsoft.com/office/drawing/2014/main" id="{C9CDC39A-79BF-9E57-BAA2-2DE9D1DAF8B3}"/>
              </a:ext>
            </a:extLst>
          </p:cNvPr>
          <p:cNvSpPr/>
          <p:nvPr/>
        </p:nvSpPr>
        <p:spPr>
          <a:xfrm>
            <a:off x="8472083" y="1264760"/>
            <a:ext cx="3210172" cy="5180286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系统现状：</a:t>
            </a:r>
            <a:endParaRPr lang="en-US" altLang="zh-CN" sz="1200" b="1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1. </a:t>
            </a:r>
            <a:r>
              <a:rPr lang="zh-CN" altLang="en-US" sz="1200" b="1">
                <a:latin typeface="+mj-ea"/>
                <a:ea typeface="+mj-ea"/>
              </a:rPr>
              <a:t>推广费计提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>
                <a:latin typeface="+mj-ea"/>
                <a:ea typeface="+mj-ea"/>
              </a:rPr>
              <a:t>FSSC</a:t>
            </a:r>
            <a:r>
              <a:rPr lang="zh-CN" altLang="en-US" sz="1200">
                <a:latin typeface="+mj-ea"/>
                <a:ea typeface="+mj-ea"/>
              </a:rPr>
              <a:t>系统中通过费用申请单计提推广费，下月全部手工冲销；</a:t>
            </a:r>
            <a:endParaRPr lang="en-US" altLang="zh-CN" sz="1200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2. </a:t>
            </a:r>
            <a:r>
              <a:rPr lang="zh-CN" altLang="en-US" sz="1200" b="1">
                <a:latin typeface="+mj-ea"/>
                <a:ea typeface="+mj-ea"/>
              </a:rPr>
              <a:t>推广费报销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>
                <a:latin typeface="+mj-ea"/>
                <a:ea typeface="+mj-ea"/>
              </a:rPr>
              <a:t>FSSC</a:t>
            </a:r>
            <a:r>
              <a:rPr lang="zh-CN" altLang="en-US" sz="1200">
                <a:latin typeface="+mj-ea"/>
                <a:ea typeface="+mj-ea"/>
              </a:rPr>
              <a:t>系统中通过费用报销单进行费用报销，无过程管控</a:t>
            </a:r>
            <a:r>
              <a:rPr lang="zh-CN" altLang="en-US" sz="1200" b="1">
                <a:latin typeface="+mj-ea"/>
                <a:ea typeface="+mj-ea"/>
              </a:rPr>
              <a:t>。</a:t>
            </a:r>
            <a:endParaRPr lang="en-US" altLang="zh-CN" sz="1200">
              <a:latin typeface="+mj-ea"/>
              <a:ea typeface="+mj-ea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提升方向：</a:t>
            </a:r>
            <a:endParaRPr lang="en-US" altLang="zh-CN" sz="1200" b="1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MPM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定位</a:t>
            </a:r>
            <a:r>
              <a:rPr lang="en-US" altLang="zh-CN" sz="1200">
                <a:latin typeface="+mj-ea"/>
                <a:ea typeface="+mj-ea"/>
              </a:rPr>
              <a:t>MPM</a:t>
            </a:r>
            <a:r>
              <a:rPr lang="zh-CN" altLang="en-US" sz="1200">
                <a:latin typeface="+mj-ea"/>
                <a:ea typeface="+mj-ea"/>
              </a:rPr>
              <a:t>系统为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所有推广费项目立项源头</a:t>
            </a:r>
            <a:r>
              <a:rPr lang="zh-CN" altLang="en-US" sz="1200">
                <a:latin typeface="+mj-ea"/>
                <a:ea typeface="+mj-ea"/>
              </a:rPr>
              <a:t>，且其中针对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大额推广费</a:t>
            </a:r>
            <a:r>
              <a:rPr lang="zh-CN" altLang="en-US" sz="1200">
                <a:latin typeface="+mj-ea"/>
                <a:ea typeface="+mj-ea"/>
              </a:rPr>
              <a:t>，建设过程管理模块，按</a:t>
            </a:r>
            <a:r>
              <a:rPr lang="en-US" altLang="zh-CN" sz="1200">
                <a:latin typeface="+mj-ea"/>
                <a:ea typeface="+mj-ea"/>
              </a:rPr>
              <a:t>PTP</a:t>
            </a:r>
            <a:r>
              <a:rPr lang="zh-CN" altLang="en-US" sz="1200">
                <a:latin typeface="+mj-ea"/>
                <a:ea typeface="+mj-ea"/>
              </a:rPr>
              <a:t>模式管理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SRM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接收</a:t>
            </a:r>
            <a:r>
              <a:rPr lang="en-US" altLang="zh-CN" sz="1200">
                <a:latin typeface="+mj-ea"/>
                <a:ea typeface="+mj-ea"/>
              </a:rPr>
              <a:t>MPM</a:t>
            </a:r>
            <a:r>
              <a:rPr lang="zh-CN" altLang="en-US" sz="1200">
                <a:latin typeface="+mj-ea"/>
                <a:ea typeface="+mj-ea"/>
              </a:rPr>
              <a:t>中大额推广费项目，并搭建推广业务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供应商、寻源报价、采购合同、对账等功能</a:t>
            </a:r>
            <a:r>
              <a:rPr lang="zh-CN" altLang="en-US" sz="1200">
                <a:latin typeface="+mj-ea"/>
                <a:ea typeface="+mj-ea"/>
              </a:rPr>
              <a:t>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SAP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搭建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完整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PTP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流程</a:t>
            </a:r>
            <a:r>
              <a:rPr lang="zh-CN" altLang="en-US" sz="1200">
                <a:latin typeface="+mj-ea"/>
                <a:ea typeface="+mj-ea"/>
              </a:rPr>
              <a:t>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推广费系统：</a:t>
            </a:r>
            <a:r>
              <a:rPr lang="zh-CN" altLang="en-US" sz="1200">
                <a:latin typeface="+mj-ea"/>
                <a:ea typeface="+mj-ea"/>
              </a:rPr>
              <a:t>定位管理小额报销推广费业务，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与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FSSC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直接对接</a:t>
            </a:r>
            <a:r>
              <a:rPr lang="zh-CN" altLang="en-US" sz="1200">
                <a:latin typeface="+mj-ea"/>
                <a:ea typeface="+mj-ea"/>
              </a:rPr>
              <a:t>对应单据；</a:t>
            </a:r>
            <a:endParaRPr lang="en-US" altLang="zh-CN" sz="1200">
              <a:latin typeface="+mj-ea"/>
              <a:ea typeface="+mj-ea"/>
            </a:endParaRPr>
          </a:p>
        </p:txBody>
      </p: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E55475C0-EEA7-6FC8-07A8-9B1D970C7AE3}"/>
              </a:ext>
            </a:extLst>
          </p:cNvPr>
          <p:cNvGrpSpPr/>
          <p:nvPr/>
        </p:nvGrpSpPr>
        <p:grpSpPr>
          <a:xfrm>
            <a:off x="547293" y="904656"/>
            <a:ext cx="7709724" cy="307776"/>
            <a:chOff x="393790" y="1071756"/>
            <a:chExt cx="7955080" cy="307776"/>
          </a:xfrm>
        </p:grpSpPr>
        <p:cxnSp>
          <p:nvCxnSpPr>
            <p:cNvPr id="81" name="Straight Connector 38">
              <a:extLst>
                <a:ext uri="{FF2B5EF4-FFF2-40B4-BE49-F238E27FC236}">
                  <a16:creationId xmlns:a16="http://schemas.microsoft.com/office/drawing/2014/main" id="{A2F57F02-A4EE-079F-E620-EC487EA988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790" y="1218242"/>
              <a:ext cx="7955080" cy="7402"/>
            </a:xfrm>
            <a:prstGeom prst="line">
              <a:avLst/>
            </a:prstGeom>
            <a:noFill/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diamond"/>
              <a:tailEnd type="diamond"/>
            </a:ln>
            <a:effectLst/>
          </p:spPr>
        </p:cxnSp>
        <p:sp>
          <p:nvSpPr>
            <p:cNvPr id="82" name="Rectangle 24">
              <a:extLst>
                <a:ext uri="{FF2B5EF4-FFF2-40B4-BE49-F238E27FC236}">
                  <a16:creationId xmlns:a16="http://schemas.microsoft.com/office/drawing/2014/main" id="{161D99B6-FF3E-1D66-D890-AD0BA723250A}"/>
                </a:ext>
              </a:extLst>
            </p:cNvPr>
            <p:cNvSpPr/>
            <p:nvPr/>
          </p:nvSpPr>
          <p:spPr>
            <a:xfrm>
              <a:off x="3546889" y="1071756"/>
              <a:ext cx="2103120" cy="307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r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400" b="1">
                  <a:latin typeface="Microsoft YaHei"/>
                  <a:ea typeface="Microsoft YaHei"/>
                  <a:cs typeface="Arial" panose="020B0604020202020204" pitchFamily="34" charset="0"/>
                </a:rPr>
                <a:t>推广费长</a:t>
              </a:r>
              <a:r>
                <a:rPr kumimoji="1" lang="zh-CN" altLang="en-US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YaHei"/>
                  <a:ea typeface="Microsoft YaHei"/>
                  <a:cs typeface="Arial" panose="020B0604020202020204" pitchFamily="34" charset="0"/>
                </a:rPr>
                <a:t>期方案</a:t>
              </a:r>
              <a:endParaRPr kumimoji="1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Arial" panose="020B0604020202020204" pitchFamily="34" charset="0"/>
              </a:endParaRPr>
            </a:p>
          </p:txBody>
        </p:sp>
        <p:grpSp>
          <p:nvGrpSpPr>
            <p:cNvPr id="83" name="Group 55">
              <a:extLst>
                <a:ext uri="{FF2B5EF4-FFF2-40B4-BE49-F238E27FC236}">
                  <a16:creationId xmlns:a16="http://schemas.microsoft.com/office/drawing/2014/main" id="{748F363F-598A-5DBE-07A4-E7706396C922}"/>
                </a:ext>
              </a:extLst>
            </p:cNvPr>
            <p:cNvGrpSpPr/>
            <p:nvPr/>
          </p:nvGrpSpPr>
          <p:grpSpPr>
            <a:xfrm>
              <a:off x="3432303" y="1071757"/>
              <a:ext cx="431104" cy="307775"/>
              <a:chOff x="3126173" y="1114361"/>
              <a:chExt cx="431104" cy="307775"/>
            </a:xfrm>
          </p:grpSpPr>
          <p:sp>
            <p:nvSpPr>
              <p:cNvPr id="85" name="Rectangle 49">
                <a:extLst>
                  <a:ext uri="{FF2B5EF4-FFF2-40B4-BE49-F238E27FC236}">
                    <a16:creationId xmlns:a16="http://schemas.microsoft.com/office/drawing/2014/main" id="{41959D13-B337-0497-F283-252FB5609711}"/>
                  </a:ext>
                </a:extLst>
              </p:cNvPr>
              <p:cNvSpPr/>
              <p:nvPr/>
            </p:nvSpPr>
            <p:spPr>
              <a:xfrm>
                <a:off x="3126173" y="1114361"/>
                <a:ext cx="431104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86" name="Graphic 44">
                <a:extLst>
                  <a:ext uri="{FF2B5EF4-FFF2-40B4-BE49-F238E27FC236}">
                    <a16:creationId xmlns:a16="http://schemas.microsoft.com/office/drawing/2014/main" id="{7DBEA2AB-F8B5-08BD-1641-5CCA8D47DC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204565" y="1122751"/>
                <a:ext cx="274320" cy="252882"/>
              </a:xfrm>
              <a:prstGeom prst="rect">
                <a:avLst/>
              </a:prstGeom>
            </p:spPr>
          </p:pic>
        </p:grpSp>
      </p:grpSp>
      <p:sp>
        <p:nvSpPr>
          <p:cNvPr id="99" name="Rectangle 17">
            <a:extLst>
              <a:ext uri="{FF2B5EF4-FFF2-40B4-BE49-F238E27FC236}">
                <a16:creationId xmlns:a16="http://schemas.microsoft.com/office/drawing/2014/main" id="{271B20AC-F24A-6727-E5CF-95D6D300F1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438" y="3107411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招投标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0" name="矩形 189">
            <a:extLst>
              <a:ext uri="{FF2B5EF4-FFF2-40B4-BE49-F238E27FC236}">
                <a16:creationId xmlns:a16="http://schemas.microsoft.com/office/drawing/2014/main" id="{1DA86A75-B960-2B54-8DEB-60CB24714A25}"/>
              </a:ext>
            </a:extLst>
          </p:cNvPr>
          <p:cNvSpPr/>
          <p:nvPr/>
        </p:nvSpPr>
        <p:spPr>
          <a:xfrm>
            <a:off x="540196" y="1250995"/>
            <a:ext cx="7709724" cy="5179256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81323"/>
              </a:buClr>
              <a:buSzPct val="130000"/>
              <a:tabLst/>
              <a:defRPr/>
            </a:pPr>
            <a:endParaRPr lang="en-US" altLang="zh-CN" sz="1200" b="1">
              <a:latin typeface="+mj-ea"/>
              <a:ea typeface="+mj-ea"/>
            </a:endParaRPr>
          </a:p>
        </p:txBody>
      </p:sp>
      <p:sp>
        <p:nvSpPr>
          <p:cNvPr id="109" name="Rectangle 18">
            <a:extLst>
              <a:ext uri="{FF2B5EF4-FFF2-40B4-BE49-F238E27FC236}">
                <a16:creationId xmlns:a16="http://schemas.microsoft.com/office/drawing/2014/main" id="{B7214C6E-0F32-2725-6DCC-13C740D2A0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294" y="5993378"/>
            <a:ext cx="7702626" cy="451668"/>
          </a:xfrm>
          <a:prstGeom prst="rect">
            <a:avLst/>
          </a:prstGeom>
          <a:solidFill>
            <a:srgbClr val="1084D0">
              <a:alpha val="7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vert="eaVert"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10" name="TextBox 48">
            <a:extLst>
              <a:ext uri="{FF2B5EF4-FFF2-40B4-BE49-F238E27FC236}">
                <a16:creationId xmlns:a16="http://schemas.microsoft.com/office/drawing/2014/main" id="{0246DDA4-1652-16BA-CB24-12EB02CE0D55}"/>
              </a:ext>
            </a:extLst>
          </p:cNvPr>
          <p:cNvSpPr txBox="1"/>
          <p:nvPr/>
        </p:nvSpPr>
        <p:spPr>
          <a:xfrm>
            <a:off x="403048" y="5924413"/>
            <a:ext cx="810816" cy="539323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r>
              <a:rPr lang="en-US" altLang="zh-CN" b="1">
                <a:latin typeface="+mn-ea"/>
              </a:rPr>
              <a:t>MDM</a:t>
            </a:r>
            <a:endParaRPr lang="en-US" b="1">
              <a:latin typeface="+mn-ea"/>
            </a:endParaRPr>
          </a:p>
        </p:txBody>
      </p:sp>
      <p:sp>
        <p:nvSpPr>
          <p:cNvPr id="112" name="Rectangle 17">
            <a:extLst>
              <a:ext uri="{FF2B5EF4-FFF2-40B4-BE49-F238E27FC236}">
                <a16:creationId xmlns:a16="http://schemas.microsoft.com/office/drawing/2014/main" id="{044A6CA2-F78F-5A2B-40C5-F01A38F76C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2443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5" name="Rectangle 17">
            <a:extLst>
              <a:ext uri="{FF2B5EF4-FFF2-40B4-BE49-F238E27FC236}">
                <a16:creationId xmlns:a16="http://schemas.microsoft.com/office/drawing/2014/main" id="{803B49B9-0E73-5981-A97B-828E591DA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1766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产品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7" name="Rectangle 17">
            <a:extLst>
              <a:ext uri="{FF2B5EF4-FFF2-40B4-BE49-F238E27FC236}">
                <a16:creationId xmlns:a16="http://schemas.microsoft.com/office/drawing/2014/main" id="{1C799E89-17D7-50FB-1171-1AFCD878F2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9057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账户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8" name="Rectangle 17">
            <a:extLst>
              <a:ext uri="{FF2B5EF4-FFF2-40B4-BE49-F238E27FC236}">
                <a16:creationId xmlns:a16="http://schemas.microsoft.com/office/drawing/2014/main" id="{B6EBD142-5AB5-D181-5E4B-F84EDA2602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1089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渠道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2" name="Rectangle 17">
            <a:extLst>
              <a:ext uri="{FF2B5EF4-FFF2-40B4-BE49-F238E27FC236}">
                <a16:creationId xmlns:a16="http://schemas.microsoft.com/office/drawing/2014/main" id="{5B2D1DA8-90A9-F18E-DCE7-167B3FFDB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0412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区域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9" name="Rectangle 18">
            <a:extLst>
              <a:ext uri="{FF2B5EF4-FFF2-40B4-BE49-F238E27FC236}">
                <a16:creationId xmlns:a16="http://schemas.microsoft.com/office/drawing/2014/main" id="{4A70E0A0-4235-4403-740C-184A310DFD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3317" y="1267421"/>
            <a:ext cx="1675559" cy="592462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OA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69" name="Rectangle 84">
            <a:extLst>
              <a:ext uri="{FF2B5EF4-FFF2-40B4-BE49-F238E27FC236}">
                <a16:creationId xmlns:a16="http://schemas.microsoft.com/office/drawing/2014/main" id="{2847C21F-6D23-FDA6-BD19-5B638FC571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7984" y="1513487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立项审批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4" name="Rectangle 18">
            <a:extLst>
              <a:ext uri="{FF2B5EF4-FFF2-40B4-BE49-F238E27FC236}">
                <a16:creationId xmlns:a16="http://schemas.microsoft.com/office/drawing/2014/main" id="{62D3B640-4A90-B350-049B-3E2334A461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0524" y="1267176"/>
            <a:ext cx="2812164" cy="1202039"/>
          </a:xfrm>
          <a:prstGeom prst="rect">
            <a:avLst/>
          </a:prstGeom>
          <a:solidFill>
            <a:srgbClr val="F2F2F2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MP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26" name="Rectangle 50">
            <a:extLst>
              <a:ext uri="{FF2B5EF4-FFF2-40B4-BE49-F238E27FC236}">
                <a16:creationId xmlns:a16="http://schemas.microsoft.com/office/drawing/2014/main" id="{ACE84A0D-155F-43A8-8A57-79E56688D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3619" y="2061319"/>
            <a:ext cx="1008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结项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34" name="Rectangle 17">
            <a:extLst>
              <a:ext uri="{FF2B5EF4-FFF2-40B4-BE49-F238E27FC236}">
                <a16:creationId xmlns:a16="http://schemas.microsoft.com/office/drawing/2014/main" id="{55054CB2-60FD-98A9-5029-40AF50469F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0943" y="1627622"/>
            <a:ext cx="1008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预算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箭头: 右 3">
            <a:extLst>
              <a:ext uri="{FF2B5EF4-FFF2-40B4-BE49-F238E27FC236}">
                <a16:creationId xmlns:a16="http://schemas.microsoft.com/office/drawing/2014/main" id="{F2744372-ED7F-C1E4-437F-42D7D85A9001}"/>
              </a:ext>
            </a:extLst>
          </p:cNvPr>
          <p:cNvSpPr/>
          <p:nvPr/>
        </p:nvSpPr>
        <p:spPr>
          <a:xfrm rot="16200000">
            <a:off x="2560056" y="584056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箭头: 右 24">
            <a:extLst>
              <a:ext uri="{FF2B5EF4-FFF2-40B4-BE49-F238E27FC236}">
                <a16:creationId xmlns:a16="http://schemas.microsoft.com/office/drawing/2014/main" id="{044EF3B8-075C-AF5D-0B11-A2A6F2C2A623}"/>
              </a:ext>
            </a:extLst>
          </p:cNvPr>
          <p:cNvSpPr/>
          <p:nvPr/>
        </p:nvSpPr>
        <p:spPr>
          <a:xfrm rot="5400000">
            <a:off x="4348304" y="2408079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箭头: 右 50">
            <a:extLst>
              <a:ext uri="{FF2B5EF4-FFF2-40B4-BE49-F238E27FC236}">
                <a16:creationId xmlns:a16="http://schemas.microsoft.com/office/drawing/2014/main" id="{94AE6377-D923-D7E4-77F4-E910CEC12EB6}"/>
              </a:ext>
            </a:extLst>
          </p:cNvPr>
          <p:cNvSpPr/>
          <p:nvPr/>
        </p:nvSpPr>
        <p:spPr>
          <a:xfrm rot="10800000">
            <a:off x="3466424" y="547135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箭头: 右 52">
            <a:extLst>
              <a:ext uri="{FF2B5EF4-FFF2-40B4-BE49-F238E27FC236}">
                <a16:creationId xmlns:a16="http://schemas.microsoft.com/office/drawing/2014/main" id="{9D717655-90B3-B672-A51F-CBDA17DAEAC8}"/>
              </a:ext>
            </a:extLst>
          </p:cNvPr>
          <p:cNvSpPr/>
          <p:nvPr/>
        </p:nvSpPr>
        <p:spPr>
          <a:xfrm>
            <a:off x="3467303" y="502321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Rectangle 30">
            <a:extLst>
              <a:ext uri="{FF2B5EF4-FFF2-40B4-BE49-F238E27FC236}">
                <a16:creationId xmlns:a16="http://schemas.microsoft.com/office/drawing/2014/main" id="{5C039F13-0454-07BF-6A56-3A3BEC837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7584" y="1637039"/>
            <a:ext cx="1008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立项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7" name="箭头: 右 66">
            <a:extLst>
              <a:ext uri="{FF2B5EF4-FFF2-40B4-BE49-F238E27FC236}">
                <a16:creationId xmlns:a16="http://schemas.microsoft.com/office/drawing/2014/main" id="{7F551EA3-7122-523E-54D1-33A217CD05DC}"/>
              </a:ext>
            </a:extLst>
          </p:cNvPr>
          <p:cNvSpPr/>
          <p:nvPr/>
        </p:nvSpPr>
        <p:spPr>
          <a:xfrm rot="5400000">
            <a:off x="10747167" y="7312810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Rectangle 5">
            <a:extLst>
              <a:ext uri="{FF2B5EF4-FFF2-40B4-BE49-F238E27FC236}">
                <a16:creationId xmlns:a16="http://schemas.microsoft.com/office/drawing/2014/main" id="{F4278DE9-3955-53EB-9783-BF9CF760E40D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40" name="Rectangle 18">
            <a:extLst>
              <a:ext uri="{FF2B5EF4-FFF2-40B4-BE49-F238E27FC236}">
                <a16:creationId xmlns:a16="http://schemas.microsoft.com/office/drawing/2014/main" id="{FBD981CB-3606-A850-645B-4404AB7FD3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2821" y="3395410"/>
            <a:ext cx="2537930" cy="1408008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38" name="Rectangle 84">
            <a:extLst>
              <a:ext uri="{FF2B5EF4-FFF2-40B4-BE49-F238E27FC236}">
                <a16:creationId xmlns:a16="http://schemas.microsoft.com/office/drawing/2014/main" id="{79517A75-9E37-67DD-ED9E-E12247BF27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7041" y="3658151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提出付款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1" name="Rectangle 85">
            <a:extLst>
              <a:ext uri="{FF2B5EF4-FFF2-40B4-BE49-F238E27FC236}">
                <a16:creationId xmlns:a16="http://schemas.microsoft.com/office/drawing/2014/main" id="{98B473A6-18A4-B43F-F7A3-3761F6CCE6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7041" y="4014331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通知银行付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4" name="Rectangle 85">
            <a:extLst>
              <a:ext uri="{FF2B5EF4-FFF2-40B4-BE49-F238E27FC236}">
                <a16:creationId xmlns:a16="http://schemas.microsoft.com/office/drawing/2014/main" id="{552D9B66-B4AD-4B1E-1599-38BC2BFD28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7041" y="4385530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付款确认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49" name="Rectangle 18">
            <a:extLst>
              <a:ext uri="{FF2B5EF4-FFF2-40B4-BE49-F238E27FC236}">
                <a16:creationId xmlns:a16="http://schemas.microsoft.com/office/drawing/2014/main" id="{B4EF6349-EE03-70D9-ACF7-177C20A70F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6269" y="3387316"/>
            <a:ext cx="1942322" cy="1407091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资金管理平台</a:t>
            </a:r>
          </a:p>
        </p:txBody>
      </p:sp>
      <p:sp>
        <p:nvSpPr>
          <p:cNvPr id="151" name="Rectangle 84">
            <a:extLst>
              <a:ext uri="{FF2B5EF4-FFF2-40B4-BE49-F238E27FC236}">
                <a16:creationId xmlns:a16="http://schemas.microsoft.com/office/drawing/2014/main" id="{FD2E0028-496C-8CC8-531C-52B0D5AEAA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0480" y="3794076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资金支付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6" name="箭头: 右 65">
            <a:extLst>
              <a:ext uri="{FF2B5EF4-FFF2-40B4-BE49-F238E27FC236}">
                <a16:creationId xmlns:a16="http://schemas.microsoft.com/office/drawing/2014/main" id="{2A49D86E-3EBE-CF96-571C-4C9A1CF28EAF}"/>
              </a:ext>
            </a:extLst>
          </p:cNvPr>
          <p:cNvSpPr/>
          <p:nvPr/>
        </p:nvSpPr>
        <p:spPr>
          <a:xfrm>
            <a:off x="6130751" y="3760447"/>
            <a:ext cx="125518" cy="216383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0" name="Rectangle 84">
            <a:extLst>
              <a:ext uri="{FF2B5EF4-FFF2-40B4-BE49-F238E27FC236}">
                <a16:creationId xmlns:a16="http://schemas.microsoft.com/office/drawing/2014/main" id="{B5C92738-CBB4-A183-69DB-561E291B3B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0480" y="4308095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回单确认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DB22AF5-BAC5-902E-F5C8-B86B603DE846}"/>
              </a:ext>
            </a:extLst>
          </p:cNvPr>
          <p:cNvSpPr txBox="1"/>
          <p:nvPr/>
        </p:nvSpPr>
        <p:spPr>
          <a:xfrm>
            <a:off x="3769241" y="5150566"/>
            <a:ext cx="1008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服务主数据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1AC2D51-2161-8661-1945-3EE380E4E1BA}"/>
              </a:ext>
            </a:extLst>
          </p:cNvPr>
          <p:cNvSpPr txBox="1"/>
          <p:nvPr/>
        </p:nvSpPr>
        <p:spPr>
          <a:xfrm>
            <a:off x="3769241" y="5534791"/>
            <a:ext cx="1008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申请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A84FDE8-FCF8-2DF5-B5BF-6A5DCD206B12}"/>
              </a:ext>
            </a:extLst>
          </p:cNvPr>
          <p:cNvSpPr txBox="1"/>
          <p:nvPr/>
        </p:nvSpPr>
        <p:spPr>
          <a:xfrm>
            <a:off x="4859772" y="5534791"/>
            <a:ext cx="1008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服务确认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C112D3C-A170-C5DA-72CE-C6599B5C9BA0}"/>
              </a:ext>
            </a:extLst>
          </p:cNvPr>
          <p:cNvSpPr txBox="1"/>
          <p:nvPr/>
        </p:nvSpPr>
        <p:spPr>
          <a:xfrm>
            <a:off x="5979385" y="5526950"/>
            <a:ext cx="1008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往来管理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DE2A1E0-4BD9-F0F2-A8BB-B3E97ECBBB14}"/>
              </a:ext>
            </a:extLst>
          </p:cNvPr>
          <p:cNvSpPr txBox="1"/>
          <p:nvPr/>
        </p:nvSpPr>
        <p:spPr>
          <a:xfrm>
            <a:off x="4875949" y="5150008"/>
            <a:ext cx="1008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订单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94C7ED8-678D-FE15-F153-7B7A84033A2B}"/>
              </a:ext>
            </a:extLst>
          </p:cNvPr>
          <p:cNvSpPr txBox="1"/>
          <p:nvPr/>
        </p:nvSpPr>
        <p:spPr>
          <a:xfrm>
            <a:off x="5979385" y="5150008"/>
            <a:ext cx="1008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发票校验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9" name="箭头: 右 58">
            <a:extLst>
              <a:ext uri="{FF2B5EF4-FFF2-40B4-BE49-F238E27FC236}">
                <a16:creationId xmlns:a16="http://schemas.microsoft.com/office/drawing/2014/main" id="{100F6A83-0C25-7843-96C1-E74EA2F6037E}"/>
              </a:ext>
            </a:extLst>
          </p:cNvPr>
          <p:cNvSpPr/>
          <p:nvPr/>
        </p:nvSpPr>
        <p:spPr>
          <a:xfrm rot="16200000">
            <a:off x="5624551" y="475005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箭头: 右 59">
            <a:extLst>
              <a:ext uri="{FF2B5EF4-FFF2-40B4-BE49-F238E27FC236}">
                <a16:creationId xmlns:a16="http://schemas.microsoft.com/office/drawing/2014/main" id="{1A362634-49F4-A8B3-4DB5-FB431F2F8AC6}"/>
              </a:ext>
            </a:extLst>
          </p:cNvPr>
          <p:cNvSpPr/>
          <p:nvPr/>
        </p:nvSpPr>
        <p:spPr>
          <a:xfrm>
            <a:off x="6439025" y="158704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箭头: 右 60">
            <a:extLst>
              <a:ext uri="{FF2B5EF4-FFF2-40B4-BE49-F238E27FC236}">
                <a16:creationId xmlns:a16="http://schemas.microsoft.com/office/drawing/2014/main" id="{3BC0909C-192F-24F4-4945-CCD30F696A08}"/>
              </a:ext>
            </a:extLst>
          </p:cNvPr>
          <p:cNvSpPr/>
          <p:nvPr/>
        </p:nvSpPr>
        <p:spPr>
          <a:xfrm rot="16200000">
            <a:off x="12828108" y="727844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6D967CCF-5E54-4443-F254-F5EF3F13B6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9735" y="60606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6" name="箭头: 右 65">
            <a:extLst>
              <a:ext uri="{FF2B5EF4-FFF2-40B4-BE49-F238E27FC236}">
                <a16:creationId xmlns:a16="http://schemas.microsoft.com/office/drawing/2014/main" id="{4C993B57-5080-0E7B-CFA8-BFA96F16A9EF}"/>
              </a:ext>
            </a:extLst>
          </p:cNvPr>
          <p:cNvSpPr/>
          <p:nvPr/>
        </p:nvSpPr>
        <p:spPr>
          <a:xfrm rot="10800000">
            <a:off x="6439025" y="2104823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Rectangle 18">
            <a:extLst>
              <a:ext uri="{FF2B5EF4-FFF2-40B4-BE49-F238E27FC236}">
                <a16:creationId xmlns:a16="http://schemas.microsoft.com/office/drawing/2014/main" id="{5A40EAB2-F340-89D1-CAC7-C7EBE81A0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7533" y="1915466"/>
            <a:ext cx="1672387" cy="575959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PBF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62" name="Rectangle 84">
            <a:extLst>
              <a:ext uri="{FF2B5EF4-FFF2-40B4-BE49-F238E27FC236}">
                <a16:creationId xmlns:a16="http://schemas.microsoft.com/office/drawing/2014/main" id="{D0A540FA-02CA-2729-343D-ACD21C960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7975" y="2138490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推广费预算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3" name="箭头: 右 56">
            <a:extLst>
              <a:ext uri="{FF2B5EF4-FFF2-40B4-BE49-F238E27FC236}">
                <a16:creationId xmlns:a16="http://schemas.microsoft.com/office/drawing/2014/main" id="{F5ADB45B-B6B8-A873-767B-EFC33CC8D182}"/>
              </a:ext>
            </a:extLst>
          </p:cNvPr>
          <p:cNvSpPr/>
          <p:nvPr/>
        </p:nvSpPr>
        <p:spPr>
          <a:xfrm rot="10800000">
            <a:off x="6119929" y="426184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Rectangle 18">
            <a:extLst>
              <a:ext uri="{FF2B5EF4-FFF2-40B4-BE49-F238E27FC236}">
                <a16:creationId xmlns:a16="http://schemas.microsoft.com/office/drawing/2014/main" id="{67F1AB62-4748-5067-DA39-B8F8FF8DF7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0639" y="2609878"/>
            <a:ext cx="4628237" cy="703944"/>
          </a:xfrm>
          <a:prstGeom prst="rect">
            <a:avLst/>
          </a:prstGeom>
          <a:solidFill>
            <a:srgbClr val="F2F2F2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推广费系统</a:t>
            </a:r>
          </a:p>
        </p:txBody>
      </p:sp>
      <p:sp>
        <p:nvSpPr>
          <p:cNvPr id="75" name="Rectangle 17">
            <a:extLst>
              <a:ext uri="{FF2B5EF4-FFF2-40B4-BE49-F238E27FC236}">
                <a16:creationId xmlns:a16="http://schemas.microsoft.com/office/drawing/2014/main" id="{41D8764D-010E-967C-8C56-4B8D04D27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06820" y="2873853"/>
            <a:ext cx="1008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1B56196E-D096-CE13-DAA1-35280AC2570B}"/>
              </a:ext>
            </a:extLst>
          </p:cNvPr>
          <p:cNvSpPr txBox="1"/>
          <p:nvPr/>
        </p:nvSpPr>
        <p:spPr>
          <a:xfrm>
            <a:off x="7082821" y="5150008"/>
            <a:ext cx="1008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费用计提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78" name="文本框 77">
            <a:extLst>
              <a:ext uri="{FF2B5EF4-FFF2-40B4-BE49-F238E27FC236}">
                <a16:creationId xmlns:a16="http://schemas.microsoft.com/office/drawing/2014/main" id="{FEE8A693-9A6F-8F34-7441-736E80AE0C11}"/>
              </a:ext>
            </a:extLst>
          </p:cNvPr>
          <p:cNvSpPr txBox="1"/>
          <p:nvPr/>
        </p:nvSpPr>
        <p:spPr>
          <a:xfrm>
            <a:off x="7088197" y="5515862"/>
            <a:ext cx="1008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费用核销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79" name="箭头: 右 78">
            <a:extLst>
              <a:ext uri="{FF2B5EF4-FFF2-40B4-BE49-F238E27FC236}">
                <a16:creationId xmlns:a16="http://schemas.microsoft.com/office/drawing/2014/main" id="{E4D7BFFE-2457-4835-026E-4C26D57643F4}"/>
              </a:ext>
            </a:extLst>
          </p:cNvPr>
          <p:cNvSpPr/>
          <p:nvPr/>
        </p:nvSpPr>
        <p:spPr>
          <a:xfrm rot="10800000">
            <a:off x="3474381" y="209496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箭头: 右 83">
            <a:extLst>
              <a:ext uri="{FF2B5EF4-FFF2-40B4-BE49-F238E27FC236}">
                <a16:creationId xmlns:a16="http://schemas.microsoft.com/office/drawing/2014/main" id="{A9CD2674-14EB-7537-D57E-4304DB7B1A6E}"/>
              </a:ext>
            </a:extLst>
          </p:cNvPr>
          <p:cNvSpPr/>
          <p:nvPr/>
        </p:nvSpPr>
        <p:spPr>
          <a:xfrm>
            <a:off x="3485034" y="1670270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箭头: 右 86">
            <a:extLst>
              <a:ext uri="{FF2B5EF4-FFF2-40B4-BE49-F238E27FC236}">
                <a16:creationId xmlns:a16="http://schemas.microsoft.com/office/drawing/2014/main" id="{19BB46EE-DFEB-FD9B-7B5E-4A1622199B34}"/>
              </a:ext>
            </a:extLst>
          </p:cNvPr>
          <p:cNvSpPr/>
          <p:nvPr/>
        </p:nvSpPr>
        <p:spPr>
          <a:xfrm rot="5400000">
            <a:off x="5577087" y="2407322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" name="箭头: 右 87">
            <a:extLst>
              <a:ext uri="{FF2B5EF4-FFF2-40B4-BE49-F238E27FC236}">
                <a16:creationId xmlns:a16="http://schemas.microsoft.com/office/drawing/2014/main" id="{3D4F6B59-FBDE-35C2-7055-B8CD4E16DBF5}"/>
              </a:ext>
            </a:extLst>
          </p:cNvPr>
          <p:cNvSpPr/>
          <p:nvPr/>
        </p:nvSpPr>
        <p:spPr>
          <a:xfrm rot="5400000">
            <a:off x="5577087" y="325012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箭头: 右 88">
            <a:extLst>
              <a:ext uri="{FF2B5EF4-FFF2-40B4-BE49-F238E27FC236}">
                <a16:creationId xmlns:a16="http://schemas.microsoft.com/office/drawing/2014/main" id="{430364D1-B984-B421-A743-EC305D161BDF}"/>
              </a:ext>
            </a:extLst>
          </p:cNvPr>
          <p:cNvSpPr/>
          <p:nvPr/>
        </p:nvSpPr>
        <p:spPr>
          <a:xfrm rot="5400000">
            <a:off x="4339396" y="3260600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箭头: 右 89">
            <a:extLst>
              <a:ext uri="{FF2B5EF4-FFF2-40B4-BE49-F238E27FC236}">
                <a16:creationId xmlns:a16="http://schemas.microsoft.com/office/drawing/2014/main" id="{33CC69A4-FD2A-72DF-A9B2-D51EA2AAF490}"/>
              </a:ext>
            </a:extLst>
          </p:cNvPr>
          <p:cNvSpPr/>
          <p:nvPr/>
        </p:nvSpPr>
        <p:spPr>
          <a:xfrm rot="5400000">
            <a:off x="4464424" y="4756263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1" name="箭头: 右 90">
            <a:extLst>
              <a:ext uri="{FF2B5EF4-FFF2-40B4-BE49-F238E27FC236}">
                <a16:creationId xmlns:a16="http://schemas.microsoft.com/office/drawing/2014/main" id="{2B55186C-9348-E786-9210-09B02D03F979}"/>
              </a:ext>
            </a:extLst>
          </p:cNvPr>
          <p:cNvSpPr/>
          <p:nvPr/>
        </p:nvSpPr>
        <p:spPr>
          <a:xfrm rot="5400000">
            <a:off x="2444170" y="3579041"/>
            <a:ext cx="2468253" cy="209659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2" name="Rectangle 17">
            <a:extLst>
              <a:ext uri="{FF2B5EF4-FFF2-40B4-BE49-F238E27FC236}">
                <a16:creationId xmlns:a16="http://schemas.microsoft.com/office/drawing/2014/main" id="{B369E46F-C620-11FD-B784-38AFBDCF9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5650" y="2885795"/>
            <a:ext cx="1008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接单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C1823145-6950-34EF-71F3-1194C85C8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4480" y="2895540"/>
            <a:ext cx="1008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验收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88277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18">
            <a:extLst>
              <a:ext uri="{FF2B5EF4-FFF2-40B4-BE49-F238E27FC236}">
                <a16:creationId xmlns:a16="http://schemas.microsoft.com/office/drawing/2014/main" id="{EB298ED1-FAA3-E801-D0D5-C9B0DE061C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9109" y="2534605"/>
            <a:ext cx="1408578" cy="1645116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结算平台</a:t>
            </a:r>
          </a:p>
        </p:txBody>
      </p:sp>
      <p:sp>
        <p:nvSpPr>
          <p:cNvPr id="43" name="Rectangle 18">
            <a:extLst>
              <a:ext uri="{FF2B5EF4-FFF2-40B4-BE49-F238E27FC236}">
                <a16:creationId xmlns:a16="http://schemas.microsoft.com/office/drawing/2014/main" id="{63B4EB4D-803B-B99B-F427-61856A1A59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2821" y="4290441"/>
            <a:ext cx="4657099" cy="1615722"/>
          </a:xfrm>
          <a:prstGeom prst="rect">
            <a:avLst/>
          </a:prstGeom>
          <a:solidFill>
            <a:srgbClr val="C0E9FF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AP ERP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10984A-1973-E074-373C-41FA2BFB49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0195" y="2545164"/>
            <a:ext cx="2933181" cy="3365780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R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8" name="Rectangle 18">
            <a:extLst>
              <a:ext uri="{FF2B5EF4-FFF2-40B4-BE49-F238E27FC236}">
                <a16:creationId xmlns:a16="http://schemas.microsoft.com/office/drawing/2014/main" id="{404DBAC2-18F7-7509-B24D-258FC79C2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6785" y="2795913"/>
            <a:ext cx="1259736" cy="1167428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管理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3E9A57-CB75-5562-65AA-BBEC656EC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03430" y="6445055"/>
            <a:ext cx="585140" cy="232752"/>
          </a:xfrm>
        </p:spPr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29</a:t>
            </a:fld>
            <a:endParaRPr kumimoji="1" lang="zh-CN" alt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351361-B5FC-3B4C-93C7-23720EA4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10282312" cy="706293"/>
          </a:xfrm>
        </p:spPr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长期系统方案：搭建</a:t>
            </a:r>
            <a:r>
              <a:rPr lang="en-US" altLang="zh-CN"/>
              <a:t>PTP</a:t>
            </a:r>
            <a:r>
              <a:rPr lang="zh-CN" altLang="en-US"/>
              <a:t>系统流程，实现及时自动核算多维度推广费核算</a:t>
            </a:r>
            <a:endParaRPr lang="en-US"/>
          </a:p>
        </p:txBody>
      </p:sp>
      <p:sp>
        <p:nvSpPr>
          <p:cNvPr id="16" name="Rectangle 18">
            <a:extLst>
              <a:ext uri="{FF2B5EF4-FFF2-40B4-BE49-F238E27FC236}">
                <a16:creationId xmlns:a16="http://schemas.microsoft.com/office/drawing/2014/main" id="{E26698F4-350E-C049-E5A1-A718B51A9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1996" y="3010297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准入</a:t>
            </a:r>
          </a:p>
        </p:txBody>
      </p:sp>
      <p:sp>
        <p:nvSpPr>
          <p:cNvPr id="103" name="Rectangle 30">
            <a:extLst>
              <a:ext uri="{FF2B5EF4-FFF2-40B4-BE49-F238E27FC236}">
                <a16:creationId xmlns:a16="http://schemas.microsoft.com/office/drawing/2014/main" id="{9A73E786-6CEC-FA2E-31C5-1EC4AC4A38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1996" y="3328332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0" name="Rectangle 18">
            <a:extLst>
              <a:ext uri="{FF2B5EF4-FFF2-40B4-BE49-F238E27FC236}">
                <a16:creationId xmlns:a16="http://schemas.microsoft.com/office/drawing/2014/main" id="{8215F382-68BB-1B97-CCAA-840E1E959B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200" y="2780160"/>
            <a:ext cx="1259735" cy="1167428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寻源协同</a:t>
            </a:r>
          </a:p>
        </p:txBody>
      </p:sp>
      <p:sp>
        <p:nvSpPr>
          <p:cNvPr id="293" name="Rectangle 17">
            <a:extLst>
              <a:ext uri="{FF2B5EF4-FFF2-40B4-BE49-F238E27FC236}">
                <a16:creationId xmlns:a16="http://schemas.microsoft.com/office/drawing/2014/main" id="{1D3F46A8-6AEA-A772-BC95-CC446FDE02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689" y="3014188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询报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5725C3B3-43B9-537F-C7B6-625F0AE8E3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689" y="3318758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竞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3" name="Rectangle 18">
            <a:extLst>
              <a:ext uri="{FF2B5EF4-FFF2-40B4-BE49-F238E27FC236}">
                <a16:creationId xmlns:a16="http://schemas.microsoft.com/office/drawing/2014/main" id="{542C84DF-0CFC-603E-8CE0-FE2C218111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200" y="4017637"/>
            <a:ext cx="2572725" cy="575962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合同管理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A6E260C3-8A19-6E3B-53B3-51E1DD373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341" y="4676304"/>
            <a:ext cx="2572725" cy="575962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订单履行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0D9DE54B-B5AC-44E7-593C-AA89FD48D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200" y="5309812"/>
            <a:ext cx="2559866" cy="532166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财务协同</a:t>
            </a: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D3852551-1543-EC05-EBF5-F7FB94D8B0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689" y="5535682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结算单对账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7E31F183-EB64-54BF-4381-1DC44EFD0C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1996" y="5535682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发票上传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审核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44136927-858F-6DA3-98D9-F71401917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689" y="4279023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年框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B7316411-D4C5-299C-1622-5F54EC5A98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1996" y="4279023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6DC6D3BB-3AAF-C52A-02D2-5DCB03804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689" y="4944299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186652DF-610C-F1BF-04ED-DD93B0BC4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1996" y="4954275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7" name="Rectangle 18">
            <a:extLst>
              <a:ext uri="{FF2B5EF4-FFF2-40B4-BE49-F238E27FC236}">
                <a16:creationId xmlns:a16="http://schemas.microsoft.com/office/drawing/2014/main" id="{6278E8FF-BB7D-DCA7-2BF6-971FBC8C52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1996" y="3627220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绩效考核</a:t>
            </a:r>
          </a:p>
        </p:txBody>
      </p: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09FC2D6D-FC1A-E7EA-44DB-BD5B54CFE610}"/>
              </a:ext>
            </a:extLst>
          </p:cNvPr>
          <p:cNvGrpSpPr/>
          <p:nvPr/>
        </p:nvGrpSpPr>
        <p:grpSpPr>
          <a:xfrm>
            <a:off x="8484608" y="866137"/>
            <a:ext cx="3160099" cy="313175"/>
            <a:chOff x="10133105" y="1104727"/>
            <a:chExt cx="2058895" cy="313175"/>
          </a:xfrm>
        </p:grpSpPr>
        <p:grpSp>
          <p:nvGrpSpPr>
            <p:cNvPr id="47" name="Group 63">
              <a:extLst>
                <a:ext uri="{FF2B5EF4-FFF2-40B4-BE49-F238E27FC236}">
                  <a16:creationId xmlns:a16="http://schemas.microsoft.com/office/drawing/2014/main" id="{FF07DC3E-8926-7696-EFE5-9C8B8A49AFD5}"/>
                </a:ext>
              </a:extLst>
            </p:cNvPr>
            <p:cNvGrpSpPr/>
            <p:nvPr/>
          </p:nvGrpSpPr>
          <p:grpSpPr>
            <a:xfrm>
              <a:off x="10133105" y="1104727"/>
              <a:ext cx="2058895" cy="313175"/>
              <a:chOff x="9344415" y="1038841"/>
              <a:chExt cx="2551176" cy="313175"/>
            </a:xfrm>
          </p:grpSpPr>
          <p:cxnSp>
            <p:nvCxnSpPr>
              <p:cNvPr id="48" name="Straight Connector 38">
                <a:extLst>
                  <a:ext uri="{FF2B5EF4-FFF2-40B4-BE49-F238E27FC236}">
                    <a16:creationId xmlns:a16="http://schemas.microsoft.com/office/drawing/2014/main" id="{A4AB9685-F160-7599-DDB2-7C31B65E8C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44415" y="1225644"/>
                <a:ext cx="2551176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 type="diamond"/>
                <a:tailEnd type="diamond"/>
              </a:ln>
              <a:effectLst/>
            </p:spPr>
          </p:cxnSp>
          <p:sp>
            <p:nvSpPr>
              <p:cNvPr id="50" name="TextBox 39">
                <a:extLst>
                  <a:ext uri="{FF2B5EF4-FFF2-40B4-BE49-F238E27FC236}">
                    <a16:creationId xmlns:a16="http://schemas.microsoft.com/office/drawing/2014/main" id="{60FC412D-CA07-B12E-2A4E-460DD39CBF79}"/>
                  </a:ext>
                </a:extLst>
              </p:cNvPr>
              <p:cNvSpPr txBox="1"/>
              <p:nvPr/>
            </p:nvSpPr>
            <p:spPr>
              <a:xfrm>
                <a:off x="10193126" y="1038841"/>
                <a:ext cx="1115431" cy="307777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1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Times New Roman"/>
                    <a:ea typeface="Microsoft YaHei"/>
                    <a:cs typeface="+mn-cs"/>
                  </a:rPr>
                  <a:t>现状</a:t>
                </a:r>
                <a:r>
                  <a:rPr lang="en-US" altLang="zh-CN" sz="1400" b="1" kern="0">
                    <a:latin typeface="Times New Roman"/>
                    <a:ea typeface="Microsoft YaHei"/>
                  </a:rPr>
                  <a:t>/</a:t>
                </a:r>
                <a:r>
                  <a:rPr lang="zh-CN" altLang="en-US" sz="1400" b="1" kern="0">
                    <a:latin typeface="Times New Roman"/>
                    <a:ea typeface="Microsoft YaHei"/>
                  </a:rPr>
                  <a:t>提升方向</a:t>
                </a:r>
                <a:endParaRPr kumimoji="0" lang="zh-CN" altLang="en-US" sz="1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Times New Roman"/>
                  <a:ea typeface="Microsoft YaHei"/>
                  <a:cs typeface="+mn-cs"/>
                </a:endParaRPr>
              </a:p>
            </p:txBody>
          </p:sp>
          <p:sp>
            <p:nvSpPr>
              <p:cNvPr id="52" name="Rectangle 59">
                <a:extLst>
                  <a:ext uri="{FF2B5EF4-FFF2-40B4-BE49-F238E27FC236}">
                    <a16:creationId xmlns:a16="http://schemas.microsoft.com/office/drawing/2014/main" id="{7EBFF4C7-AE2C-5CD4-9F05-11FCAFA30191}"/>
                  </a:ext>
                </a:extLst>
              </p:cNvPr>
              <p:cNvSpPr/>
              <p:nvPr/>
            </p:nvSpPr>
            <p:spPr>
              <a:xfrm>
                <a:off x="9966693" y="1044241"/>
                <a:ext cx="253249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</p:grpSp>
        <p:pic>
          <p:nvPicPr>
            <p:cNvPr id="55" name="Graphic 66">
              <a:extLst>
                <a:ext uri="{FF2B5EF4-FFF2-40B4-BE49-F238E27FC236}">
                  <a16:creationId xmlns:a16="http://schemas.microsoft.com/office/drawing/2014/main" id="{46E33D4C-F0E4-F422-6716-A80BBCDD53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653055" y="1138070"/>
              <a:ext cx="164992" cy="256032"/>
            </a:xfrm>
            <a:prstGeom prst="rect">
              <a:avLst/>
            </a:prstGeom>
          </p:spPr>
        </p:pic>
      </p:grpSp>
      <p:sp>
        <p:nvSpPr>
          <p:cNvPr id="56" name="矩形 189">
            <a:extLst>
              <a:ext uri="{FF2B5EF4-FFF2-40B4-BE49-F238E27FC236}">
                <a16:creationId xmlns:a16="http://schemas.microsoft.com/office/drawing/2014/main" id="{C9CDC39A-79BF-9E57-BAA2-2DE9D1DAF8B3}"/>
              </a:ext>
            </a:extLst>
          </p:cNvPr>
          <p:cNvSpPr/>
          <p:nvPr/>
        </p:nvSpPr>
        <p:spPr>
          <a:xfrm>
            <a:off x="8455429" y="1201857"/>
            <a:ext cx="3210172" cy="5307487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系统现状：</a:t>
            </a:r>
            <a:endParaRPr lang="en-US" altLang="zh-CN" sz="1200" b="1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1. </a:t>
            </a:r>
            <a:r>
              <a:rPr lang="zh-CN" altLang="en-US" sz="1200" b="1">
                <a:latin typeface="+mj-ea"/>
                <a:ea typeface="+mj-ea"/>
              </a:rPr>
              <a:t>推广费计提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>
                <a:latin typeface="+mj-ea"/>
                <a:ea typeface="+mj-ea"/>
              </a:rPr>
              <a:t>FSSC</a:t>
            </a:r>
            <a:r>
              <a:rPr lang="zh-CN" altLang="en-US" sz="1200">
                <a:latin typeface="+mj-ea"/>
                <a:ea typeface="+mj-ea"/>
              </a:rPr>
              <a:t>系统中通过费用申请单计提推广费，下月全部手工冲销；</a:t>
            </a:r>
            <a:endParaRPr lang="en-US" altLang="zh-CN" sz="1200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2. </a:t>
            </a:r>
            <a:r>
              <a:rPr lang="zh-CN" altLang="en-US" sz="1200" b="1">
                <a:latin typeface="+mj-ea"/>
                <a:ea typeface="+mj-ea"/>
              </a:rPr>
              <a:t>推广费报销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FSSC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</a:t>
            </a:r>
            <a:r>
              <a:rPr lang="zh-CN" altLang="en-US" sz="1200">
                <a:latin typeface="+mj-ea"/>
                <a:ea typeface="+mj-ea"/>
              </a:rPr>
              <a:t>中通过费用报销单进行费用报销，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无过程管控</a:t>
            </a:r>
            <a:r>
              <a:rPr lang="zh-CN" altLang="en-US" sz="1200" b="1">
                <a:latin typeface="+mj-ea"/>
                <a:ea typeface="+mj-ea"/>
              </a:rPr>
              <a:t>。</a:t>
            </a:r>
            <a:endParaRPr lang="en-US" altLang="zh-CN" sz="1200">
              <a:latin typeface="+mj-ea"/>
              <a:ea typeface="+mj-ea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提升方向：</a:t>
            </a:r>
            <a:endParaRPr lang="en-US" altLang="zh-CN" sz="1200" b="1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MPM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定位</a:t>
            </a:r>
            <a:r>
              <a:rPr lang="en-US" altLang="zh-CN" sz="1200">
                <a:latin typeface="+mj-ea"/>
                <a:ea typeface="+mj-ea"/>
              </a:rPr>
              <a:t>MPM</a:t>
            </a:r>
            <a:r>
              <a:rPr lang="zh-CN" altLang="en-US" sz="1200">
                <a:latin typeface="+mj-ea"/>
                <a:ea typeface="+mj-ea"/>
              </a:rPr>
              <a:t>系统为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推广费项目管理系统</a:t>
            </a:r>
            <a:r>
              <a:rPr lang="zh-CN" altLang="en-US" sz="1200">
                <a:latin typeface="+mj-ea"/>
                <a:ea typeface="+mj-ea"/>
              </a:rPr>
              <a:t>，构建推广费项目“过程管理”模块，管理项目状态及各阶段项目发生的业务，如采购申请等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SRM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接收</a:t>
            </a:r>
            <a:r>
              <a:rPr lang="en-US" altLang="zh-CN" sz="1200">
                <a:latin typeface="+mj-ea"/>
                <a:ea typeface="+mj-ea"/>
              </a:rPr>
              <a:t>ERP</a:t>
            </a:r>
            <a:r>
              <a:rPr lang="zh-CN" altLang="en-US" sz="1200">
                <a:latin typeface="+mj-ea"/>
                <a:ea typeface="+mj-ea"/>
              </a:rPr>
              <a:t>系统中推广费项目采购申请，搭建推广业务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供应商、寻源报价、采购合同、对账等功能</a:t>
            </a:r>
            <a:r>
              <a:rPr lang="zh-CN" altLang="en-US" sz="1200">
                <a:latin typeface="+mj-ea"/>
                <a:ea typeface="+mj-ea"/>
              </a:rPr>
              <a:t>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SAP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搭建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完整推广费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PTP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流程</a:t>
            </a:r>
            <a:r>
              <a:rPr lang="zh-CN" altLang="en-US" sz="1200">
                <a:latin typeface="+mj-ea"/>
                <a:ea typeface="+mj-ea"/>
              </a:rPr>
              <a:t>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结算平台：</a:t>
            </a:r>
            <a:r>
              <a:rPr lang="zh-CN" altLang="en-US" sz="1200">
                <a:latin typeface="+mj-ea"/>
                <a:ea typeface="+mj-ea"/>
              </a:rPr>
              <a:t>搭建结算平台，对接</a:t>
            </a:r>
            <a:r>
              <a:rPr lang="en-US" altLang="zh-CN" sz="1200">
                <a:latin typeface="+mj-ea"/>
                <a:ea typeface="+mj-ea"/>
              </a:rPr>
              <a:t>ERP</a:t>
            </a:r>
            <a:r>
              <a:rPr lang="zh-CN" altLang="en-US" sz="1200">
                <a:latin typeface="+mj-ea"/>
                <a:ea typeface="+mj-ea"/>
              </a:rPr>
              <a:t>系统中推广费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费用明细清单及应付账款余额</a:t>
            </a:r>
            <a:r>
              <a:rPr lang="zh-CN" altLang="en-US" sz="1200">
                <a:latin typeface="+mj-ea"/>
                <a:ea typeface="+mj-ea"/>
              </a:rPr>
              <a:t>，推送</a:t>
            </a:r>
            <a:r>
              <a:rPr lang="en-US" altLang="zh-CN" sz="1200">
                <a:latin typeface="+mj-ea"/>
                <a:ea typeface="+mj-ea"/>
              </a:rPr>
              <a:t>SRM</a:t>
            </a:r>
            <a:r>
              <a:rPr lang="zh-CN" altLang="en-US" sz="1200">
                <a:latin typeface="+mj-ea"/>
                <a:ea typeface="+mj-ea"/>
              </a:rPr>
              <a:t>系统进行供应商对账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推广费系统：</a:t>
            </a:r>
            <a:r>
              <a:rPr lang="zh-CN" altLang="en-US" sz="1200">
                <a:latin typeface="+mj-ea"/>
                <a:ea typeface="+mj-ea"/>
              </a:rPr>
              <a:t>建议未来由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SRM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承接推广费系统对应功能</a:t>
            </a:r>
            <a:r>
              <a:rPr lang="zh-CN" altLang="en-US" sz="1200">
                <a:latin typeface="+mj-ea"/>
                <a:ea typeface="+mj-ea"/>
              </a:rPr>
              <a:t>。</a:t>
            </a:r>
            <a:endParaRPr lang="en-US" altLang="zh-CN" sz="1200">
              <a:latin typeface="+mj-ea"/>
              <a:ea typeface="+mj-ea"/>
            </a:endParaRPr>
          </a:p>
        </p:txBody>
      </p: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E55475C0-EEA7-6FC8-07A8-9B1D970C7AE3}"/>
              </a:ext>
            </a:extLst>
          </p:cNvPr>
          <p:cNvGrpSpPr/>
          <p:nvPr/>
        </p:nvGrpSpPr>
        <p:grpSpPr>
          <a:xfrm>
            <a:off x="547293" y="904656"/>
            <a:ext cx="7709724" cy="307776"/>
            <a:chOff x="393790" y="1071756"/>
            <a:chExt cx="7955080" cy="307776"/>
          </a:xfrm>
        </p:grpSpPr>
        <p:cxnSp>
          <p:nvCxnSpPr>
            <p:cNvPr id="81" name="Straight Connector 38">
              <a:extLst>
                <a:ext uri="{FF2B5EF4-FFF2-40B4-BE49-F238E27FC236}">
                  <a16:creationId xmlns:a16="http://schemas.microsoft.com/office/drawing/2014/main" id="{A2F57F02-A4EE-079F-E620-EC487EA988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790" y="1218242"/>
              <a:ext cx="7955080" cy="7402"/>
            </a:xfrm>
            <a:prstGeom prst="line">
              <a:avLst/>
            </a:prstGeom>
            <a:noFill/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diamond"/>
              <a:tailEnd type="diamond"/>
            </a:ln>
            <a:effectLst/>
          </p:spPr>
        </p:cxnSp>
        <p:sp>
          <p:nvSpPr>
            <p:cNvPr id="82" name="Rectangle 24">
              <a:extLst>
                <a:ext uri="{FF2B5EF4-FFF2-40B4-BE49-F238E27FC236}">
                  <a16:creationId xmlns:a16="http://schemas.microsoft.com/office/drawing/2014/main" id="{161D99B6-FF3E-1D66-D890-AD0BA723250A}"/>
                </a:ext>
              </a:extLst>
            </p:cNvPr>
            <p:cNvSpPr/>
            <p:nvPr/>
          </p:nvSpPr>
          <p:spPr>
            <a:xfrm>
              <a:off x="3546889" y="1071756"/>
              <a:ext cx="2103120" cy="307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r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400" b="1">
                  <a:latin typeface="Microsoft YaHei"/>
                  <a:ea typeface="Microsoft YaHei"/>
                  <a:cs typeface="Arial" panose="020B0604020202020204" pitchFamily="34" charset="0"/>
                </a:rPr>
                <a:t>推广费长</a:t>
              </a:r>
              <a:r>
                <a:rPr kumimoji="1" lang="zh-CN" altLang="en-US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YaHei"/>
                  <a:ea typeface="Microsoft YaHei"/>
                  <a:cs typeface="Arial" panose="020B0604020202020204" pitchFamily="34" charset="0"/>
                </a:rPr>
                <a:t>期方案</a:t>
              </a:r>
              <a:endParaRPr kumimoji="1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Arial" panose="020B0604020202020204" pitchFamily="34" charset="0"/>
              </a:endParaRPr>
            </a:p>
          </p:txBody>
        </p:sp>
        <p:grpSp>
          <p:nvGrpSpPr>
            <p:cNvPr id="83" name="Group 55">
              <a:extLst>
                <a:ext uri="{FF2B5EF4-FFF2-40B4-BE49-F238E27FC236}">
                  <a16:creationId xmlns:a16="http://schemas.microsoft.com/office/drawing/2014/main" id="{748F363F-598A-5DBE-07A4-E7706396C922}"/>
                </a:ext>
              </a:extLst>
            </p:cNvPr>
            <p:cNvGrpSpPr/>
            <p:nvPr/>
          </p:nvGrpSpPr>
          <p:grpSpPr>
            <a:xfrm>
              <a:off x="3432303" y="1071757"/>
              <a:ext cx="431104" cy="307775"/>
              <a:chOff x="3126173" y="1114361"/>
              <a:chExt cx="431104" cy="307775"/>
            </a:xfrm>
          </p:grpSpPr>
          <p:sp>
            <p:nvSpPr>
              <p:cNvPr id="85" name="Rectangle 49">
                <a:extLst>
                  <a:ext uri="{FF2B5EF4-FFF2-40B4-BE49-F238E27FC236}">
                    <a16:creationId xmlns:a16="http://schemas.microsoft.com/office/drawing/2014/main" id="{41959D13-B337-0497-F283-252FB5609711}"/>
                  </a:ext>
                </a:extLst>
              </p:cNvPr>
              <p:cNvSpPr/>
              <p:nvPr/>
            </p:nvSpPr>
            <p:spPr>
              <a:xfrm>
                <a:off x="3126173" y="1114361"/>
                <a:ext cx="431104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86" name="Graphic 44">
                <a:extLst>
                  <a:ext uri="{FF2B5EF4-FFF2-40B4-BE49-F238E27FC236}">
                    <a16:creationId xmlns:a16="http://schemas.microsoft.com/office/drawing/2014/main" id="{7DBEA2AB-F8B5-08BD-1641-5CCA8D47DC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204565" y="1122751"/>
                <a:ext cx="274320" cy="252882"/>
              </a:xfrm>
              <a:prstGeom prst="rect">
                <a:avLst/>
              </a:prstGeom>
            </p:spPr>
          </p:pic>
        </p:grpSp>
      </p:grpSp>
      <p:sp>
        <p:nvSpPr>
          <p:cNvPr id="99" name="Rectangle 17">
            <a:extLst>
              <a:ext uri="{FF2B5EF4-FFF2-40B4-BE49-F238E27FC236}">
                <a16:creationId xmlns:a16="http://schemas.microsoft.com/office/drawing/2014/main" id="{271B20AC-F24A-6727-E5CF-95D6D300F1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689" y="3631640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招投标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0" name="矩形 189">
            <a:extLst>
              <a:ext uri="{FF2B5EF4-FFF2-40B4-BE49-F238E27FC236}">
                <a16:creationId xmlns:a16="http://schemas.microsoft.com/office/drawing/2014/main" id="{1DA86A75-B960-2B54-8DEB-60CB24714A25}"/>
              </a:ext>
            </a:extLst>
          </p:cNvPr>
          <p:cNvSpPr/>
          <p:nvPr/>
        </p:nvSpPr>
        <p:spPr>
          <a:xfrm>
            <a:off x="540196" y="1250994"/>
            <a:ext cx="7709724" cy="5258349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81323"/>
              </a:buClr>
              <a:buSzPct val="130000"/>
              <a:tabLst/>
              <a:defRPr/>
            </a:pPr>
            <a:endParaRPr lang="en-US" altLang="zh-CN" sz="1200" b="1">
              <a:latin typeface="+mj-ea"/>
              <a:ea typeface="+mj-ea"/>
            </a:endParaRPr>
          </a:p>
        </p:txBody>
      </p:sp>
      <p:sp>
        <p:nvSpPr>
          <p:cNvPr id="109" name="Rectangle 18">
            <a:extLst>
              <a:ext uri="{FF2B5EF4-FFF2-40B4-BE49-F238E27FC236}">
                <a16:creationId xmlns:a16="http://schemas.microsoft.com/office/drawing/2014/main" id="{B7214C6E-0F32-2725-6DCC-13C740D2A0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6971" y="5972245"/>
            <a:ext cx="7702626" cy="531258"/>
          </a:xfrm>
          <a:prstGeom prst="rect">
            <a:avLst/>
          </a:prstGeom>
          <a:solidFill>
            <a:srgbClr val="1084D0">
              <a:alpha val="7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vert="eaVert"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10" name="TextBox 48">
            <a:extLst>
              <a:ext uri="{FF2B5EF4-FFF2-40B4-BE49-F238E27FC236}">
                <a16:creationId xmlns:a16="http://schemas.microsoft.com/office/drawing/2014/main" id="{0246DDA4-1652-16BA-CB24-12EB02CE0D55}"/>
              </a:ext>
            </a:extLst>
          </p:cNvPr>
          <p:cNvSpPr txBox="1"/>
          <p:nvPr/>
        </p:nvSpPr>
        <p:spPr>
          <a:xfrm>
            <a:off x="393655" y="6018924"/>
            <a:ext cx="810816" cy="539323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r>
              <a:rPr lang="en-US" altLang="zh-CN" b="1">
                <a:latin typeface="+mn-ea"/>
              </a:rPr>
              <a:t>MDM</a:t>
            </a:r>
            <a:endParaRPr lang="en-US" b="1">
              <a:latin typeface="+mn-ea"/>
            </a:endParaRPr>
          </a:p>
        </p:txBody>
      </p:sp>
      <p:sp>
        <p:nvSpPr>
          <p:cNvPr id="112" name="Rectangle 17">
            <a:extLst>
              <a:ext uri="{FF2B5EF4-FFF2-40B4-BE49-F238E27FC236}">
                <a16:creationId xmlns:a16="http://schemas.microsoft.com/office/drawing/2014/main" id="{044A6CA2-F78F-5A2B-40C5-F01A38F76C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2443" y="61368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5" name="Rectangle 17">
            <a:extLst>
              <a:ext uri="{FF2B5EF4-FFF2-40B4-BE49-F238E27FC236}">
                <a16:creationId xmlns:a16="http://schemas.microsoft.com/office/drawing/2014/main" id="{803B49B9-0E73-5981-A97B-828E591DA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1766" y="61368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7" name="Rectangle 17">
            <a:extLst>
              <a:ext uri="{FF2B5EF4-FFF2-40B4-BE49-F238E27FC236}">
                <a16:creationId xmlns:a16="http://schemas.microsoft.com/office/drawing/2014/main" id="{1C799E89-17D7-50FB-1171-1AFCD878F2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9057" y="61368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账户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8" name="Rectangle 17">
            <a:extLst>
              <a:ext uri="{FF2B5EF4-FFF2-40B4-BE49-F238E27FC236}">
                <a16:creationId xmlns:a16="http://schemas.microsoft.com/office/drawing/2014/main" id="{B6EBD142-5AB5-D181-5E4B-F84EDA2602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1089" y="61368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渠道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2" name="Rectangle 17">
            <a:extLst>
              <a:ext uri="{FF2B5EF4-FFF2-40B4-BE49-F238E27FC236}">
                <a16:creationId xmlns:a16="http://schemas.microsoft.com/office/drawing/2014/main" id="{5B2D1DA8-90A9-F18E-DCE7-167B3FFDB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0412" y="61368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区域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9" name="Rectangle 18">
            <a:extLst>
              <a:ext uri="{FF2B5EF4-FFF2-40B4-BE49-F238E27FC236}">
                <a16:creationId xmlns:a16="http://schemas.microsoft.com/office/drawing/2014/main" id="{4A70E0A0-4235-4403-740C-184A310DFD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32972" y="1269149"/>
            <a:ext cx="2655598" cy="592462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OA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69" name="Rectangle 84">
            <a:extLst>
              <a:ext uri="{FF2B5EF4-FFF2-40B4-BE49-F238E27FC236}">
                <a16:creationId xmlns:a16="http://schemas.microsoft.com/office/drawing/2014/main" id="{2847C21F-6D23-FDA6-BD19-5B638FC571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3190" y="1503473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立项审批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4" name="Rectangle 18">
            <a:extLst>
              <a:ext uri="{FF2B5EF4-FFF2-40B4-BE49-F238E27FC236}">
                <a16:creationId xmlns:a16="http://schemas.microsoft.com/office/drawing/2014/main" id="{62D3B640-4A90-B350-049B-3E2334A461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788" y="1938307"/>
            <a:ext cx="5823782" cy="539571"/>
          </a:xfrm>
          <a:prstGeom prst="rect">
            <a:avLst/>
          </a:prstGeom>
          <a:solidFill>
            <a:srgbClr val="F2F2F2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MP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26" name="Rectangle 50">
            <a:extLst>
              <a:ext uri="{FF2B5EF4-FFF2-40B4-BE49-F238E27FC236}">
                <a16:creationId xmlns:a16="http://schemas.microsoft.com/office/drawing/2014/main" id="{ACE84A0D-155F-43A8-8A57-79E56688D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1407" y="2108434"/>
            <a:ext cx="1008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结项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34" name="Rectangle 17">
            <a:extLst>
              <a:ext uri="{FF2B5EF4-FFF2-40B4-BE49-F238E27FC236}">
                <a16:creationId xmlns:a16="http://schemas.microsoft.com/office/drawing/2014/main" id="{55054CB2-60FD-98A9-5029-40AF50469F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1996" y="2114538"/>
            <a:ext cx="1008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预算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" name="Rectangle 17">
            <a:extLst>
              <a:ext uri="{FF2B5EF4-FFF2-40B4-BE49-F238E27FC236}">
                <a16:creationId xmlns:a16="http://schemas.microsoft.com/office/drawing/2014/main" id="{9860A6DF-5C68-C31A-94E8-8A78C161F1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4244" y="2108434"/>
            <a:ext cx="1008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过程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箭头: 右 3">
            <a:extLst>
              <a:ext uri="{FF2B5EF4-FFF2-40B4-BE49-F238E27FC236}">
                <a16:creationId xmlns:a16="http://schemas.microsoft.com/office/drawing/2014/main" id="{F2744372-ED7F-C1E4-437F-42D7D85A9001}"/>
              </a:ext>
            </a:extLst>
          </p:cNvPr>
          <p:cNvSpPr/>
          <p:nvPr/>
        </p:nvSpPr>
        <p:spPr>
          <a:xfrm rot="16200000">
            <a:off x="1378676" y="5803033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箭头: 右 24">
            <a:extLst>
              <a:ext uri="{FF2B5EF4-FFF2-40B4-BE49-F238E27FC236}">
                <a16:creationId xmlns:a16="http://schemas.microsoft.com/office/drawing/2014/main" id="{044EF3B8-075C-AF5D-0B11-A2A6F2C2A623}"/>
              </a:ext>
            </a:extLst>
          </p:cNvPr>
          <p:cNvSpPr/>
          <p:nvPr/>
        </p:nvSpPr>
        <p:spPr>
          <a:xfrm rot="5400000">
            <a:off x="4409063" y="2306874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箭头: 右 50">
            <a:extLst>
              <a:ext uri="{FF2B5EF4-FFF2-40B4-BE49-F238E27FC236}">
                <a16:creationId xmlns:a16="http://schemas.microsoft.com/office/drawing/2014/main" id="{94AE6377-D923-D7E4-77F4-E910CEC12EB6}"/>
              </a:ext>
            </a:extLst>
          </p:cNvPr>
          <p:cNvSpPr/>
          <p:nvPr/>
        </p:nvSpPr>
        <p:spPr>
          <a:xfrm rot="10800000">
            <a:off x="3466424" y="519195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箭头: 右 52">
            <a:extLst>
              <a:ext uri="{FF2B5EF4-FFF2-40B4-BE49-F238E27FC236}">
                <a16:creationId xmlns:a16="http://schemas.microsoft.com/office/drawing/2014/main" id="{9D717655-90B3-B672-A51F-CBDA17DAEAC8}"/>
              </a:ext>
            </a:extLst>
          </p:cNvPr>
          <p:cNvSpPr/>
          <p:nvPr/>
        </p:nvSpPr>
        <p:spPr>
          <a:xfrm>
            <a:off x="3467303" y="474381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Rectangle 30">
            <a:extLst>
              <a:ext uri="{FF2B5EF4-FFF2-40B4-BE49-F238E27FC236}">
                <a16:creationId xmlns:a16="http://schemas.microsoft.com/office/drawing/2014/main" id="{5C039F13-0454-07BF-6A56-3A3BEC837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689" y="2114240"/>
            <a:ext cx="1008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立项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8" name="Rectangle 5">
            <a:extLst>
              <a:ext uri="{FF2B5EF4-FFF2-40B4-BE49-F238E27FC236}">
                <a16:creationId xmlns:a16="http://schemas.microsoft.com/office/drawing/2014/main" id="{F4278DE9-3955-53EB-9783-BF9CF760E40D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40" name="Rectangle 18">
            <a:extLst>
              <a:ext uri="{FF2B5EF4-FFF2-40B4-BE49-F238E27FC236}">
                <a16:creationId xmlns:a16="http://schemas.microsoft.com/office/drawing/2014/main" id="{FBD981CB-3606-A850-645B-4404AB7FD3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8712" y="2550113"/>
            <a:ext cx="1317969" cy="1629469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38" name="Rectangle 84">
            <a:extLst>
              <a:ext uri="{FF2B5EF4-FFF2-40B4-BE49-F238E27FC236}">
                <a16:creationId xmlns:a16="http://schemas.microsoft.com/office/drawing/2014/main" id="{79517A75-9E37-67DD-ED9E-E12247BF27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4187" y="2848297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提出付款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1" name="Rectangle 85">
            <a:extLst>
              <a:ext uri="{FF2B5EF4-FFF2-40B4-BE49-F238E27FC236}">
                <a16:creationId xmlns:a16="http://schemas.microsoft.com/office/drawing/2014/main" id="{98B473A6-18A4-B43F-F7A3-3761F6CCE6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4187" y="3310332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通知银行付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4" name="Rectangle 85">
            <a:extLst>
              <a:ext uri="{FF2B5EF4-FFF2-40B4-BE49-F238E27FC236}">
                <a16:creationId xmlns:a16="http://schemas.microsoft.com/office/drawing/2014/main" id="{552D9B66-B4AD-4B1E-1599-38BC2BFD28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4187" y="3770982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付款确认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DB22AF5-BAC5-902E-F5C8-B86B603DE846}"/>
              </a:ext>
            </a:extLst>
          </p:cNvPr>
          <p:cNvSpPr txBox="1"/>
          <p:nvPr/>
        </p:nvSpPr>
        <p:spPr>
          <a:xfrm>
            <a:off x="3769241" y="4690786"/>
            <a:ext cx="1008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服务主数据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1AC2D51-2161-8661-1945-3EE380E4E1BA}"/>
              </a:ext>
            </a:extLst>
          </p:cNvPr>
          <p:cNvSpPr txBox="1"/>
          <p:nvPr/>
        </p:nvSpPr>
        <p:spPr>
          <a:xfrm>
            <a:off x="3769241" y="5217068"/>
            <a:ext cx="1008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申请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A84FDE8-FCF8-2DF5-B5BF-6A5DCD206B12}"/>
              </a:ext>
            </a:extLst>
          </p:cNvPr>
          <p:cNvSpPr txBox="1"/>
          <p:nvPr/>
        </p:nvSpPr>
        <p:spPr>
          <a:xfrm>
            <a:off x="4874568" y="5217068"/>
            <a:ext cx="1008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服务确认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C112D3C-A170-C5DA-72CE-C6599B5C9BA0}"/>
              </a:ext>
            </a:extLst>
          </p:cNvPr>
          <p:cNvSpPr txBox="1"/>
          <p:nvPr/>
        </p:nvSpPr>
        <p:spPr>
          <a:xfrm>
            <a:off x="5979895" y="5217068"/>
            <a:ext cx="1008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应付账款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DE2A1E0-4BD9-F0F2-A8BB-B3E97ECBBB14}"/>
              </a:ext>
            </a:extLst>
          </p:cNvPr>
          <p:cNvSpPr txBox="1"/>
          <p:nvPr/>
        </p:nvSpPr>
        <p:spPr>
          <a:xfrm>
            <a:off x="4874568" y="4690786"/>
            <a:ext cx="1008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订单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94C7ED8-678D-FE15-F153-7B7A84033A2B}"/>
              </a:ext>
            </a:extLst>
          </p:cNvPr>
          <p:cNvSpPr txBox="1"/>
          <p:nvPr/>
        </p:nvSpPr>
        <p:spPr>
          <a:xfrm>
            <a:off x="5979895" y="4690786"/>
            <a:ext cx="1008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发票校验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9" name="箭头: 右 58">
            <a:extLst>
              <a:ext uri="{FF2B5EF4-FFF2-40B4-BE49-F238E27FC236}">
                <a16:creationId xmlns:a16="http://schemas.microsoft.com/office/drawing/2014/main" id="{100F6A83-0C25-7843-96C1-E74EA2F6037E}"/>
              </a:ext>
            </a:extLst>
          </p:cNvPr>
          <p:cNvSpPr/>
          <p:nvPr/>
        </p:nvSpPr>
        <p:spPr>
          <a:xfrm rot="16200000">
            <a:off x="3933020" y="409264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6D967CCF-5E54-4443-F254-F5EF3F13B6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9735" y="613686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8" name="Rectangle 18">
            <a:extLst>
              <a:ext uri="{FF2B5EF4-FFF2-40B4-BE49-F238E27FC236}">
                <a16:creationId xmlns:a16="http://schemas.microsoft.com/office/drawing/2014/main" id="{5A40EAB2-F340-89D1-CAC7-C7EBE81A0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268" y="1264538"/>
            <a:ext cx="3003796" cy="575959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PBF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62" name="Rectangle 84">
            <a:extLst>
              <a:ext uri="{FF2B5EF4-FFF2-40B4-BE49-F238E27FC236}">
                <a16:creationId xmlns:a16="http://schemas.microsoft.com/office/drawing/2014/main" id="{D0A540FA-02CA-2729-343D-ACD21C960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5476" y="1499572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推广费预算编制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9" name="Rectangle 18">
            <a:extLst>
              <a:ext uri="{FF2B5EF4-FFF2-40B4-BE49-F238E27FC236}">
                <a16:creationId xmlns:a16="http://schemas.microsoft.com/office/drawing/2014/main" id="{67F1AB62-4748-5067-DA39-B8F8FF8DF7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6909" y="1284562"/>
            <a:ext cx="1730108" cy="1165181"/>
          </a:xfrm>
          <a:prstGeom prst="rect">
            <a:avLst/>
          </a:prstGeom>
          <a:solidFill>
            <a:schemeClr val="bg1">
              <a:lumMod val="85000"/>
              <a:alpha val="70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推广费系统</a:t>
            </a:r>
          </a:p>
        </p:txBody>
      </p:sp>
      <p:sp>
        <p:nvSpPr>
          <p:cNvPr id="75" name="Rectangle 17">
            <a:extLst>
              <a:ext uri="{FF2B5EF4-FFF2-40B4-BE49-F238E27FC236}">
                <a16:creationId xmlns:a16="http://schemas.microsoft.com/office/drawing/2014/main" id="{41D8764D-010E-967C-8C56-4B8D04D27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5267" y="1529218"/>
            <a:ext cx="1008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7" name="箭头: 右 86">
            <a:extLst>
              <a:ext uri="{FF2B5EF4-FFF2-40B4-BE49-F238E27FC236}">
                <a16:creationId xmlns:a16="http://schemas.microsoft.com/office/drawing/2014/main" id="{19BB46EE-DFEB-FD9B-7B5E-4A1622199B34}"/>
              </a:ext>
            </a:extLst>
          </p:cNvPr>
          <p:cNvSpPr/>
          <p:nvPr/>
        </p:nvSpPr>
        <p:spPr>
          <a:xfrm rot="5400000">
            <a:off x="5637846" y="230611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箭头: 右 89">
            <a:extLst>
              <a:ext uri="{FF2B5EF4-FFF2-40B4-BE49-F238E27FC236}">
                <a16:creationId xmlns:a16="http://schemas.microsoft.com/office/drawing/2014/main" id="{33CC69A4-FD2A-72DF-A9B2-D51EA2AAF490}"/>
              </a:ext>
            </a:extLst>
          </p:cNvPr>
          <p:cNvSpPr/>
          <p:nvPr/>
        </p:nvSpPr>
        <p:spPr>
          <a:xfrm rot="5400000">
            <a:off x="4386335" y="409980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8" name="文本框 127">
            <a:extLst>
              <a:ext uri="{FF2B5EF4-FFF2-40B4-BE49-F238E27FC236}">
                <a16:creationId xmlns:a16="http://schemas.microsoft.com/office/drawing/2014/main" id="{51A7BC38-8138-F466-285C-40E73BED99D6}"/>
              </a:ext>
            </a:extLst>
          </p:cNvPr>
          <p:cNvSpPr txBox="1"/>
          <p:nvPr/>
        </p:nvSpPr>
        <p:spPr>
          <a:xfrm>
            <a:off x="7085223" y="5217068"/>
            <a:ext cx="1008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往来清账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2" name="Rectangle 17">
            <a:extLst>
              <a:ext uri="{FF2B5EF4-FFF2-40B4-BE49-F238E27FC236}">
                <a16:creationId xmlns:a16="http://schemas.microsoft.com/office/drawing/2014/main" id="{B369E46F-C620-11FD-B784-38AFBDCF9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5267" y="1842191"/>
            <a:ext cx="1008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接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7" name="文本框 126">
            <a:extLst>
              <a:ext uri="{FF2B5EF4-FFF2-40B4-BE49-F238E27FC236}">
                <a16:creationId xmlns:a16="http://schemas.microsoft.com/office/drawing/2014/main" id="{537F6AF6-3D1C-E755-E43A-2DF5AD845BFF}"/>
              </a:ext>
            </a:extLst>
          </p:cNvPr>
          <p:cNvSpPr txBox="1"/>
          <p:nvPr/>
        </p:nvSpPr>
        <p:spPr>
          <a:xfrm>
            <a:off x="7085223" y="4690786"/>
            <a:ext cx="1008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项目</a:t>
            </a: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主数据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7" name="Rectangle 17">
            <a:extLst>
              <a:ext uri="{FF2B5EF4-FFF2-40B4-BE49-F238E27FC236}">
                <a16:creationId xmlns:a16="http://schemas.microsoft.com/office/drawing/2014/main" id="{87CF77C4-AE11-BAC1-2210-776C1E4AFF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3757" y="2991725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明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96" name="Rectangle 17">
            <a:extLst>
              <a:ext uri="{FF2B5EF4-FFF2-40B4-BE49-F238E27FC236}">
                <a16:creationId xmlns:a16="http://schemas.microsoft.com/office/drawing/2014/main" id="{4064D806-2FE2-E53D-B694-BE159914C0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5267" y="2155164"/>
            <a:ext cx="1008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验收管理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98" name="Rectangle 17">
            <a:extLst>
              <a:ext uri="{FF2B5EF4-FFF2-40B4-BE49-F238E27FC236}">
                <a16:creationId xmlns:a16="http://schemas.microsoft.com/office/drawing/2014/main" id="{766E9DE0-3AD9-A620-6FC5-55E745111B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3757" y="3560829"/>
            <a:ext cx="1008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付账款余额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95" name="组合 94">
            <a:extLst>
              <a:ext uri="{FF2B5EF4-FFF2-40B4-BE49-F238E27FC236}">
                <a16:creationId xmlns:a16="http://schemas.microsoft.com/office/drawing/2014/main" id="{D1289F14-E81E-554B-83D8-A730F6FD0108}"/>
              </a:ext>
            </a:extLst>
          </p:cNvPr>
          <p:cNvGrpSpPr/>
          <p:nvPr/>
        </p:nvGrpSpPr>
        <p:grpSpPr>
          <a:xfrm>
            <a:off x="602816" y="2019992"/>
            <a:ext cx="7631538" cy="3890732"/>
            <a:chOff x="557365" y="1994657"/>
            <a:chExt cx="7631538" cy="3890732"/>
          </a:xfrm>
        </p:grpSpPr>
        <p:sp>
          <p:nvSpPr>
            <p:cNvPr id="13" name="Rectangle 157">
              <a:extLst>
                <a:ext uri="{FF2B5EF4-FFF2-40B4-BE49-F238E27FC236}">
                  <a16:creationId xmlns:a16="http://schemas.microsoft.com/office/drawing/2014/main" id="{DEDDEE1E-CA50-A531-01DC-E660B780AE73}"/>
                </a:ext>
              </a:extLst>
            </p:cNvPr>
            <p:cNvSpPr/>
            <p:nvPr/>
          </p:nvSpPr>
          <p:spPr>
            <a:xfrm>
              <a:off x="557365" y="2550352"/>
              <a:ext cx="2879645" cy="3335037"/>
            </a:xfrm>
            <a:prstGeom prst="rect">
              <a:avLst/>
            </a:prstGeom>
            <a:solidFill>
              <a:srgbClr val="42BDFF">
                <a:alpha val="34902"/>
              </a:srgbClr>
            </a:solidFill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待建设</a:t>
              </a:r>
              <a:r>
                <a:rPr lang="zh-CN" altLang="en-US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对推广费</a:t>
              </a:r>
              <a:endParaRPr lang="en-US" altLang="zh-CN" sz="1600" b="1">
                <a:solidFill>
                  <a:srgbClr val="FF0000"/>
                </a:solidFill>
                <a:latin typeface="Microsoft YaHei"/>
                <a:ea typeface="Microsoft YaHei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的采购支持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17" name="Rectangle 157">
              <a:extLst>
                <a:ext uri="{FF2B5EF4-FFF2-40B4-BE49-F238E27FC236}">
                  <a16:creationId xmlns:a16="http://schemas.microsoft.com/office/drawing/2014/main" id="{C80B02E7-1180-234E-F2F3-E33C44A47D52}"/>
                </a:ext>
              </a:extLst>
            </p:cNvPr>
            <p:cNvSpPr/>
            <p:nvPr/>
          </p:nvSpPr>
          <p:spPr>
            <a:xfrm>
              <a:off x="3754601" y="2006559"/>
              <a:ext cx="1246892" cy="413898"/>
            </a:xfrm>
            <a:prstGeom prst="rect">
              <a:avLst/>
            </a:prstGeom>
            <a:solidFill>
              <a:srgbClr val="42BDFF">
                <a:alpha val="34902"/>
              </a:srgbClr>
            </a:solidFill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功能逐步</a:t>
              </a:r>
              <a:endPara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建设中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71" name="Oval 510">
              <a:extLst>
                <a:ext uri="{FF2B5EF4-FFF2-40B4-BE49-F238E27FC236}">
                  <a16:creationId xmlns:a16="http://schemas.microsoft.com/office/drawing/2014/main" id="{7F1D12B8-7BBB-7570-3A11-549195A3243A}"/>
                </a:ext>
              </a:extLst>
            </p:cNvPr>
            <p:cNvSpPr/>
            <p:nvPr/>
          </p:nvSpPr>
          <p:spPr>
            <a:xfrm>
              <a:off x="3651476" y="1994657"/>
              <a:ext cx="274320" cy="274320"/>
            </a:xfrm>
            <a:prstGeom prst="ellipse">
              <a:avLst/>
            </a:prstGeom>
            <a:solidFill>
              <a:srgbClr val="E81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1</a:t>
              </a:r>
            </a:p>
          </p:txBody>
        </p:sp>
        <p:sp>
          <p:nvSpPr>
            <p:cNvPr id="72" name="Oval 510">
              <a:extLst>
                <a:ext uri="{FF2B5EF4-FFF2-40B4-BE49-F238E27FC236}">
                  <a16:creationId xmlns:a16="http://schemas.microsoft.com/office/drawing/2014/main" id="{73BE0095-B33D-CE3C-8AE5-953BB91FD4CE}"/>
                </a:ext>
              </a:extLst>
            </p:cNvPr>
            <p:cNvSpPr/>
            <p:nvPr/>
          </p:nvSpPr>
          <p:spPr>
            <a:xfrm>
              <a:off x="1002099" y="3941010"/>
              <a:ext cx="274320" cy="274320"/>
            </a:xfrm>
            <a:prstGeom prst="ellipse">
              <a:avLst/>
            </a:prstGeom>
            <a:solidFill>
              <a:srgbClr val="E81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2</a:t>
              </a:r>
            </a:p>
          </p:txBody>
        </p:sp>
        <p:sp>
          <p:nvSpPr>
            <p:cNvPr id="15" name="Rectangle 157">
              <a:extLst>
                <a:ext uri="{FF2B5EF4-FFF2-40B4-BE49-F238E27FC236}">
                  <a16:creationId xmlns:a16="http://schemas.microsoft.com/office/drawing/2014/main" id="{4CF9433E-2310-DE83-2E19-F17CDC19CF82}"/>
                </a:ext>
              </a:extLst>
            </p:cNvPr>
            <p:cNvSpPr/>
            <p:nvPr/>
          </p:nvSpPr>
          <p:spPr>
            <a:xfrm>
              <a:off x="3679985" y="4604673"/>
              <a:ext cx="4508918" cy="964728"/>
            </a:xfrm>
            <a:prstGeom prst="rect">
              <a:avLst/>
            </a:prstGeom>
            <a:solidFill>
              <a:srgbClr val="42BDFF">
                <a:alpha val="34902"/>
              </a:srgbClr>
            </a:solidFill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待建设</a:t>
              </a:r>
              <a:r>
                <a:rPr kumimoji="0" lang="en-US" altLang="zh-CN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ERP</a:t>
              </a: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对</a:t>
              </a:r>
              <a:r>
                <a:rPr lang="zh-CN" altLang="en-US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推广</a:t>
              </a: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费多维度核算的支持</a:t>
              </a:r>
              <a:endPara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73" name="Oval 510">
              <a:extLst>
                <a:ext uri="{FF2B5EF4-FFF2-40B4-BE49-F238E27FC236}">
                  <a16:creationId xmlns:a16="http://schemas.microsoft.com/office/drawing/2014/main" id="{6E65EC3F-FF48-9B95-A785-B384250A13B2}"/>
                </a:ext>
              </a:extLst>
            </p:cNvPr>
            <p:cNvSpPr/>
            <p:nvPr/>
          </p:nvSpPr>
          <p:spPr>
            <a:xfrm>
              <a:off x="3848293" y="4958348"/>
              <a:ext cx="274320" cy="274320"/>
            </a:xfrm>
            <a:prstGeom prst="ellipse">
              <a:avLst/>
            </a:prstGeom>
            <a:solidFill>
              <a:srgbClr val="E81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3</a:t>
              </a:r>
            </a:p>
          </p:txBody>
        </p:sp>
        <p:sp>
          <p:nvSpPr>
            <p:cNvPr id="93" name="Rectangle 157">
              <a:extLst>
                <a:ext uri="{FF2B5EF4-FFF2-40B4-BE49-F238E27FC236}">
                  <a16:creationId xmlns:a16="http://schemas.microsoft.com/office/drawing/2014/main" id="{91C3C883-6159-F405-027A-8667EFC13559}"/>
                </a:ext>
              </a:extLst>
            </p:cNvPr>
            <p:cNvSpPr/>
            <p:nvPr/>
          </p:nvSpPr>
          <p:spPr>
            <a:xfrm>
              <a:off x="3599499" y="2568961"/>
              <a:ext cx="1289268" cy="1457863"/>
            </a:xfrm>
            <a:prstGeom prst="rect">
              <a:avLst/>
            </a:prstGeom>
            <a:solidFill>
              <a:srgbClr val="42BDFF">
                <a:alpha val="34902"/>
              </a:srgbClr>
            </a:solidFill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待建设</a:t>
              </a:r>
              <a:endParaRPr lang="en-US" altLang="zh-CN" sz="1600" b="1">
                <a:solidFill>
                  <a:srgbClr val="FF0000"/>
                </a:solidFill>
                <a:latin typeface="Microsoft YaHei"/>
                <a:ea typeface="Microsoft YaHei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和</a:t>
              </a:r>
              <a:r>
                <a:rPr lang="en-US" altLang="zh-CN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SRM</a:t>
              </a:r>
              <a:r>
                <a:rPr lang="zh-CN" altLang="en-US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、</a:t>
              </a:r>
              <a:r>
                <a:rPr lang="en-US" altLang="zh-CN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ERP</a:t>
              </a:r>
              <a:r>
                <a:rPr lang="zh-CN" altLang="en-US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联动的结算平台</a:t>
              </a:r>
              <a:endPara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94" name="Oval 510">
              <a:extLst>
                <a:ext uri="{FF2B5EF4-FFF2-40B4-BE49-F238E27FC236}">
                  <a16:creationId xmlns:a16="http://schemas.microsoft.com/office/drawing/2014/main" id="{44BBE95D-A158-811D-1769-1377B0FBC9E5}"/>
                </a:ext>
              </a:extLst>
            </p:cNvPr>
            <p:cNvSpPr/>
            <p:nvPr/>
          </p:nvSpPr>
          <p:spPr>
            <a:xfrm>
              <a:off x="3611146" y="2785981"/>
              <a:ext cx="274320" cy="274320"/>
            </a:xfrm>
            <a:prstGeom prst="ellipse">
              <a:avLst/>
            </a:prstGeom>
            <a:solidFill>
              <a:srgbClr val="E81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4</a:t>
              </a:r>
            </a:p>
          </p:txBody>
        </p:sp>
      </p:grpSp>
      <p:sp>
        <p:nvSpPr>
          <p:cNvPr id="6" name="Rectangle 84">
            <a:extLst>
              <a:ext uri="{FF2B5EF4-FFF2-40B4-BE49-F238E27FC236}">
                <a16:creationId xmlns:a16="http://schemas.microsoft.com/office/drawing/2014/main" id="{8FE2089A-7FFE-140B-A8E9-C4EF0AEB79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1996" y="1499572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下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2" name="箭头: 右 21">
            <a:extLst>
              <a:ext uri="{FF2B5EF4-FFF2-40B4-BE49-F238E27FC236}">
                <a16:creationId xmlns:a16="http://schemas.microsoft.com/office/drawing/2014/main" id="{93563D69-47ED-C62A-FDC6-E05B67AE2681}"/>
              </a:ext>
            </a:extLst>
          </p:cNvPr>
          <p:cNvSpPr/>
          <p:nvPr/>
        </p:nvSpPr>
        <p:spPr>
          <a:xfrm rot="5400000">
            <a:off x="2537642" y="1801144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箭头: 右 23">
            <a:extLst>
              <a:ext uri="{FF2B5EF4-FFF2-40B4-BE49-F238E27FC236}">
                <a16:creationId xmlns:a16="http://schemas.microsoft.com/office/drawing/2014/main" id="{87FFD1E1-59F3-66E2-D6B8-9E07B08AC1C2}"/>
              </a:ext>
            </a:extLst>
          </p:cNvPr>
          <p:cNvSpPr/>
          <p:nvPr/>
        </p:nvSpPr>
        <p:spPr>
          <a:xfrm rot="5400000">
            <a:off x="1318586" y="181136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箭头: 右 26">
            <a:extLst>
              <a:ext uri="{FF2B5EF4-FFF2-40B4-BE49-F238E27FC236}">
                <a16:creationId xmlns:a16="http://schemas.microsoft.com/office/drawing/2014/main" id="{48328065-B095-63F2-CFBE-BA504A193479}"/>
              </a:ext>
            </a:extLst>
          </p:cNvPr>
          <p:cNvSpPr/>
          <p:nvPr/>
        </p:nvSpPr>
        <p:spPr>
          <a:xfrm rot="16200000">
            <a:off x="4326602" y="179383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箭头: 右 41">
            <a:extLst>
              <a:ext uri="{FF2B5EF4-FFF2-40B4-BE49-F238E27FC236}">
                <a16:creationId xmlns:a16="http://schemas.microsoft.com/office/drawing/2014/main" id="{01EFE67B-6374-E87E-D04E-A830C15BB7B5}"/>
              </a:ext>
            </a:extLst>
          </p:cNvPr>
          <p:cNvSpPr/>
          <p:nvPr/>
        </p:nvSpPr>
        <p:spPr>
          <a:xfrm rot="5400000">
            <a:off x="5579230" y="178848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Rectangle 18">
            <a:extLst>
              <a:ext uri="{FF2B5EF4-FFF2-40B4-BE49-F238E27FC236}">
                <a16:creationId xmlns:a16="http://schemas.microsoft.com/office/drawing/2014/main" id="{3772F819-D521-B498-F383-8AD75EFA82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9812" y="2549640"/>
            <a:ext cx="1730108" cy="1596367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资金管理平台</a:t>
            </a:r>
          </a:p>
        </p:txBody>
      </p:sp>
      <p:sp>
        <p:nvSpPr>
          <p:cNvPr id="54" name="Rectangle 84">
            <a:extLst>
              <a:ext uri="{FF2B5EF4-FFF2-40B4-BE49-F238E27FC236}">
                <a16:creationId xmlns:a16="http://schemas.microsoft.com/office/drawing/2014/main" id="{5D294140-2CC3-07F8-16A7-3793A4E17E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4705" y="2846500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资金支付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7" name="Rectangle 84">
            <a:extLst>
              <a:ext uri="{FF2B5EF4-FFF2-40B4-BE49-F238E27FC236}">
                <a16:creationId xmlns:a16="http://schemas.microsoft.com/office/drawing/2014/main" id="{75D60AE7-FBF4-74BB-376F-A245638942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6183" y="3318758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回单确认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1" name="箭头: 右 100">
            <a:extLst>
              <a:ext uri="{FF2B5EF4-FFF2-40B4-BE49-F238E27FC236}">
                <a16:creationId xmlns:a16="http://schemas.microsoft.com/office/drawing/2014/main" id="{3CB2492A-8AB6-B52F-ED4E-97767A7D8949}"/>
              </a:ext>
            </a:extLst>
          </p:cNvPr>
          <p:cNvSpPr/>
          <p:nvPr/>
        </p:nvSpPr>
        <p:spPr>
          <a:xfrm rot="16200000">
            <a:off x="2585468" y="5803033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箭头: 右 101">
            <a:extLst>
              <a:ext uri="{FF2B5EF4-FFF2-40B4-BE49-F238E27FC236}">
                <a16:creationId xmlns:a16="http://schemas.microsoft.com/office/drawing/2014/main" id="{32B07F15-F498-0570-42EE-6CD7711831EC}"/>
              </a:ext>
            </a:extLst>
          </p:cNvPr>
          <p:cNvSpPr/>
          <p:nvPr/>
        </p:nvSpPr>
        <p:spPr>
          <a:xfrm rot="16200000">
            <a:off x="4053697" y="5803032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箭头: 右 104">
            <a:extLst>
              <a:ext uri="{FF2B5EF4-FFF2-40B4-BE49-F238E27FC236}">
                <a16:creationId xmlns:a16="http://schemas.microsoft.com/office/drawing/2014/main" id="{15AB6091-B7BE-608D-0100-028F8701EDA3}"/>
              </a:ext>
            </a:extLst>
          </p:cNvPr>
          <p:cNvSpPr/>
          <p:nvPr/>
        </p:nvSpPr>
        <p:spPr>
          <a:xfrm rot="16200000">
            <a:off x="5260489" y="5803032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箭头: 右 105">
            <a:extLst>
              <a:ext uri="{FF2B5EF4-FFF2-40B4-BE49-F238E27FC236}">
                <a16:creationId xmlns:a16="http://schemas.microsoft.com/office/drawing/2014/main" id="{83773241-E896-11C4-AD72-A7D44727E069}"/>
              </a:ext>
            </a:extLst>
          </p:cNvPr>
          <p:cNvSpPr/>
          <p:nvPr/>
        </p:nvSpPr>
        <p:spPr>
          <a:xfrm rot="16200000">
            <a:off x="6283034" y="580303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箭头: 右 106">
            <a:extLst>
              <a:ext uri="{FF2B5EF4-FFF2-40B4-BE49-F238E27FC236}">
                <a16:creationId xmlns:a16="http://schemas.microsoft.com/office/drawing/2014/main" id="{BD052F94-FE10-E276-F88F-3B7939B0DB8A}"/>
              </a:ext>
            </a:extLst>
          </p:cNvPr>
          <p:cNvSpPr/>
          <p:nvPr/>
        </p:nvSpPr>
        <p:spPr>
          <a:xfrm rot="16200000">
            <a:off x="7489826" y="580303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箭头: 右 107">
            <a:extLst>
              <a:ext uri="{FF2B5EF4-FFF2-40B4-BE49-F238E27FC236}">
                <a16:creationId xmlns:a16="http://schemas.microsoft.com/office/drawing/2014/main" id="{6D754720-5B2F-26B5-27E5-ACA9DE958D1E}"/>
              </a:ext>
            </a:extLst>
          </p:cNvPr>
          <p:cNvSpPr/>
          <p:nvPr/>
        </p:nvSpPr>
        <p:spPr>
          <a:xfrm rot="5400000">
            <a:off x="1326717" y="243507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1" name="箭头: 右 110">
            <a:extLst>
              <a:ext uri="{FF2B5EF4-FFF2-40B4-BE49-F238E27FC236}">
                <a16:creationId xmlns:a16="http://schemas.microsoft.com/office/drawing/2014/main" id="{F3F2B00A-42FE-7D3E-A2CA-05A93A29FC63}"/>
              </a:ext>
            </a:extLst>
          </p:cNvPr>
          <p:cNvSpPr/>
          <p:nvPr/>
        </p:nvSpPr>
        <p:spPr>
          <a:xfrm rot="5400000">
            <a:off x="2555500" y="243431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0" name="箭头: 右 119">
            <a:extLst>
              <a:ext uri="{FF2B5EF4-FFF2-40B4-BE49-F238E27FC236}">
                <a16:creationId xmlns:a16="http://schemas.microsoft.com/office/drawing/2014/main" id="{D5AA5146-17BD-4015-20BF-4CB3A77870CC}"/>
              </a:ext>
            </a:extLst>
          </p:cNvPr>
          <p:cNvSpPr/>
          <p:nvPr/>
        </p:nvSpPr>
        <p:spPr>
          <a:xfrm rot="16200000">
            <a:off x="5405606" y="409264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1" name="箭头: 右 120">
            <a:extLst>
              <a:ext uri="{FF2B5EF4-FFF2-40B4-BE49-F238E27FC236}">
                <a16:creationId xmlns:a16="http://schemas.microsoft.com/office/drawing/2014/main" id="{B7A81A15-CCE3-727D-EE84-41C82FC08900}"/>
              </a:ext>
            </a:extLst>
          </p:cNvPr>
          <p:cNvSpPr/>
          <p:nvPr/>
        </p:nvSpPr>
        <p:spPr>
          <a:xfrm rot="5400000">
            <a:off x="5858921" y="409980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3" name="箭头: 右 122">
            <a:extLst>
              <a:ext uri="{FF2B5EF4-FFF2-40B4-BE49-F238E27FC236}">
                <a16:creationId xmlns:a16="http://schemas.microsoft.com/office/drawing/2014/main" id="{6B52A992-F0B6-49A2-18FD-743C8D68A4B6}"/>
              </a:ext>
            </a:extLst>
          </p:cNvPr>
          <p:cNvSpPr/>
          <p:nvPr/>
        </p:nvSpPr>
        <p:spPr>
          <a:xfrm rot="10800000">
            <a:off x="3453173" y="349063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4" name="箭头: 右 123">
            <a:extLst>
              <a:ext uri="{FF2B5EF4-FFF2-40B4-BE49-F238E27FC236}">
                <a16:creationId xmlns:a16="http://schemas.microsoft.com/office/drawing/2014/main" id="{743C2350-44EC-EA34-BFB9-3F1A11C91113}"/>
              </a:ext>
            </a:extLst>
          </p:cNvPr>
          <p:cNvSpPr/>
          <p:nvPr/>
        </p:nvSpPr>
        <p:spPr>
          <a:xfrm>
            <a:off x="3454052" y="3042504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5" name="箭头: 右 124">
            <a:extLst>
              <a:ext uri="{FF2B5EF4-FFF2-40B4-BE49-F238E27FC236}">
                <a16:creationId xmlns:a16="http://schemas.microsoft.com/office/drawing/2014/main" id="{916FF9D9-516F-0452-930C-32D531C562C8}"/>
              </a:ext>
            </a:extLst>
          </p:cNvPr>
          <p:cNvSpPr/>
          <p:nvPr/>
        </p:nvSpPr>
        <p:spPr>
          <a:xfrm rot="10800000">
            <a:off x="6387620" y="336398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6" name="箭头: 右 125">
            <a:extLst>
              <a:ext uri="{FF2B5EF4-FFF2-40B4-BE49-F238E27FC236}">
                <a16:creationId xmlns:a16="http://schemas.microsoft.com/office/drawing/2014/main" id="{8D82F92B-51C1-9DFE-9D97-323638004835}"/>
              </a:ext>
            </a:extLst>
          </p:cNvPr>
          <p:cNvSpPr/>
          <p:nvPr/>
        </p:nvSpPr>
        <p:spPr>
          <a:xfrm>
            <a:off x="6388499" y="2915853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9" name="Rectangle 157">
            <a:extLst>
              <a:ext uri="{FF2B5EF4-FFF2-40B4-BE49-F238E27FC236}">
                <a16:creationId xmlns:a16="http://schemas.microsoft.com/office/drawing/2014/main" id="{34DD6D4B-4133-FE57-FDE7-CA1517DF6B6F}"/>
              </a:ext>
            </a:extLst>
          </p:cNvPr>
          <p:cNvSpPr/>
          <p:nvPr/>
        </p:nvSpPr>
        <p:spPr>
          <a:xfrm>
            <a:off x="6725821" y="1309152"/>
            <a:ext cx="1367402" cy="1150820"/>
          </a:xfrm>
          <a:prstGeom prst="rect">
            <a:avLst/>
          </a:prstGeom>
          <a:solidFill>
            <a:srgbClr val="42BDFF">
              <a:alpha val="34902"/>
            </a:srgbClr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功能</a:t>
            </a:r>
            <a:endParaRPr kumimoji="0" lang="en-US" altLang="zh-CN" sz="16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迁移至</a:t>
            </a:r>
            <a:r>
              <a: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SRM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30" name="Oval 510">
            <a:extLst>
              <a:ext uri="{FF2B5EF4-FFF2-40B4-BE49-F238E27FC236}">
                <a16:creationId xmlns:a16="http://schemas.microsoft.com/office/drawing/2014/main" id="{71BB1ACF-33E1-B36C-ECD7-7DB60E14D66B}"/>
              </a:ext>
            </a:extLst>
          </p:cNvPr>
          <p:cNvSpPr/>
          <p:nvPr/>
        </p:nvSpPr>
        <p:spPr>
          <a:xfrm>
            <a:off x="6850735" y="1590406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4362454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D5EE364C-4150-3381-5919-6CA7CF55B1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9926956" cy="706293"/>
          </a:xfrm>
        </p:spPr>
        <p:txBody>
          <a:bodyPr/>
          <a:lstStyle/>
          <a:p>
            <a:r>
              <a:rPr lang="zh-CN" altLang="en-US"/>
              <a:t>推广费 </a:t>
            </a:r>
            <a:r>
              <a:rPr lang="en-US" altLang="zh-CN"/>
              <a:t>–</a:t>
            </a:r>
            <a:r>
              <a:rPr lang="zh-CN" altLang="en-US"/>
              <a:t>短期核算方案：全球市场中心统管的推广费，按项目核算</a:t>
            </a: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AF0E56B4-330B-A3C5-3924-1B7DB40581B6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lang="en-US" altLang="zh-CN" b="1">
                <a:solidFill>
                  <a:prstClr val="white"/>
                </a:solidFill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D5EE9F8A-B8D8-8187-A9EC-976CAE12BE6A}"/>
              </a:ext>
            </a:extLst>
          </p:cNvPr>
          <p:cNvSpPr/>
          <p:nvPr/>
        </p:nvSpPr>
        <p:spPr>
          <a:xfrm>
            <a:off x="974778" y="1195857"/>
            <a:ext cx="1280160" cy="3553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推广费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38" name="Rectangle 4">
            <a:extLst>
              <a:ext uri="{FF2B5EF4-FFF2-40B4-BE49-F238E27FC236}">
                <a16:creationId xmlns:a16="http://schemas.microsoft.com/office/drawing/2014/main" id="{9656151D-4658-E608-7F08-7DD43A709AC9}"/>
              </a:ext>
            </a:extLst>
          </p:cNvPr>
          <p:cNvSpPr/>
          <p:nvPr/>
        </p:nvSpPr>
        <p:spPr>
          <a:xfrm>
            <a:off x="2745219" y="1307908"/>
            <a:ext cx="864847" cy="35531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BG</a:t>
            </a:r>
          </a:p>
        </p:txBody>
      </p:sp>
      <p:sp>
        <p:nvSpPr>
          <p:cNvPr id="39" name="Rectangle 4">
            <a:extLst>
              <a:ext uri="{FF2B5EF4-FFF2-40B4-BE49-F238E27FC236}">
                <a16:creationId xmlns:a16="http://schemas.microsoft.com/office/drawing/2014/main" id="{3CDD9857-FEC9-F924-8FBB-CAC82F058692}"/>
              </a:ext>
            </a:extLst>
          </p:cNvPr>
          <p:cNvSpPr/>
          <p:nvPr/>
        </p:nvSpPr>
        <p:spPr>
          <a:xfrm>
            <a:off x="3881119" y="1318740"/>
            <a:ext cx="864847" cy="35531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BU</a:t>
            </a:r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24D99400-FF18-B597-5E0E-FD3651CAE8F1}"/>
              </a:ext>
            </a:extLst>
          </p:cNvPr>
          <p:cNvSpPr/>
          <p:nvPr/>
        </p:nvSpPr>
        <p:spPr>
          <a:xfrm>
            <a:off x="5134159" y="1307908"/>
            <a:ext cx="864847" cy="35531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BG</a:t>
            </a:r>
          </a:p>
        </p:txBody>
      </p:sp>
      <p:sp>
        <p:nvSpPr>
          <p:cNvPr id="42" name="Rectangle 4">
            <a:extLst>
              <a:ext uri="{FF2B5EF4-FFF2-40B4-BE49-F238E27FC236}">
                <a16:creationId xmlns:a16="http://schemas.microsoft.com/office/drawing/2014/main" id="{E1DC3580-8C88-CDDF-F931-D041AEF6446F}"/>
              </a:ext>
            </a:extLst>
          </p:cNvPr>
          <p:cNvSpPr/>
          <p:nvPr/>
        </p:nvSpPr>
        <p:spPr>
          <a:xfrm>
            <a:off x="6259334" y="1318739"/>
            <a:ext cx="864847" cy="35531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NABG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34F01614-2150-7E32-28E0-968E84AF1DAC}"/>
              </a:ext>
            </a:extLst>
          </p:cNvPr>
          <p:cNvSpPr/>
          <p:nvPr/>
        </p:nvSpPr>
        <p:spPr>
          <a:xfrm>
            <a:off x="7750410" y="4722552"/>
            <a:ext cx="3638448" cy="1934753"/>
          </a:xfrm>
          <a:prstGeom prst="rect">
            <a:avLst/>
          </a:prstGeom>
          <a:pattFill prst="ltUpDiag">
            <a:fgClr>
              <a:schemeClr val="accent6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300" b="1">
                <a:solidFill>
                  <a:prstClr val="black"/>
                </a:solidFill>
                <a:latin typeface="Microsoft YaHei"/>
                <a:ea typeface="Microsoft YaHei"/>
              </a:rPr>
              <a:t>核算科目：</a:t>
            </a:r>
            <a:r>
              <a:rPr lang="zh-CN" altLang="en-US" sz="1300" b="1">
                <a:solidFill>
                  <a:schemeClr val="bg1">
                    <a:lumMod val="50000"/>
                  </a:schemeClr>
                </a:solidFill>
                <a:latin typeface="Microsoft YaHei"/>
                <a:ea typeface="Microsoft YaHei"/>
              </a:rPr>
              <a:t>维持现状</a:t>
            </a:r>
            <a:endParaRPr lang="en-US" altLang="zh-CN" sz="1300" b="1">
              <a:solidFill>
                <a:schemeClr val="bg1">
                  <a:lumMod val="50000"/>
                </a:schemeClr>
              </a:solidFill>
              <a:latin typeface="Microsoft YaHei"/>
              <a:ea typeface="Microsoft YaHei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300" b="1">
                <a:solidFill>
                  <a:prstClr val="black"/>
                </a:solidFill>
                <a:latin typeface="Microsoft YaHei"/>
                <a:ea typeface="Microsoft YaHei"/>
              </a:rPr>
              <a:t>核算维度：</a:t>
            </a:r>
            <a:endParaRPr lang="en-US" altLang="zh-CN" sz="1300" b="1">
              <a:solidFill>
                <a:prstClr val="black"/>
              </a:solidFill>
              <a:latin typeface="Microsoft YaHei"/>
              <a:ea typeface="Microsoft YaHe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300" b="1">
                <a:solidFill>
                  <a:prstClr val="black"/>
                </a:solidFill>
                <a:latin typeface="Microsoft YaHei"/>
                <a:ea typeface="Microsoft YaHei"/>
              </a:rPr>
              <a:t>OBG</a:t>
            </a:r>
            <a:r>
              <a:rPr lang="zh-CN" altLang="en-US" sz="1300" b="1">
                <a:solidFill>
                  <a:prstClr val="black"/>
                </a:solidFill>
                <a:latin typeface="Microsoft YaHei"/>
                <a:ea typeface="Microsoft YaHei"/>
              </a:rPr>
              <a:t>计提、兑付时按项目维度核算；</a:t>
            </a:r>
            <a:endParaRPr lang="en-US" altLang="zh-CN" sz="1300" b="1">
              <a:solidFill>
                <a:prstClr val="black"/>
              </a:solidFill>
              <a:latin typeface="Microsoft YaHei"/>
              <a:ea typeface="Microsoft YaHe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300">
                <a:solidFill>
                  <a:prstClr val="black"/>
                </a:solidFill>
                <a:latin typeface="Microsoft YaHei"/>
                <a:ea typeface="Microsoft YaHei"/>
              </a:rPr>
              <a:t>其他产业</a:t>
            </a:r>
            <a:r>
              <a:rPr kumimoji="0" lang="zh-CN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目前暂无按项目维度核算、分析的诉求，</a:t>
            </a:r>
            <a:r>
              <a:rPr lang="zh-CN" altLang="en-US" sz="1300" b="1">
                <a:solidFill>
                  <a:prstClr val="black"/>
                </a:solidFill>
                <a:latin typeface="Microsoft YaHei"/>
                <a:ea typeface="Microsoft YaHei"/>
              </a:rPr>
              <a:t>核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算层面保持现状</a:t>
            </a:r>
            <a:r>
              <a:rPr kumimoji="0" lang="zh-CN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，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后续纳入</a:t>
            </a:r>
            <a:r>
              <a:rPr kumimoji="0" lang="en-US" altLang="zh-CN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MPM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统管后，即可按照项目进行管理、核算、分析</a:t>
            </a:r>
            <a:r>
              <a:rPr lang="zh-CN" altLang="en-US" sz="1300" b="1">
                <a:solidFill>
                  <a:schemeClr val="tx1"/>
                </a:solidFill>
                <a:latin typeface="Microsoft YaHei"/>
                <a:ea typeface="Microsoft YaHei"/>
                <a:sym typeface="+mn-lt"/>
              </a:rPr>
              <a:t>计提、兑付：</a:t>
            </a:r>
            <a:r>
              <a:rPr lang="zh-CN" altLang="en-US" sz="1300" b="1">
                <a:solidFill>
                  <a:schemeClr val="bg1">
                    <a:lumMod val="50000"/>
                  </a:schemeClr>
                </a:solidFill>
                <a:latin typeface="Microsoft YaHei"/>
                <a:ea typeface="Microsoft YaHei"/>
                <a:sym typeface="+mn-lt"/>
              </a:rPr>
              <a:t>核算维度颗粒度一致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300" b="1">
                <a:solidFill>
                  <a:prstClr val="black"/>
                </a:solidFill>
                <a:latin typeface="Microsoft YaHei"/>
                <a:ea typeface="Microsoft YaHei"/>
              </a:rPr>
              <a:t>预算控制：</a:t>
            </a:r>
            <a:r>
              <a:rPr lang="zh-CN" altLang="en-US" sz="1300" b="1">
                <a:solidFill>
                  <a:schemeClr val="bg1">
                    <a:lumMod val="50000"/>
                  </a:schemeClr>
                </a:solidFill>
                <a:latin typeface="Microsoft YaHei"/>
                <a:ea typeface="Microsoft YaHei"/>
              </a:rPr>
              <a:t>维持现状</a:t>
            </a:r>
          </a:p>
        </p:txBody>
      </p:sp>
      <p:sp>
        <p:nvSpPr>
          <p:cNvPr id="100" name="矩形 99">
            <a:extLst>
              <a:ext uri="{FF2B5EF4-FFF2-40B4-BE49-F238E27FC236}">
                <a16:creationId xmlns:a16="http://schemas.microsoft.com/office/drawing/2014/main" id="{CDCCF724-E1E4-3C6E-9D42-048C4F196354}"/>
              </a:ext>
            </a:extLst>
          </p:cNvPr>
          <p:cNvSpPr/>
          <p:nvPr/>
        </p:nvSpPr>
        <p:spPr>
          <a:xfrm>
            <a:off x="7750410" y="1901418"/>
            <a:ext cx="3638448" cy="2545381"/>
          </a:xfrm>
          <a:prstGeom prst="rect">
            <a:avLst/>
          </a:prstGeom>
          <a:pattFill prst="ltUpDiag">
            <a:fgClr>
              <a:schemeClr val="accent6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核算</a:t>
            </a:r>
            <a:r>
              <a:rPr lang="zh-CN" altLang="en-US" sz="1300" b="1">
                <a:solidFill>
                  <a:prstClr val="black"/>
                </a:solidFill>
                <a:latin typeface="Microsoft YaHei"/>
                <a:ea typeface="Microsoft YaHei"/>
              </a:rPr>
              <a:t>科目：</a:t>
            </a:r>
            <a:r>
              <a:rPr lang="zh-CN" altLang="en-US" sz="1300" b="1">
                <a:solidFill>
                  <a:schemeClr val="bg1">
                    <a:lumMod val="50000"/>
                  </a:schemeClr>
                </a:solidFill>
                <a:latin typeface="Microsoft YaHei"/>
                <a:ea typeface="Microsoft YaHei"/>
              </a:rPr>
              <a:t>维持现状</a:t>
            </a:r>
            <a:endParaRPr lang="en-US" altLang="zh-CN" sz="1300" b="1">
              <a:solidFill>
                <a:schemeClr val="bg1">
                  <a:lumMod val="50000"/>
                </a:schemeClr>
              </a:solidFill>
              <a:latin typeface="Microsoft YaHei"/>
              <a:ea typeface="Microsoft YaHei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核算维度：增加“项目”维度，一次核算到项目、产品</a:t>
            </a:r>
            <a:r>
              <a:rPr lang="zh-CN" altLang="en-US" sz="1300" b="1">
                <a:solidFill>
                  <a:prstClr val="black"/>
                </a:solidFill>
                <a:latin typeface="Microsoft YaHei"/>
                <a:ea typeface="Microsoft YaHei"/>
              </a:rPr>
              <a:t>（品类，特别地，</a:t>
            </a:r>
            <a:r>
              <a:rPr lang="en-US" altLang="zh-CN" sz="1300" b="1">
                <a:solidFill>
                  <a:prstClr val="black"/>
                </a:solidFill>
                <a:latin typeface="Microsoft YaHei"/>
                <a:ea typeface="Microsoft YaHei"/>
              </a:rPr>
              <a:t>OBG</a:t>
            </a:r>
            <a:r>
              <a:rPr lang="zh-CN" altLang="en-US" sz="1300" b="1">
                <a:solidFill>
                  <a:prstClr val="black"/>
                </a:solidFill>
                <a:latin typeface="Microsoft YaHei"/>
                <a:ea typeface="Microsoft YaHei"/>
              </a:rPr>
              <a:t>到</a:t>
            </a:r>
            <a:r>
              <a:rPr lang="en-US" altLang="zh-CN" sz="1300" b="1">
                <a:solidFill>
                  <a:prstClr val="black"/>
                </a:solidFill>
                <a:latin typeface="Microsoft YaHei"/>
                <a:ea typeface="Microsoft YaHei"/>
              </a:rPr>
              <a:t>XCPS</a:t>
            </a:r>
            <a:r>
              <a:rPr lang="zh-CN" altLang="en-US" sz="1300" b="1">
                <a:solidFill>
                  <a:prstClr val="black"/>
                </a:solidFill>
                <a:latin typeface="Microsoft YaHei"/>
                <a:ea typeface="Microsoft YaHei"/>
              </a:rPr>
              <a:t>等）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、渠道、区域（视管理需求）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>
              <a:lnSpc>
                <a:spcPct val="150000"/>
              </a:lnSpc>
              <a:defRPr/>
            </a:pPr>
            <a:r>
              <a:rPr lang="zh-CN" altLang="en-US" sz="1300" b="1">
                <a:solidFill>
                  <a:schemeClr val="tx1"/>
                </a:solidFill>
                <a:latin typeface="Microsoft YaHei"/>
                <a:ea typeface="Microsoft YaHei"/>
                <a:sym typeface="+mn-lt"/>
              </a:rPr>
              <a:t>计提、兑付：</a:t>
            </a:r>
            <a:r>
              <a:rPr lang="zh-CN" altLang="en-US" sz="1300" b="1">
                <a:solidFill>
                  <a:schemeClr val="bg1">
                    <a:lumMod val="50000"/>
                  </a:schemeClr>
                </a:solidFill>
                <a:latin typeface="Microsoft YaHei"/>
                <a:ea typeface="Microsoft YaHei"/>
                <a:sym typeface="+mn-lt"/>
              </a:rPr>
              <a:t>核算维度颗粒度一致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>
              <a:lnSpc>
                <a:spcPct val="150000"/>
              </a:lnSpc>
              <a:defRPr/>
            </a:pPr>
            <a:r>
              <a:rPr lang="zh-CN" altLang="en-US" sz="1300" b="1">
                <a:solidFill>
                  <a:prstClr val="black"/>
                </a:solidFill>
                <a:latin typeface="Microsoft YaHei"/>
                <a:ea typeface="Microsoft YaHei"/>
              </a:rPr>
              <a:t>预算控制：</a:t>
            </a:r>
            <a:r>
              <a:rPr lang="zh-CN" altLang="en-US" sz="1300" b="1">
                <a:solidFill>
                  <a:schemeClr val="bg1">
                    <a:lumMod val="50000"/>
                  </a:schemeClr>
                </a:solidFill>
                <a:latin typeface="Microsoft YaHei"/>
                <a:ea typeface="Microsoft YaHei"/>
              </a:rPr>
              <a:t>维持现状</a:t>
            </a:r>
            <a:endParaRPr lang="en-US" altLang="zh-CN" sz="1300" b="1">
              <a:solidFill>
                <a:schemeClr val="bg1">
                  <a:lumMod val="50000"/>
                </a:schemeClr>
              </a:solidFill>
              <a:latin typeface="Microsoft YaHei"/>
              <a:ea typeface="Microsoft YaHei"/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05333B02-1D40-FFBB-16FE-F79C6CEC14E0}"/>
              </a:ext>
            </a:extLst>
          </p:cNvPr>
          <p:cNvGrpSpPr/>
          <p:nvPr/>
        </p:nvGrpSpPr>
        <p:grpSpPr>
          <a:xfrm>
            <a:off x="1250723" y="893858"/>
            <a:ext cx="5472000" cy="370791"/>
            <a:chOff x="708445" y="770033"/>
            <a:chExt cx="5472000" cy="370791"/>
          </a:xfrm>
        </p:grpSpPr>
        <p:cxnSp>
          <p:nvCxnSpPr>
            <p:cNvPr id="9" name="Straight Connector 44">
              <a:extLst>
                <a:ext uri="{FF2B5EF4-FFF2-40B4-BE49-F238E27FC236}">
                  <a16:creationId xmlns:a16="http://schemas.microsoft.com/office/drawing/2014/main" id="{B1514B67-CBD6-EC2F-EB61-C72B25296ED0}"/>
                </a:ext>
              </a:extLst>
            </p:cNvPr>
            <p:cNvCxnSpPr>
              <a:cxnSpLocks/>
            </p:cNvCxnSpPr>
            <p:nvPr/>
          </p:nvCxnSpPr>
          <p:spPr>
            <a:xfrm>
              <a:off x="708445" y="955428"/>
              <a:ext cx="547200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0" name="Rectangle 4">
              <a:extLst>
                <a:ext uri="{FF2B5EF4-FFF2-40B4-BE49-F238E27FC236}">
                  <a16:creationId xmlns:a16="http://schemas.microsoft.com/office/drawing/2014/main" id="{5A015B2F-A2CB-8515-98E6-A19B7AE2150F}"/>
                </a:ext>
              </a:extLst>
            </p:cNvPr>
            <p:cNvSpPr/>
            <p:nvPr/>
          </p:nvSpPr>
          <p:spPr>
            <a:xfrm>
              <a:off x="2856159" y="770033"/>
              <a:ext cx="1176573" cy="3707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/>
                  <a:ea typeface="Microsoft YaHei"/>
                  <a:cs typeface="+mn-ea"/>
                  <a:sym typeface="+mn-lt"/>
                </a:rPr>
                <a:t>现状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endParaRP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5638179B-B102-0220-247F-DE5CD3D7CAD3}"/>
              </a:ext>
            </a:extLst>
          </p:cNvPr>
          <p:cNvGrpSpPr/>
          <p:nvPr/>
        </p:nvGrpSpPr>
        <p:grpSpPr>
          <a:xfrm>
            <a:off x="7834766" y="913176"/>
            <a:ext cx="3420000" cy="395285"/>
            <a:chOff x="782876" y="759759"/>
            <a:chExt cx="3420000" cy="395285"/>
          </a:xfrm>
        </p:grpSpPr>
        <p:cxnSp>
          <p:nvCxnSpPr>
            <p:cNvPr id="16" name="Straight Connector 44">
              <a:extLst>
                <a:ext uri="{FF2B5EF4-FFF2-40B4-BE49-F238E27FC236}">
                  <a16:creationId xmlns:a16="http://schemas.microsoft.com/office/drawing/2014/main" id="{4D76B6B8-9F00-FB87-5FAC-16C652007C73}"/>
                </a:ext>
              </a:extLst>
            </p:cNvPr>
            <p:cNvCxnSpPr>
              <a:cxnSpLocks/>
            </p:cNvCxnSpPr>
            <p:nvPr/>
          </p:nvCxnSpPr>
          <p:spPr>
            <a:xfrm>
              <a:off x="782876" y="955428"/>
              <a:ext cx="342000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7" name="Rectangle 4">
              <a:extLst>
                <a:ext uri="{FF2B5EF4-FFF2-40B4-BE49-F238E27FC236}">
                  <a16:creationId xmlns:a16="http://schemas.microsoft.com/office/drawing/2014/main" id="{307CDA01-3421-7FEE-B7E0-1E10B2DDBF6E}"/>
                </a:ext>
              </a:extLst>
            </p:cNvPr>
            <p:cNvSpPr/>
            <p:nvPr/>
          </p:nvSpPr>
          <p:spPr>
            <a:xfrm>
              <a:off x="1863494" y="759759"/>
              <a:ext cx="1427457" cy="3952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/>
                  <a:ea typeface="Microsoft YaHei"/>
                  <a:cs typeface="+mn-ea"/>
                  <a:sym typeface="+mn-lt"/>
                </a:rPr>
                <a:t>业务建议方案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endParaRPr>
            </a:p>
          </p:txBody>
        </p:sp>
      </p:grpSp>
      <p:cxnSp>
        <p:nvCxnSpPr>
          <p:cNvPr id="37" name="直接连接符 9">
            <a:extLst>
              <a:ext uri="{FF2B5EF4-FFF2-40B4-BE49-F238E27FC236}">
                <a16:creationId xmlns:a16="http://schemas.microsoft.com/office/drawing/2014/main" id="{832F3C93-EEE1-C02D-0361-1A9746C9BDFC}"/>
              </a:ext>
            </a:extLst>
          </p:cNvPr>
          <p:cNvCxnSpPr>
            <a:cxnSpLocks/>
          </p:cNvCxnSpPr>
          <p:nvPr/>
        </p:nvCxnSpPr>
        <p:spPr>
          <a:xfrm flipH="1">
            <a:off x="974778" y="1627265"/>
            <a:ext cx="1260000" cy="0"/>
          </a:xfrm>
          <a:prstGeom prst="line">
            <a:avLst/>
          </a:prstGeom>
          <a:noFill/>
          <a:ln w="50800" cmpd="thickThin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748C86B9-FEA9-C7ED-D696-F492A1FDFEAC}"/>
              </a:ext>
            </a:extLst>
          </p:cNvPr>
          <p:cNvSpPr/>
          <p:nvPr/>
        </p:nvSpPr>
        <p:spPr>
          <a:xfrm>
            <a:off x="992366" y="1806670"/>
            <a:ext cx="1207563" cy="2631196"/>
          </a:xfrm>
          <a:prstGeom prst="roundRect">
            <a:avLst>
              <a:gd name="adj" fmla="val 5719"/>
            </a:avLst>
          </a:prstGeom>
          <a:solidFill>
            <a:srgbClr val="007F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全球市场中心统管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94" name="矩形: 圆角 93">
            <a:extLst>
              <a:ext uri="{FF2B5EF4-FFF2-40B4-BE49-F238E27FC236}">
                <a16:creationId xmlns:a16="http://schemas.microsoft.com/office/drawing/2014/main" id="{3D68DA91-999E-AC87-6CE0-4B086500086F}"/>
              </a:ext>
            </a:extLst>
          </p:cNvPr>
          <p:cNvSpPr/>
          <p:nvPr/>
        </p:nvSpPr>
        <p:spPr>
          <a:xfrm>
            <a:off x="803142" y="1766129"/>
            <a:ext cx="6488389" cy="2782908"/>
          </a:xfrm>
          <a:prstGeom prst="roundRect">
            <a:avLst>
              <a:gd name="adj" fmla="val 2923"/>
            </a:avLst>
          </a:prstGeom>
          <a:noFill/>
          <a:ln>
            <a:solidFill>
              <a:srgbClr val="005F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32" name="Rectangle 11">
            <a:extLst>
              <a:ext uri="{FF2B5EF4-FFF2-40B4-BE49-F238E27FC236}">
                <a16:creationId xmlns:a16="http://schemas.microsoft.com/office/drawing/2014/main" id="{FFCCC6E7-EBD1-5F6B-178B-C9F256ED18F4}"/>
              </a:ext>
            </a:extLst>
          </p:cNvPr>
          <p:cNvSpPr/>
          <p:nvPr/>
        </p:nvSpPr>
        <p:spPr>
          <a:xfrm>
            <a:off x="974778" y="4852624"/>
            <a:ext cx="1213259" cy="1679118"/>
          </a:xfrm>
          <a:prstGeom prst="roundRect">
            <a:avLst>
              <a:gd name="adj" fmla="val 893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非全球市场中心统管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92" name="矩形: 圆角 91">
            <a:extLst>
              <a:ext uri="{FF2B5EF4-FFF2-40B4-BE49-F238E27FC236}">
                <a16:creationId xmlns:a16="http://schemas.microsoft.com/office/drawing/2014/main" id="{21B584A7-9492-8F39-C7FD-B951E2115A83}"/>
              </a:ext>
            </a:extLst>
          </p:cNvPr>
          <p:cNvSpPr/>
          <p:nvPr/>
        </p:nvSpPr>
        <p:spPr>
          <a:xfrm>
            <a:off x="803142" y="4706089"/>
            <a:ext cx="6482255" cy="1951221"/>
          </a:xfrm>
          <a:prstGeom prst="roundRect">
            <a:avLst>
              <a:gd name="adj" fmla="val 5639"/>
            </a:avLst>
          </a:prstGeom>
          <a:noFill/>
          <a:ln>
            <a:solidFill>
              <a:srgbClr val="005F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8" name="Rectangle 53">
            <a:extLst>
              <a:ext uri="{FF2B5EF4-FFF2-40B4-BE49-F238E27FC236}">
                <a16:creationId xmlns:a16="http://schemas.microsoft.com/office/drawing/2014/main" id="{ACF4E145-5FFF-3EEA-D0A7-B2486739A77C}"/>
              </a:ext>
            </a:extLst>
          </p:cNvPr>
          <p:cNvSpPr/>
          <p:nvPr/>
        </p:nvSpPr>
        <p:spPr>
          <a:xfrm>
            <a:off x="2547891" y="1789576"/>
            <a:ext cx="4737506" cy="2657223"/>
          </a:xfrm>
          <a:prstGeom prst="rect">
            <a:avLst/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由全球市场中心统管的推广费：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在</a:t>
            </a:r>
            <a:r>
              <a:rPr kumimoji="0" lang="en-US" altLang="zh-CN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MPM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系统进行项目立项申请，按照项目制方式进行管理，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未来希望按项目维度进行核算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预算控制：</a:t>
            </a:r>
            <a:r>
              <a:rPr kumimoji="0" lang="zh-CN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通过推广费一级科目</a:t>
            </a:r>
            <a:r>
              <a:rPr kumimoji="0" lang="en-US" altLang="zh-CN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+</a:t>
            </a:r>
            <a:r>
              <a:rPr kumimoji="0" lang="zh-CN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部门进行费用控制，将规划在</a:t>
            </a:r>
            <a:r>
              <a:rPr kumimoji="0" lang="en-US" altLang="zh-CN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MPM</a:t>
            </a:r>
            <a:r>
              <a:rPr kumimoji="0" lang="zh-CN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系统中项目预算金额与实际项目金额的管控。未来希望增加项目核算维度，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不改变现有财资相关系统中的预算控制方式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srgbClr val="4471A7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费用承担主体：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srgbClr val="4471A7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各</a:t>
            </a:r>
            <a:r>
              <a:rPr kumimoji="0" lang="en-US" altLang="zh-CN" sz="1300" b="1" i="0" u="none" strike="noStrike" kern="1200" cap="none" spc="0" normalizeH="0" baseline="0" noProof="0">
                <a:ln>
                  <a:noFill/>
                </a:ln>
                <a:solidFill>
                  <a:srgbClr val="4471A7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BU/BG</a:t>
            </a:r>
          </a:p>
        </p:txBody>
      </p:sp>
      <p:sp>
        <p:nvSpPr>
          <p:cNvPr id="43" name="Rectangle 53">
            <a:extLst>
              <a:ext uri="{FF2B5EF4-FFF2-40B4-BE49-F238E27FC236}">
                <a16:creationId xmlns:a16="http://schemas.microsoft.com/office/drawing/2014/main" id="{5E4F71DE-0CF8-661E-875F-9531ACA7C7E7}"/>
              </a:ext>
            </a:extLst>
          </p:cNvPr>
          <p:cNvSpPr/>
          <p:nvPr/>
        </p:nvSpPr>
        <p:spPr>
          <a:xfrm>
            <a:off x="2547891" y="4753757"/>
            <a:ext cx="4722363" cy="1822404"/>
          </a:xfrm>
          <a:prstGeom prst="rect">
            <a:avLst/>
          </a:prstGeom>
          <a:solidFill>
            <a:schemeClr val="bg1">
              <a:lumMod val="8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非全球市场中心统管的推广费：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altLang="zh-CN" sz="13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OBG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在纳入</a:t>
            </a:r>
            <a:r>
              <a:rPr kumimoji="0" lang="en-US" altLang="zh-CN" sz="13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MPM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系统管理前，</a:t>
            </a:r>
            <a:r>
              <a:rPr lang="zh-CN" altLang="en-US" sz="1300" b="1">
                <a:solidFill>
                  <a:schemeClr val="accent1"/>
                </a:solidFill>
                <a:latin typeface="Microsoft YaHei"/>
                <a:ea typeface="Microsoft YaHei"/>
              </a:rPr>
              <a:t>希望按项目维度核算</a:t>
            </a:r>
            <a:endParaRPr lang="en-US" altLang="zh-CN" sz="1300" b="1">
              <a:solidFill>
                <a:schemeClr val="accent1"/>
              </a:solidFill>
              <a:latin typeface="Microsoft YaHei"/>
              <a:ea typeface="Microsoft YaHei"/>
            </a:endParaRPr>
          </a:p>
          <a:p>
            <a:pPr marL="144000">
              <a:lnSpc>
                <a:spcPct val="125000"/>
              </a:lnSpc>
              <a:defRPr/>
            </a:pPr>
            <a:r>
              <a:rPr lang="en-US" altLang="zh-CN" sz="1300" b="1">
                <a:solidFill>
                  <a:prstClr val="black"/>
                </a:solidFill>
                <a:latin typeface="Microsoft YaHei"/>
                <a:ea typeface="Microsoft YaHei"/>
              </a:rPr>
              <a:t>*</a:t>
            </a:r>
            <a:r>
              <a:rPr kumimoji="0" lang="en-US" altLang="zh-CN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OBG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推广费未来会逐步纳入</a:t>
            </a:r>
            <a:r>
              <a:rPr kumimoji="0" lang="en-US" altLang="zh-CN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MPM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系统进行管理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其他产业暂无按项目维度核算、分析的诉求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预算控制：</a:t>
            </a:r>
            <a:r>
              <a:rPr kumimoji="0" lang="zh-CN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通过推广费一级科目</a:t>
            </a:r>
            <a:r>
              <a:rPr kumimoji="0" lang="en-US" altLang="zh-CN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+</a:t>
            </a:r>
            <a:r>
              <a:rPr kumimoji="0" lang="zh-CN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部门进行费用控制，维持现状</a:t>
            </a: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费用承担主体：</a:t>
            </a:r>
            <a:r>
              <a:rPr kumimoji="0" lang="zh-CN" altLang="en-US" sz="1300" b="1" i="0" u="none" strike="noStrike" kern="1200" cap="none" spc="0" normalizeH="0" baseline="0" noProof="0">
                <a:ln>
                  <a:noFill/>
                </a:ln>
                <a:solidFill>
                  <a:srgbClr val="4471A7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各</a:t>
            </a:r>
            <a:r>
              <a:rPr kumimoji="0" lang="en-US" altLang="zh-CN" sz="1300" b="1" i="0" u="none" strike="noStrike" kern="1200" cap="none" spc="0" normalizeH="0" baseline="0" noProof="0">
                <a:ln>
                  <a:noFill/>
                </a:ln>
                <a:solidFill>
                  <a:srgbClr val="4471A7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BU/BG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04094B2-9A0E-F553-E4C3-55E4B1E8D0CD}"/>
              </a:ext>
            </a:extLst>
          </p:cNvPr>
          <p:cNvCxnSpPr/>
          <p:nvPr/>
        </p:nvCxnSpPr>
        <p:spPr>
          <a:xfrm>
            <a:off x="613458" y="4630090"/>
            <a:ext cx="11100122" cy="0"/>
          </a:xfrm>
          <a:prstGeom prst="line">
            <a:avLst/>
          </a:prstGeom>
          <a:ln w="1270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720843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18">
            <a:extLst>
              <a:ext uri="{FF2B5EF4-FFF2-40B4-BE49-F238E27FC236}">
                <a16:creationId xmlns:a16="http://schemas.microsoft.com/office/drawing/2014/main" id="{D338BD34-600C-A13E-7B60-A3B2362F48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455" y="1263103"/>
            <a:ext cx="7702626" cy="604219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费用中心</a:t>
            </a:r>
          </a:p>
        </p:txBody>
      </p:sp>
      <p:sp>
        <p:nvSpPr>
          <p:cNvPr id="49" name="Rectangle 18">
            <a:extLst>
              <a:ext uri="{FF2B5EF4-FFF2-40B4-BE49-F238E27FC236}">
                <a16:creationId xmlns:a16="http://schemas.microsoft.com/office/drawing/2014/main" id="{67F1AB62-4748-5067-DA39-B8F8FF8DF7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740" y="3099015"/>
            <a:ext cx="1080230" cy="2971151"/>
          </a:xfrm>
          <a:prstGeom prst="rect">
            <a:avLst/>
          </a:prstGeom>
          <a:solidFill>
            <a:schemeClr val="bg1">
              <a:lumMod val="85000"/>
              <a:alpha val="70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推广费系统</a:t>
            </a:r>
          </a:p>
        </p:txBody>
      </p:sp>
      <p:sp>
        <p:nvSpPr>
          <p:cNvPr id="64" name="Rectangle 18">
            <a:extLst>
              <a:ext uri="{FF2B5EF4-FFF2-40B4-BE49-F238E27FC236}">
                <a16:creationId xmlns:a16="http://schemas.microsoft.com/office/drawing/2014/main" id="{EB298ED1-FAA3-E801-D0D5-C9B0DE061C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876" y="3083006"/>
            <a:ext cx="2076205" cy="604219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结算平台</a:t>
            </a:r>
          </a:p>
        </p:txBody>
      </p:sp>
      <p:sp>
        <p:nvSpPr>
          <p:cNvPr id="43" name="Rectangle 18">
            <a:extLst>
              <a:ext uri="{FF2B5EF4-FFF2-40B4-BE49-F238E27FC236}">
                <a16:creationId xmlns:a16="http://schemas.microsoft.com/office/drawing/2014/main" id="{63B4EB4D-803B-B99B-F427-61856A1A59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8798" y="3779591"/>
            <a:ext cx="2077961" cy="2219169"/>
          </a:xfrm>
          <a:prstGeom prst="rect">
            <a:avLst/>
          </a:prstGeom>
          <a:solidFill>
            <a:srgbClr val="C0E9FF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AP ERP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10984A-1973-E074-373C-41FA2BFB49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6538" y="3077784"/>
            <a:ext cx="2906060" cy="2999479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R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8" name="Rectangle 18">
            <a:extLst>
              <a:ext uri="{FF2B5EF4-FFF2-40B4-BE49-F238E27FC236}">
                <a16:creationId xmlns:a16="http://schemas.microsoft.com/office/drawing/2014/main" id="{404DBAC2-18F7-7509-B24D-258FC79C2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7123" y="3400292"/>
            <a:ext cx="1259736" cy="1167428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管理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3E9A57-CB75-5562-65AA-BBEC656EC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64894" y="6445055"/>
            <a:ext cx="585140" cy="232752"/>
          </a:xfrm>
        </p:spPr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30</a:t>
            </a:fld>
            <a:endParaRPr kumimoji="1" lang="zh-CN" alt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351361-B5FC-3B4C-93C7-23720EA4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10282312" cy="706293"/>
          </a:xfrm>
        </p:spPr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长期系统方案：搭建</a:t>
            </a:r>
            <a:r>
              <a:rPr lang="en-US" altLang="zh-CN"/>
              <a:t>PTP</a:t>
            </a:r>
            <a:r>
              <a:rPr lang="zh-CN" altLang="en-US"/>
              <a:t>系统流程，实现及时自动核算多维度推广费核算</a:t>
            </a:r>
            <a:endParaRPr lang="en-US"/>
          </a:p>
        </p:txBody>
      </p:sp>
      <p:sp>
        <p:nvSpPr>
          <p:cNvPr id="16" name="Rectangle 18">
            <a:extLst>
              <a:ext uri="{FF2B5EF4-FFF2-40B4-BE49-F238E27FC236}">
                <a16:creationId xmlns:a16="http://schemas.microsoft.com/office/drawing/2014/main" id="{E26698F4-350E-C049-E5A1-A718B51A9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2333" y="3643411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准入</a:t>
            </a:r>
          </a:p>
        </p:txBody>
      </p:sp>
      <p:sp>
        <p:nvSpPr>
          <p:cNvPr id="103" name="Rectangle 30">
            <a:extLst>
              <a:ext uri="{FF2B5EF4-FFF2-40B4-BE49-F238E27FC236}">
                <a16:creationId xmlns:a16="http://schemas.microsoft.com/office/drawing/2014/main" id="{9A73E786-6CEC-FA2E-31C5-1EC4AC4A38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2333" y="3961446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0" name="Rectangle 18">
            <a:extLst>
              <a:ext uri="{FF2B5EF4-FFF2-40B4-BE49-F238E27FC236}">
                <a16:creationId xmlns:a16="http://schemas.microsoft.com/office/drawing/2014/main" id="{8215F382-68BB-1B97-CCAA-840E1E959B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0907" y="3403782"/>
            <a:ext cx="1259735" cy="1167428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寻源协同</a:t>
            </a:r>
          </a:p>
        </p:txBody>
      </p:sp>
      <p:sp>
        <p:nvSpPr>
          <p:cNvPr id="293" name="Rectangle 17">
            <a:extLst>
              <a:ext uri="{FF2B5EF4-FFF2-40B4-BE49-F238E27FC236}">
                <a16:creationId xmlns:a16="http://schemas.microsoft.com/office/drawing/2014/main" id="{1D3F46A8-6AEA-A772-BC95-CC446FDE02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3026" y="3647302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询报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5725C3B3-43B9-537F-C7B6-625F0AE8E3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3026" y="3951872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竞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3" name="Rectangle 18">
            <a:extLst>
              <a:ext uri="{FF2B5EF4-FFF2-40B4-BE49-F238E27FC236}">
                <a16:creationId xmlns:a16="http://schemas.microsoft.com/office/drawing/2014/main" id="{542C84DF-0CFC-603E-8CE0-FE2C218111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9422" y="4643006"/>
            <a:ext cx="2572725" cy="409423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管理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A6E260C3-8A19-6E3B-53B3-51E1DD373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6563" y="5109429"/>
            <a:ext cx="2572725" cy="430310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订单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履行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0D9DE54B-B5AC-44E7-593C-AA89FD48D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9422" y="5597280"/>
            <a:ext cx="2559866" cy="411017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财务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协同</a:t>
            </a: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D3852551-1543-EC05-EBF5-F7FB94D8B0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90570" y="5681011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结算单对账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7E31F183-EB64-54BF-4381-1DC44EFD0C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7730" y="5681363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发票上传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审核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44136927-858F-6DA3-98D9-F71401917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7644" y="4740444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年框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B7316411-D4C5-299C-1622-5F54EC5A98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1230" y="4740444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6DC6D3BB-3AAF-C52A-02D2-5DCB03804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90570" y="5206001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186652DF-610C-F1BF-04ED-DD93B0BC4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0364" y="5206001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7" name="Rectangle 18">
            <a:extLst>
              <a:ext uri="{FF2B5EF4-FFF2-40B4-BE49-F238E27FC236}">
                <a16:creationId xmlns:a16="http://schemas.microsoft.com/office/drawing/2014/main" id="{6278E8FF-BB7D-DCA7-2BF6-971FBC8C52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2333" y="4260334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绩效考核</a:t>
            </a:r>
          </a:p>
        </p:txBody>
      </p: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09FC2D6D-FC1A-E7EA-44DB-BD5B54CFE610}"/>
              </a:ext>
            </a:extLst>
          </p:cNvPr>
          <p:cNvGrpSpPr/>
          <p:nvPr/>
        </p:nvGrpSpPr>
        <p:grpSpPr>
          <a:xfrm>
            <a:off x="8246072" y="866137"/>
            <a:ext cx="3160099" cy="313175"/>
            <a:chOff x="10133105" y="1104727"/>
            <a:chExt cx="2058895" cy="313175"/>
          </a:xfrm>
        </p:grpSpPr>
        <p:grpSp>
          <p:nvGrpSpPr>
            <p:cNvPr id="47" name="Group 63">
              <a:extLst>
                <a:ext uri="{FF2B5EF4-FFF2-40B4-BE49-F238E27FC236}">
                  <a16:creationId xmlns:a16="http://schemas.microsoft.com/office/drawing/2014/main" id="{FF07DC3E-8926-7696-EFE5-9C8B8A49AFD5}"/>
                </a:ext>
              </a:extLst>
            </p:cNvPr>
            <p:cNvGrpSpPr/>
            <p:nvPr/>
          </p:nvGrpSpPr>
          <p:grpSpPr>
            <a:xfrm>
              <a:off x="10133105" y="1104727"/>
              <a:ext cx="2058895" cy="313175"/>
              <a:chOff x="9344415" y="1038841"/>
              <a:chExt cx="2551176" cy="313175"/>
            </a:xfrm>
          </p:grpSpPr>
          <p:cxnSp>
            <p:nvCxnSpPr>
              <p:cNvPr id="48" name="Straight Connector 38">
                <a:extLst>
                  <a:ext uri="{FF2B5EF4-FFF2-40B4-BE49-F238E27FC236}">
                    <a16:creationId xmlns:a16="http://schemas.microsoft.com/office/drawing/2014/main" id="{A4AB9685-F160-7599-DDB2-7C31B65E8C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44415" y="1225644"/>
                <a:ext cx="2551176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 type="diamond"/>
                <a:tailEnd type="diamond"/>
              </a:ln>
              <a:effectLst/>
            </p:spPr>
          </p:cxnSp>
          <p:sp>
            <p:nvSpPr>
              <p:cNvPr id="50" name="TextBox 39">
                <a:extLst>
                  <a:ext uri="{FF2B5EF4-FFF2-40B4-BE49-F238E27FC236}">
                    <a16:creationId xmlns:a16="http://schemas.microsoft.com/office/drawing/2014/main" id="{60FC412D-CA07-B12E-2A4E-460DD39CBF79}"/>
                  </a:ext>
                </a:extLst>
              </p:cNvPr>
              <p:cNvSpPr txBox="1"/>
              <p:nvPr/>
            </p:nvSpPr>
            <p:spPr>
              <a:xfrm>
                <a:off x="10193126" y="1038841"/>
                <a:ext cx="1115431" cy="307777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1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Times New Roman"/>
                    <a:ea typeface="Microsoft YaHei"/>
                    <a:cs typeface="+mn-cs"/>
                  </a:rPr>
                  <a:t>现状</a:t>
                </a:r>
                <a:r>
                  <a:rPr lang="en-US" altLang="zh-CN" sz="1400" b="1" kern="0">
                    <a:latin typeface="Times New Roman"/>
                    <a:ea typeface="Microsoft YaHei"/>
                  </a:rPr>
                  <a:t>/</a:t>
                </a:r>
                <a:r>
                  <a:rPr lang="zh-CN" altLang="en-US" sz="1400" b="1" kern="0">
                    <a:latin typeface="Times New Roman"/>
                    <a:ea typeface="Microsoft YaHei"/>
                  </a:rPr>
                  <a:t>提升方向</a:t>
                </a:r>
                <a:endParaRPr kumimoji="0" lang="zh-CN" altLang="en-US" sz="1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Times New Roman"/>
                  <a:ea typeface="Microsoft YaHei"/>
                  <a:cs typeface="+mn-cs"/>
                </a:endParaRPr>
              </a:p>
            </p:txBody>
          </p:sp>
          <p:sp>
            <p:nvSpPr>
              <p:cNvPr id="52" name="Rectangle 59">
                <a:extLst>
                  <a:ext uri="{FF2B5EF4-FFF2-40B4-BE49-F238E27FC236}">
                    <a16:creationId xmlns:a16="http://schemas.microsoft.com/office/drawing/2014/main" id="{7EBFF4C7-AE2C-5CD4-9F05-11FCAFA30191}"/>
                  </a:ext>
                </a:extLst>
              </p:cNvPr>
              <p:cNvSpPr/>
              <p:nvPr/>
            </p:nvSpPr>
            <p:spPr>
              <a:xfrm>
                <a:off x="9966693" y="1044241"/>
                <a:ext cx="253249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</p:grpSp>
        <p:pic>
          <p:nvPicPr>
            <p:cNvPr id="55" name="Graphic 66">
              <a:extLst>
                <a:ext uri="{FF2B5EF4-FFF2-40B4-BE49-F238E27FC236}">
                  <a16:creationId xmlns:a16="http://schemas.microsoft.com/office/drawing/2014/main" id="{46E33D4C-F0E4-F422-6716-A80BBCDD53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653055" y="1138070"/>
              <a:ext cx="164992" cy="256032"/>
            </a:xfrm>
            <a:prstGeom prst="rect">
              <a:avLst/>
            </a:prstGeom>
          </p:spPr>
        </p:pic>
      </p:grpSp>
      <p:sp>
        <p:nvSpPr>
          <p:cNvPr id="56" name="矩形 189">
            <a:extLst>
              <a:ext uri="{FF2B5EF4-FFF2-40B4-BE49-F238E27FC236}">
                <a16:creationId xmlns:a16="http://schemas.microsoft.com/office/drawing/2014/main" id="{C9CDC39A-79BF-9E57-BAA2-2DE9D1DAF8B3}"/>
              </a:ext>
            </a:extLst>
          </p:cNvPr>
          <p:cNvSpPr/>
          <p:nvPr/>
        </p:nvSpPr>
        <p:spPr>
          <a:xfrm>
            <a:off x="8209971" y="1253944"/>
            <a:ext cx="3784965" cy="5422278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系统现状：</a:t>
            </a:r>
            <a:endParaRPr lang="en-US" altLang="zh-CN" sz="1200" b="1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1. </a:t>
            </a:r>
            <a:r>
              <a:rPr lang="zh-CN" altLang="en-US" sz="1200" b="1">
                <a:latin typeface="+mj-ea"/>
                <a:ea typeface="+mj-ea"/>
              </a:rPr>
              <a:t>推广费计提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>
                <a:latin typeface="+mj-ea"/>
                <a:ea typeface="+mj-ea"/>
              </a:rPr>
              <a:t>FSSC</a:t>
            </a:r>
            <a:r>
              <a:rPr lang="zh-CN" altLang="en-US" sz="1200">
                <a:latin typeface="+mj-ea"/>
                <a:ea typeface="+mj-ea"/>
              </a:rPr>
              <a:t>系统中通过费用申请单计提推广费，下月全部手工冲销；</a:t>
            </a:r>
            <a:endParaRPr lang="en-US" altLang="zh-CN" sz="1200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2. </a:t>
            </a:r>
            <a:r>
              <a:rPr lang="zh-CN" altLang="en-US" sz="1200" b="1">
                <a:latin typeface="+mj-ea"/>
                <a:ea typeface="+mj-ea"/>
              </a:rPr>
              <a:t>推广费报销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FSSC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</a:t>
            </a:r>
            <a:r>
              <a:rPr lang="zh-CN" altLang="en-US" sz="1200">
                <a:latin typeface="+mj-ea"/>
                <a:ea typeface="+mj-ea"/>
              </a:rPr>
              <a:t>中通过费用报销单进行费用报销，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无过程管控</a:t>
            </a:r>
            <a:r>
              <a:rPr lang="zh-CN" altLang="en-US" sz="1200" b="1">
                <a:latin typeface="+mj-ea"/>
                <a:ea typeface="+mj-ea"/>
              </a:rPr>
              <a:t>。</a:t>
            </a:r>
            <a:endParaRPr lang="en-US" altLang="zh-CN" sz="1200">
              <a:latin typeface="+mj-ea"/>
              <a:ea typeface="+mj-ea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提升方向：</a:t>
            </a:r>
            <a:endParaRPr lang="en-US" altLang="zh-CN" sz="1200" b="1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MPM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定位</a:t>
            </a:r>
            <a:r>
              <a:rPr lang="en-US" altLang="zh-CN" sz="1200">
                <a:latin typeface="+mj-ea"/>
                <a:ea typeface="+mj-ea"/>
              </a:rPr>
              <a:t>MPM</a:t>
            </a:r>
            <a:r>
              <a:rPr lang="zh-CN" altLang="en-US" sz="1200">
                <a:latin typeface="+mj-ea"/>
                <a:ea typeface="+mj-ea"/>
              </a:rPr>
              <a:t>系统为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推广费项目管理系统</a:t>
            </a:r>
            <a:r>
              <a:rPr lang="zh-CN" altLang="en-US" sz="1200">
                <a:latin typeface="+mj-ea"/>
                <a:ea typeface="+mj-ea"/>
              </a:rPr>
              <a:t>，构建推广费项目预算管理、预算拆解等功能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SRM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接收</a:t>
            </a:r>
            <a:r>
              <a:rPr lang="en-US" altLang="zh-CN" sz="1200">
                <a:latin typeface="+mj-ea"/>
                <a:ea typeface="+mj-ea"/>
              </a:rPr>
              <a:t>MPM</a:t>
            </a:r>
            <a:r>
              <a:rPr lang="zh-CN" altLang="en-US" sz="1200">
                <a:latin typeface="+mj-ea"/>
                <a:ea typeface="+mj-ea"/>
              </a:rPr>
              <a:t>系统项目预算，发起采购申请，搭建推广业务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供应商、寻源报价、采购合同、订单履行、对账等功能</a:t>
            </a:r>
            <a:r>
              <a:rPr lang="zh-CN" altLang="en-US" sz="1200">
                <a:latin typeface="+mj-ea"/>
                <a:ea typeface="+mj-ea"/>
              </a:rPr>
              <a:t>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SAP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承接各系统业务执行结果，实现多维度推广费核算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结算平台：</a:t>
            </a:r>
            <a:r>
              <a:rPr lang="zh-CN" altLang="en-US" sz="1200">
                <a:latin typeface="+mj-ea"/>
                <a:ea typeface="+mj-ea"/>
              </a:rPr>
              <a:t>搭建结算平台，对接</a:t>
            </a:r>
            <a:r>
              <a:rPr lang="en-US" altLang="zh-CN" sz="1200">
                <a:latin typeface="+mj-ea"/>
                <a:ea typeface="+mj-ea"/>
              </a:rPr>
              <a:t>ERP</a:t>
            </a:r>
            <a:r>
              <a:rPr lang="zh-CN" altLang="en-US" sz="1200">
                <a:latin typeface="+mj-ea"/>
                <a:ea typeface="+mj-ea"/>
              </a:rPr>
              <a:t>系统中推广费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费用明细清单及应付账款余额</a:t>
            </a:r>
            <a:r>
              <a:rPr lang="zh-CN" altLang="en-US" sz="1200">
                <a:latin typeface="+mj-ea"/>
                <a:ea typeface="+mj-ea"/>
              </a:rPr>
              <a:t>，推送</a:t>
            </a:r>
            <a:r>
              <a:rPr lang="en-US" altLang="zh-CN" sz="1200">
                <a:latin typeface="+mj-ea"/>
                <a:ea typeface="+mj-ea"/>
              </a:rPr>
              <a:t>SRM</a:t>
            </a:r>
            <a:r>
              <a:rPr lang="zh-CN" altLang="en-US" sz="1200">
                <a:latin typeface="+mj-ea"/>
                <a:ea typeface="+mj-ea"/>
              </a:rPr>
              <a:t>系统进行供应商对账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费用中心：</a:t>
            </a:r>
            <a:r>
              <a:rPr lang="zh-CN" altLang="en-US" sz="1200">
                <a:latin typeface="+mj-ea"/>
                <a:ea typeface="+mj-ea"/>
              </a:rPr>
              <a:t>建设费用中心对推广费的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费用分析</a:t>
            </a:r>
            <a:r>
              <a:rPr lang="zh-CN" altLang="en-US" sz="1200">
                <a:latin typeface="+mj-ea"/>
                <a:ea typeface="+mj-ea"/>
              </a:rPr>
              <a:t>功能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推广费系统：</a:t>
            </a:r>
            <a:r>
              <a:rPr lang="zh-CN" altLang="en-US" sz="1200">
                <a:latin typeface="+mj-ea"/>
                <a:ea typeface="+mj-ea"/>
              </a:rPr>
              <a:t>建议未来由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SRM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承接推广费系统对应功能</a:t>
            </a:r>
            <a:r>
              <a:rPr lang="zh-CN" altLang="en-US" sz="1200">
                <a:latin typeface="+mj-ea"/>
                <a:ea typeface="+mj-ea"/>
              </a:rPr>
              <a:t>。</a:t>
            </a:r>
            <a:endParaRPr lang="en-US" altLang="zh-CN" sz="1200">
              <a:latin typeface="+mj-ea"/>
              <a:ea typeface="+mj-ea"/>
            </a:endParaRPr>
          </a:p>
        </p:txBody>
      </p: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E55475C0-EEA7-6FC8-07A8-9B1D970C7AE3}"/>
              </a:ext>
            </a:extLst>
          </p:cNvPr>
          <p:cNvGrpSpPr/>
          <p:nvPr/>
        </p:nvGrpSpPr>
        <p:grpSpPr>
          <a:xfrm>
            <a:off x="308757" y="904656"/>
            <a:ext cx="7709724" cy="307776"/>
            <a:chOff x="393790" y="1071756"/>
            <a:chExt cx="7955080" cy="307776"/>
          </a:xfrm>
        </p:grpSpPr>
        <p:cxnSp>
          <p:nvCxnSpPr>
            <p:cNvPr id="81" name="Straight Connector 38">
              <a:extLst>
                <a:ext uri="{FF2B5EF4-FFF2-40B4-BE49-F238E27FC236}">
                  <a16:creationId xmlns:a16="http://schemas.microsoft.com/office/drawing/2014/main" id="{A2F57F02-A4EE-079F-E620-EC487EA988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790" y="1218242"/>
              <a:ext cx="7955080" cy="7402"/>
            </a:xfrm>
            <a:prstGeom prst="line">
              <a:avLst/>
            </a:prstGeom>
            <a:noFill/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diamond"/>
              <a:tailEnd type="diamond"/>
            </a:ln>
            <a:effectLst/>
          </p:spPr>
        </p:cxnSp>
        <p:sp>
          <p:nvSpPr>
            <p:cNvPr id="82" name="Rectangle 24">
              <a:extLst>
                <a:ext uri="{FF2B5EF4-FFF2-40B4-BE49-F238E27FC236}">
                  <a16:creationId xmlns:a16="http://schemas.microsoft.com/office/drawing/2014/main" id="{161D99B6-FF3E-1D66-D890-AD0BA723250A}"/>
                </a:ext>
              </a:extLst>
            </p:cNvPr>
            <p:cNvSpPr/>
            <p:nvPr/>
          </p:nvSpPr>
          <p:spPr>
            <a:xfrm>
              <a:off x="3546889" y="1071756"/>
              <a:ext cx="2103120" cy="307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r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400" b="1">
                  <a:latin typeface="Microsoft YaHei"/>
                  <a:ea typeface="Microsoft YaHei"/>
                  <a:cs typeface="Arial" panose="020B0604020202020204" pitchFamily="34" charset="0"/>
                </a:rPr>
                <a:t>推广费长</a:t>
              </a:r>
              <a:r>
                <a:rPr kumimoji="1" lang="zh-CN" altLang="en-US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YaHei"/>
                  <a:ea typeface="Microsoft YaHei"/>
                  <a:cs typeface="Arial" panose="020B0604020202020204" pitchFamily="34" charset="0"/>
                </a:rPr>
                <a:t>期方案</a:t>
              </a:r>
              <a:endParaRPr kumimoji="1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Arial" panose="020B0604020202020204" pitchFamily="34" charset="0"/>
              </a:endParaRPr>
            </a:p>
          </p:txBody>
        </p:sp>
        <p:grpSp>
          <p:nvGrpSpPr>
            <p:cNvPr id="83" name="Group 55">
              <a:extLst>
                <a:ext uri="{FF2B5EF4-FFF2-40B4-BE49-F238E27FC236}">
                  <a16:creationId xmlns:a16="http://schemas.microsoft.com/office/drawing/2014/main" id="{748F363F-598A-5DBE-07A4-E7706396C922}"/>
                </a:ext>
              </a:extLst>
            </p:cNvPr>
            <p:cNvGrpSpPr/>
            <p:nvPr/>
          </p:nvGrpSpPr>
          <p:grpSpPr>
            <a:xfrm>
              <a:off x="3432303" y="1071757"/>
              <a:ext cx="431104" cy="307775"/>
              <a:chOff x="3126173" y="1114361"/>
              <a:chExt cx="431104" cy="307775"/>
            </a:xfrm>
          </p:grpSpPr>
          <p:sp>
            <p:nvSpPr>
              <p:cNvPr id="85" name="Rectangle 49">
                <a:extLst>
                  <a:ext uri="{FF2B5EF4-FFF2-40B4-BE49-F238E27FC236}">
                    <a16:creationId xmlns:a16="http://schemas.microsoft.com/office/drawing/2014/main" id="{41959D13-B337-0497-F283-252FB5609711}"/>
                  </a:ext>
                </a:extLst>
              </p:cNvPr>
              <p:cNvSpPr/>
              <p:nvPr/>
            </p:nvSpPr>
            <p:spPr>
              <a:xfrm>
                <a:off x="3126173" y="1114361"/>
                <a:ext cx="431104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86" name="Graphic 44">
                <a:extLst>
                  <a:ext uri="{FF2B5EF4-FFF2-40B4-BE49-F238E27FC236}">
                    <a16:creationId xmlns:a16="http://schemas.microsoft.com/office/drawing/2014/main" id="{7DBEA2AB-F8B5-08BD-1641-5CCA8D47DC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204565" y="1122751"/>
                <a:ext cx="274320" cy="252882"/>
              </a:xfrm>
              <a:prstGeom prst="rect">
                <a:avLst/>
              </a:prstGeom>
            </p:spPr>
          </p:pic>
        </p:grpSp>
      </p:grpSp>
      <p:sp>
        <p:nvSpPr>
          <p:cNvPr id="99" name="Rectangle 17">
            <a:extLst>
              <a:ext uri="{FF2B5EF4-FFF2-40B4-BE49-F238E27FC236}">
                <a16:creationId xmlns:a16="http://schemas.microsoft.com/office/drawing/2014/main" id="{271B20AC-F24A-6727-E5CF-95D6D300F1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3026" y="4264754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招投标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0" name="矩形 189">
            <a:extLst>
              <a:ext uri="{FF2B5EF4-FFF2-40B4-BE49-F238E27FC236}">
                <a16:creationId xmlns:a16="http://schemas.microsoft.com/office/drawing/2014/main" id="{1DA86A75-B960-2B54-8DEB-60CB24714A25}"/>
              </a:ext>
            </a:extLst>
          </p:cNvPr>
          <p:cNvSpPr/>
          <p:nvPr/>
        </p:nvSpPr>
        <p:spPr>
          <a:xfrm>
            <a:off x="301660" y="1250994"/>
            <a:ext cx="7709724" cy="5426813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81323"/>
              </a:buClr>
              <a:buSzPct val="130000"/>
              <a:tabLst/>
              <a:defRPr/>
            </a:pPr>
            <a:endParaRPr lang="en-US" altLang="zh-CN" sz="1200" b="1">
              <a:latin typeface="+mj-ea"/>
              <a:ea typeface="+mj-ea"/>
            </a:endParaRPr>
          </a:p>
        </p:txBody>
      </p:sp>
      <p:sp>
        <p:nvSpPr>
          <p:cNvPr id="109" name="Rectangle 18">
            <a:extLst>
              <a:ext uri="{FF2B5EF4-FFF2-40B4-BE49-F238E27FC236}">
                <a16:creationId xmlns:a16="http://schemas.microsoft.com/office/drawing/2014/main" id="{B7214C6E-0F32-2725-6DCC-13C740D2A0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275" y="6144965"/>
            <a:ext cx="7702626" cy="531258"/>
          </a:xfrm>
          <a:prstGeom prst="rect">
            <a:avLst/>
          </a:prstGeom>
          <a:solidFill>
            <a:srgbClr val="1084D0">
              <a:alpha val="7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vert="eaVert"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10" name="TextBox 48">
            <a:extLst>
              <a:ext uri="{FF2B5EF4-FFF2-40B4-BE49-F238E27FC236}">
                <a16:creationId xmlns:a16="http://schemas.microsoft.com/office/drawing/2014/main" id="{0246DDA4-1652-16BA-CB24-12EB02CE0D55}"/>
              </a:ext>
            </a:extLst>
          </p:cNvPr>
          <p:cNvSpPr txBox="1"/>
          <p:nvPr/>
        </p:nvSpPr>
        <p:spPr>
          <a:xfrm>
            <a:off x="155119" y="6181484"/>
            <a:ext cx="810816" cy="539323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r>
              <a:rPr lang="en-US" altLang="zh-CN" b="1">
                <a:latin typeface="+mn-ea"/>
              </a:rPr>
              <a:t>MDM</a:t>
            </a:r>
            <a:endParaRPr lang="en-US" b="1">
              <a:latin typeface="+mn-ea"/>
            </a:endParaRPr>
          </a:p>
        </p:txBody>
      </p:sp>
      <p:sp>
        <p:nvSpPr>
          <p:cNvPr id="112" name="Rectangle 17">
            <a:extLst>
              <a:ext uri="{FF2B5EF4-FFF2-40B4-BE49-F238E27FC236}">
                <a16:creationId xmlns:a16="http://schemas.microsoft.com/office/drawing/2014/main" id="{044A6CA2-F78F-5A2B-40C5-F01A38F76C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907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5" name="Rectangle 17">
            <a:extLst>
              <a:ext uri="{FF2B5EF4-FFF2-40B4-BE49-F238E27FC236}">
                <a16:creationId xmlns:a16="http://schemas.microsoft.com/office/drawing/2014/main" id="{803B49B9-0E73-5981-A97B-828E591DA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3230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7" name="Rectangle 17">
            <a:extLst>
              <a:ext uri="{FF2B5EF4-FFF2-40B4-BE49-F238E27FC236}">
                <a16:creationId xmlns:a16="http://schemas.microsoft.com/office/drawing/2014/main" id="{1C799E89-17D7-50FB-1171-1AFCD878F2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0521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账户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8" name="Rectangle 17">
            <a:extLst>
              <a:ext uri="{FF2B5EF4-FFF2-40B4-BE49-F238E27FC236}">
                <a16:creationId xmlns:a16="http://schemas.microsoft.com/office/drawing/2014/main" id="{B6EBD142-5AB5-D181-5E4B-F84EDA2602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2553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渠道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2" name="Rectangle 17">
            <a:extLst>
              <a:ext uri="{FF2B5EF4-FFF2-40B4-BE49-F238E27FC236}">
                <a16:creationId xmlns:a16="http://schemas.microsoft.com/office/drawing/2014/main" id="{5B2D1DA8-90A9-F18E-DCE7-167B3FFDB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876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区域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4" name="Rectangle 18">
            <a:extLst>
              <a:ext uri="{FF2B5EF4-FFF2-40B4-BE49-F238E27FC236}">
                <a16:creationId xmlns:a16="http://schemas.microsoft.com/office/drawing/2014/main" id="{62D3B640-4A90-B350-049B-3E2334A461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9439" y="1955429"/>
            <a:ext cx="5033317" cy="1052003"/>
          </a:xfrm>
          <a:prstGeom prst="rect">
            <a:avLst/>
          </a:prstGeom>
          <a:solidFill>
            <a:srgbClr val="F2F2F2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MP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26" name="Rectangle 50">
            <a:extLst>
              <a:ext uri="{FF2B5EF4-FFF2-40B4-BE49-F238E27FC236}">
                <a16:creationId xmlns:a16="http://schemas.microsoft.com/office/drawing/2014/main" id="{ACE84A0D-155F-43A8-8A57-79E56688D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1748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结项复盘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34" name="Rectangle 17">
            <a:extLst>
              <a:ext uri="{FF2B5EF4-FFF2-40B4-BE49-F238E27FC236}">
                <a16:creationId xmlns:a16="http://schemas.microsoft.com/office/drawing/2014/main" id="{55054CB2-60FD-98A9-5029-40AF50469F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6981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预算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" name="Rectangle 17">
            <a:extLst>
              <a:ext uri="{FF2B5EF4-FFF2-40B4-BE49-F238E27FC236}">
                <a16:creationId xmlns:a16="http://schemas.microsoft.com/office/drawing/2014/main" id="{9860A6DF-5C68-C31A-94E8-8A78C161F1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094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附件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箭头: 右 3">
            <a:extLst>
              <a:ext uri="{FF2B5EF4-FFF2-40B4-BE49-F238E27FC236}">
                <a16:creationId xmlns:a16="http://schemas.microsoft.com/office/drawing/2014/main" id="{F2744372-ED7F-C1E4-437F-42D7D85A9001}"/>
              </a:ext>
            </a:extLst>
          </p:cNvPr>
          <p:cNvSpPr/>
          <p:nvPr/>
        </p:nvSpPr>
        <p:spPr>
          <a:xfrm rot="16200000">
            <a:off x="823796" y="596504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箭头: 右 50">
            <a:extLst>
              <a:ext uri="{FF2B5EF4-FFF2-40B4-BE49-F238E27FC236}">
                <a16:creationId xmlns:a16="http://schemas.microsoft.com/office/drawing/2014/main" id="{94AE6377-D923-D7E4-77F4-E910CEC12EB6}"/>
              </a:ext>
            </a:extLst>
          </p:cNvPr>
          <p:cNvSpPr/>
          <p:nvPr/>
        </p:nvSpPr>
        <p:spPr>
          <a:xfrm rot="10800000">
            <a:off x="4407197" y="520600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箭头: 右 52">
            <a:extLst>
              <a:ext uri="{FF2B5EF4-FFF2-40B4-BE49-F238E27FC236}">
                <a16:creationId xmlns:a16="http://schemas.microsoft.com/office/drawing/2014/main" id="{9D717655-90B3-B672-A51F-CBDA17DAEAC8}"/>
              </a:ext>
            </a:extLst>
          </p:cNvPr>
          <p:cNvSpPr/>
          <p:nvPr/>
        </p:nvSpPr>
        <p:spPr>
          <a:xfrm>
            <a:off x="4394264" y="446027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Rectangle 30">
            <a:extLst>
              <a:ext uri="{FF2B5EF4-FFF2-40B4-BE49-F238E27FC236}">
                <a16:creationId xmlns:a16="http://schemas.microsoft.com/office/drawing/2014/main" id="{5C039F13-0454-07BF-6A56-3A3BEC837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3135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立项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8" name="Rectangle 5">
            <a:extLst>
              <a:ext uri="{FF2B5EF4-FFF2-40B4-BE49-F238E27FC236}">
                <a16:creationId xmlns:a16="http://schemas.microsoft.com/office/drawing/2014/main" id="{F4278DE9-3955-53EB-9783-BF9CF760E40D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40" name="Rectangle 18">
            <a:extLst>
              <a:ext uri="{FF2B5EF4-FFF2-40B4-BE49-F238E27FC236}">
                <a16:creationId xmlns:a16="http://schemas.microsoft.com/office/drawing/2014/main" id="{FBD981CB-3606-A850-645B-4404AB7FD3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8249" y="1954329"/>
            <a:ext cx="1309832" cy="2738186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38" name="Rectangle 84">
            <a:extLst>
              <a:ext uri="{FF2B5EF4-FFF2-40B4-BE49-F238E27FC236}">
                <a16:creationId xmlns:a16="http://schemas.microsoft.com/office/drawing/2014/main" id="{79517A75-9E37-67DD-ED9E-E12247BF27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7061" y="3279352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提出付款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1" name="Rectangle 85">
            <a:extLst>
              <a:ext uri="{FF2B5EF4-FFF2-40B4-BE49-F238E27FC236}">
                <a16:creationId xmlns:a16="http://schemas.microsoft.com/office/drawing/2014/main" id="{98B473A6-18A4-B43F-F7A3-3761F6CCE6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7061" y="3783531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通知银行付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4" name="Rectangle 85">
            <a:extLst>
              <a:ext uri="{FF2B5EF4-FFF2-40B4-BE49-F238E27FC236}">
                <a16:creationId xmlns:a16="http://schemas.microsoft.com/office/drawing/2014/main" id="{552D9B66-B4AD-4B1E-1599-38BC2BFD28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7061" y="4287711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付款确认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DB22AF5-BAC5-902E-F5C8-B86B603DE846}"/>
              </a:ext>
            </a:extLst>
          </p:cNvPr>
          <p:cNvSpPr txBox="1"/>
          <p:nvPr/>
        </p:nvSpPr>
        <p:spPr>
          <a:xfrm>
            <a:off x="5618963" y="4068644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服务主数据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1AC2D51-2161-8661-1945-3EE380E4E1BA}"/>
              </a:ext>
            </a:extLst>
          </p:cNvPr>
          <p:cNvSpPr txBox="1"/>
          <p:nvPr/>
        </p:nvSpPr>
        <p:spPr>
          <a:xfrm>
            <a:off x="4597274" y="4581479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申请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A84FDE8-FCF8-2DF5-B5BF-6A5DCD206B12}"/>
              </a:ext>
            </a:extLst>
          </p:cNvPr>
          <p:cNvSpPr txBox="1"/>
          <p:nvPr/>
        </p:nvSpPr>
        <p:spPr>
          <a:xfrm>
            <a:off x="4597274" y="5087967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服务确认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C112D3C-A170-C5DA-72CE-C6599B5C9BA0}"/>
              </a:ext>
            </a:extLst>
          </p:cNvPr>
          <p:cNvSpPr txBox="1"/>
          <p:nvPr/>
        </p:nvSpPr>
        <p:spPr>
          <a:xfrm>
            <a:off x="4597274" y="5594455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应付账款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DE2A1E0-4BD9-F0F2-A8BB-B3E97ECBBB14}"/>
              </a:ext>
            </a:extLst>
          </p:cNvPr>
          <p:cNvSpPr txBox="1"/>
          <p:nvPr/>
        </p:nvSpPr>
        <p:spPr>
          <a:xfrm>
            <a:off x="5630449" y="4574050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订单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94C7ED8-678D-FE15-F153-7B7A84033A2B}"/>
              </a:ext>
            </a:extLst>
          </p:cNvPr>
          <p:cNvSpPr txBox="1"/>
          <p:nvPr/>
        </p:nvSpPr>
        <p:spPr>
          <a:xfrm>
            <a:off x="5630449" y="5079456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发票校验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9" name="箭头: 右 58">
            <a:extLst>
              <a:ext uri="{FF2B5EF4-FFF2-40B4-BE49-F238E27FC236}">
                <a16:creationId xmlns:a16="http://schemas.microsoft.com/office/drawing/2014/main" id="{100F6A83-0C25-7843-96C1-E74EA2F6037E}"/>
              </a:ext>
            </a:extLst>
          </p:cNvPr>
          <p:cNvSpPr/>
          <p:nvPr/>
        </p:nvSpPr>
        <p:spPr>
          <a:xfrm rot="16200000">
            <a:off x="5486159" y="362864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6D967CCF-5E54-4443-F254-F5EF3F13B6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1199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8" name="Rectangle 18">
            <a:extLst>
              <a:ext uri="{FF2B5EF4-FFF2-40B4-BE49-F238E27FC236}">
                <a16:creationId xmlns:a16="http://schemas.microsoft.com/office/drawing/2014/main" id="{5A40EAB2-F340-89D1-CAC7-C7EBE81A0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1807" y="1932862"/>
            <a:ext cx="1106586" cy="1074570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PBF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62" name="Rectangle 84">
            <a:extLst>
              <a:ext uri="{FF2B5EF4-FFF2-40B4-BE49-F238E27FC236}">
                <a16:creationId xmlns:a16="http://schemas.microsoft.com/office/drawing/2014/main" id="{D0A540FA-02CA-2729-343D-ACD21C960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3295" y="2204904"/>
            <a:ext cx="900000" cy="252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编制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5" name="Rectangle 17">
            <a:extLst>
              <a:ext uri="{FF2B5EF4-FFF2-40B4-BE49-F238E27FC236}">
                <a16:creationId xmlns:a16="http://schemas.microsoft.com/office/drawing/2014/main" id="{41D8764D-010E-967C-8C56-4B8D04D27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887" y="4936016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8" name="文本框 127">
            <a:extLst>
              <a:ext uri="{FF2B5EF4-FFF2-40B4-BE49-F238E27FC236}">
                <a16:creationId xmlns:a16="http://schemas.microsoft.com/office/drawing/2014/main" id="{51A7BC38-8138-F466-285C-40E73BED99D6}"/>
              </a:ext>
            </a:extLst>
          </p:cNvPr>
          <p:cNvSpPr txBox="1"/>
          <p:nvPr/>
        </p:nvSpPr>
        <p:spPr>
          <a:xfrm>
            <a:off x="5630449" y="5584862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往来清账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2" name="Rectangle 17">
            <a:extLst>
              <a:ext uri="{FF2B5EF4-FFF2-40B4-BE49-F238E27FC236}">
                <a16:creationId xmlns:a16="http://schemas.microsoft.com/office/drawing/2014/main" id="{B369E46F-C620-11FD-B784-38AFBDCF9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887" y="4558942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接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7" name="文本框 126">
            <a:extLst>
              <a:ext uri="{FF2B5EF4-FFF2-40B4-BE49-F238E27FC236}">
                <a16:creationId xmlns:a16="http://schemas.microsoft.com/office/drawing/2014/main" id="{537F6AF6-3D1C-E755-E43A-2DF5AD845BFF}"/>
              </a:ext>
            </a:extLst>
          </p:cNvPr>
          <p:cNvSpPr txBox="1"/>
          <p:nvPr/>
        </p:nvSpPr>
        <p:spPr>
          <a:xfrm>
            <a:off x="4597274" y="4074991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项目</a:t>
            </a: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主数据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7" name="Rectangle 17">
            <a:extLst>
              <a:ext uri="{FF2B5EF4-FFF2-40B4-BE49-F238E27FC236}">
                <a16:creationId xmlns:a16="http://schemas.microsoft.com/office/drawing/2014/main" id="{87CF77C4-AE11-BAC1-2210-776C1E4AFF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9660" y="3322108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明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96" name="Rectangle 17">
            <a:extLst>
              <a:ext uri="{FF2B5EF4-FFF2-40B4-BE49-F238E27FC236}">
                <a16:creationId xmlns:a16="http://schemas.microsoft.com/office/drawing/2014/main" id="{4064D806-2FE2-E53D-B694-BE159914C0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887" y="5313090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验收管理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98" name="Rectangle 17">
            <a:extLst>
              <a:ext uri="{FF2B5EF4-FFF2-40B4-BE49-F238E27FC236}">
                <a16:creationId xmlns:a16="http://schemas.microsoft.com/office/drawing/2014/main" id="{766E9DE0-3AD9-A620-6FC5-55E745111B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8963" y="3326725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付账款余额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" name="Rectangle 84">
            <a:extLst>
              <a:ext uri="{FF2B5EF4-FFF2-40B4-BE49-F238E27FC236}">
                <a16:creationId xmlns:a16="http://schemas.microsoft.com/office/drawing/2014/main" id="{8FE2089A-7FFE-140B-A8E9-C4EF0AEB79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327" y="2581976"/>
            <a:ext cx="900000" cy="252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下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5" name="Rectangle 18">
            <a:extLst>
              <a:ext uri="{FF2B5EF4-FFF2-40B4-BE49-F238E27FC236}">
                <a16:creationId xmlns:a16="http://schemas.microsoft.com/office/drawing/2014/main" id="{3772F819-D521-B498-F383-8AD75EFA82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8282" y="4771154"/>
            <a:ext cx="1317969" cy="1227606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资金管理平台</a:t>
            </a:r>
          </a:p>
        </p:txBody>
      </p:sp>
      <p:sp>
        <p:nvSpPr>
          <p:cNvPr id="54" name="Rectangle 84">
            <a:extLst>
              <a:ext uri="{FF2B5EF4-FFF2-40B4-BE49-F238E27FC236}">
                <a16:creationId xmlns:a16="http://schemas.microsoft.com/office/drawing/2014/main" id="{5D294140-2CC3-07F8-16A7-3793A4E17E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9705" y="5066848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资金支付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7" name="Rectangle 84">
            <a:extLst>
              <a:ext uri="{FF2B5EF4-FFF2-40B4-BE49-F238E27FC236}">
                <a16:creationId xmlns:a16="http://schemas.microsoft.com/office/drawing/2014/main" id="{75D60AE7-FBF4-74BB-376F-A245638942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9705" y="5581157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回单确认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1" name="箭头: 右 100">
            <a:extLst>
              <a:ext uri="{FF2B5EF4-FFF2-40B4-BE49-F238E27FC236}">
                <a16:creationId xmlns:a16="http://schemas.microsoft.com/office/drawing/2014/main" id="{3CB2492A-8AB6-B52F-ED4E-97767A7D8949}"/>
              </a:ext>
            </a:extLst>
          </p:cNvPr>
          <p:cNvSpPr/>
          <p:nvPr/>
        </p:nvSpPr>
        <p:spPr>
          <a:xfrm rot="16200000">
            <a:off x="2109295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箭头: 右 101">
            <a:extLst>
              <a:ext uri="{FF2B5EF4-FFF2-40B4-BE49-F238E27FC236}">
                <a16:creationId xmlns:a16="http://schemas.microsoft.com/office/drawing/2014/main" id="{32B07F15-F498-0570-42EE-6CD7711831EC}"/>
              </a:ext>
            </a:extLst>
          </p:cNvPr>
          <p:cNvSpPr/>
          <p:nvPr/>
        </p:nvSpPr>
        <p:spPr>
          <a:xfrm rot="16200000">
            <a:off x="3394794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箭头: 右 104">
            <a:extLst>
              <a:ext uri="{FF2B5EF4-FFF2-40B4-BE49-F238E27FC236}">
                <a16:creationId xmlns:a16="http://schemas.microsoft.com/office/drawing/2014/main" id="{15AB6091-B7BE-608D-0100-028F8701EDA3}"/>
              </a:ext>
            </a:extLst>
          </p:cNvPr>
          <p:cNvSpPr/>
          <p:nvPr/>
        </p:nvSpPr>
        <p:spPr>
          <a:xfrm rot="16200000">
            <a:off x="4680293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箭头: 右 105">
            <a:extLst>
              <a:ext uri="{FF2B5EF4-FFF2-40B4-BE49-F238E27FC236}">
                <a16:creationId xmlns:a16="http://schemas.microsoft.com/office/drawing/2014/main" id="{83773241-E896-11C4-AD72-A7D44727E069}"/>
              </a:ext>
            </a:extLst>
          </p:cNvPr>
          <p:cNvSpPr/>
          <p:nvPr/>
        </p:nvSpPr>
        <p:spPr>
          <a:xfrm rot="16200000">
            <a:off x="5965792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箭头: 右 106">
            <a:extLst>
              <a:ext uri="{FF2B5EF4-FFF2-40B4-BE49-F238E27FC236}">
                <a16:creationId xmlns:a16="http://schemas.microsoft.com/office/drawing/2014/main" id="{BD052F94-FE10-E276-F88F-3B7939B0DB8A}"/>
              </a:ext>
            </a:extLst>
          </p:cNvPr>
          <p:cNvSpPr/>
          <p:nvPr/>
        </p:nvSpPr>
        <p:spPr>
          <a:xfrm rot="16200000">
            <a:off x="7251290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箭头: 右 107">
            <a:extLst>
              <a:ext uri="{FF2B5EF4-FFF2-40B4-BE49-F238E27FC236}">
                <a16:creationId xmlns:a16="http://schemas.microsoft.com/office/drawing/2014/main" id="{6D754720-5B2F-26B5-27E5-ACA9DE958D1E}"/>
              </a:ext>
            </a:extLst>
          </p:cNvPr>
          <p:cNvSpPr/>
          <p:nvPr/>
        </p:nvSpPr>
        <p:spPr>
          <a:xfrm rot="5400000">
            <a:off x="2302973" y="296688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1" name="箭头: 右 110">
            <a:extLst>
              <a:ext uri="{FF2B5EF4-FFF2-40B4-BE49-F238E27FC236}">
                <a16:creationId xmlns:a16="http://schemas.microsoft.com/office/drawing/2014/main" id="{F3F2B00A-42FE-7D3E-A2CA-05A93A29FC63}"/>
              </a:ext>
            </a:extLst>
          </p:cNvPr>
          <p:cNvSpPr/>
          <p:nvPr/>
        </p:nvSpPr>
        <p:spPr>
          <a:xfrm rot="5400000">
            <a:off x="3526416" y="2964929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3" name="箭头: 右 122">
            <a:extLst>
              <a:ext uri="{FF2B5EF4-FFF2-40B4-BE49-F238E27FC236}">
                <a16:creationId xmlns:a16="http://schemas.microsoft.com/office/drawing/2014/main" id="{6B52A992-F0B6-49A2-18FD-743C8D68A4B6}"/>
              </a:ext>
            </a:extLst>
          </p:cNvPr>
          <p:cNvSpPr/>
          <p:nvPr/>
        </p:nvSpPr>
        <p:spPr>
          <a:xfrm rot="10800000">
            <a:off x="4393400" y="342390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4" name="箭头: 右 123">
            <a:extLst>
              <a:ext uri="{FF2B5EF4-FFF2-40B4-BE49-F238E27FC236}">
                <a16:creationId xmlns:a16="http://schemas.microsoft.com/office/drawing/2014/main" id="{743C2350-44EC-EA34-BFB9-3F1A11C91113}"/>
              </a:ext>
            </a:extLst>
          </p:cNvPr>
          <p:cNvSpPr/>
          <p:nvPr/>
        </p:nvSpPr>
        <p:spPr>
          <a:xfrm>
            <a:off x="4393400" y="317848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5" name="箭头: 右 124">
            <a:extLst>
              <a:ext uri="{FF2B5EF4-FFF2-40B4-BE49-F238E27FC236}">
                <a16:creationId xmlns:a16="http://schemas.microsoft.com/office/drawing/2014/main" id="{916FF9D9-516F-0452-930C-32D531C562C8}"/>
              </a:ext>
            </a:extLst>
          </p:cNvPr>
          <p:cNvSpPr/>
          <p:nvPr/>
        </p:nvSpPr>
        <p:spPr>
          <a:xfrm rot="10800000">
            <a:off x="6561853" y="430327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6" name="箭头: 右 125">
            <a:extLst>
              <a:ext uri="{FF2B5EF4-FFF2-40B4-BE49-F238E27FC236}">
                <a16:creationId xmlns:a16="http://schemas.microsoft.com/office/drawing/2014/main" id="{8D82F92B-51C1-9DFE-9D97-323638004835}"/>
              </a:ext>
            </a:extLst>
          </p:cNvPr>
          <p:cNvSpPr/>
          <p:nvPr/>
        </p:nvSpPr>
        <p:spPr>
          <a:xfrm>
            <a:off x="6589564" y="3911414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Rectangle 17">
            <a:extLst>
              <a:ext uri="{FF2B5EF4-FFF2-40B4-BE49-F238E27FC236}">
                <a16:creationId xmlns:a16="http://schemas.microsoft.com/office/drawing/2014/main" id="{1F837267-C549-9F28-B048-4FCBFA5913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899" y="1470793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费用查询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1" name="Rectangle 17">
            <a:extLst>
              <a:ext uri="{FF2B5EF4-FFF2-40B4-BE49-F238E27FC236}">
                <a16:creationId xmlns:a16="http://schemas.microsoft.com/office/drawing/2014/main" id="{65142242-231F-FC51-B02D-B2F89E67D1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4721" y="1472289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预算查询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3" name="Rectangle 17">
            <a:extLst>
              <a:ext uri="{FF2B5EF4-FFF2-40B4-BE49-F238E27FC236}">
                <a16:creationId xmlns:a16="http://schemas.microsoft.com/office/drawing/2014/main" id="{B10521D2-53C2-FF33-93B7-850D7860B0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887" y="3427720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立项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5" name="Rectangle 17">
            <a:extLst>
              <a:ext uri="{FF2B5EF4-FFF2-40B4-BE49-F238E27FC236}">
                <a16:creationId xmlns:a16="http://schemas.microsoft.com/office/drawing/2014/main" id="{C9E8BE40-6EAD-92FE-7E1A-BFD92FFC7D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887" y="4181868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派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6" name="Rectangle 17">
            <a:extLst>
              <a:ext uri="{FF2B5EF4-FFF2-40B4-BE49-F238E27FC236}">
                <a16:creationId xmlns:a16="http://schemas.microsoft.com/office/drawing/2014/main" id="{0FE68884-A7CB-3112-81F7-FF44447AB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887" y="3804794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7" name="Rectangle 17">
            <a:extLst>
              <a:ext uri="{FF2B5EF4-FFF2-40B4-BE49-F238E27FC236}">
                <a16:creationId xmlns:a16="http://schemas.microsoft.com/office/drawing/2014/main" id="{315821CD-4198-9A5B-3BEA-3345B977A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887" y="5690162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报销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0" name="Rectangle 17">
            <a:extLst>
              <a:ext uri="{FF2B5EF4-FFF2-40B4-BE49-F238E27FC236}">
                <a16:creationId xmlns:a16="http://schemas.microsoft.com/office/drawing/2014/main" id="{F050CBE3-49EA-A9CF-8CB2-266A06DF37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7422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拆解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4" name="Rectangle 84">
            <a:extLst>
              <a:ext uri="{FF2B5EF4-FFF2-40B4-BE49-F238E27FC236}">
                <a16:creationId xmlns:a16="http://schemas.microsoft.com/office/drawing/2014/main" id="{AE1A1E8D-0C93-55A4-47BD-8CF30CF70F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7061" y="2270994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6" name="Rectangle 84">
            <a:extLst>
              <a:ext uri="{FF2B5EF4-FFF2-40B4-BE49-F238E27FC236}">
                <a16:creationId xmlns:a16="http://schemas.microsoft.com/office/drawing/2014/main" id="{1BB32611-D945-FBBF-A3D8-C48DB8C617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7061" y="2775173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报销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8" name="箭头: 右 77">
            <a:extLst>
              <a:ext uri="{FF2B5EF4-FFF2-40B4-BE49-F238E27FC236}">
                <a16:creationId xmlns:a16="http://schemas.microsoft.com/office/drawing/2014/main" id="{052E2156-6930-BF1F-908F-9B25F495DB67}"/>
              </a:ext>
            </a:extLst>
          </p:cNvPr>
          <p:cNvSpPr/>
          <p:nvPr/>
        </p:nvSpPr>
        <p:spPr>
          <a:xfrm rot="10800000">
            <a:off x="6541331" y="265880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箭头: 右 78">
            <a:extLst>
              <a:ext uri="{FF2B5EF4-FFF2-40B4-BE49-F238E27FC236}">
                <a16:creationId xmlns:a16="http://schemas.microsoft.com/office/drawing/2014/main" id="{73DA05AA-093D-504D-A3DA-8FEF860526F2}"/>
              </a:ext>
            </a:extLst>
          </p:cNvPr>
          <p:cNvSpPr/>
          <p:nvPr/>
        </p:nvSpPr>
        <p:spPr>
          <a:xfrm>
            <a:off x="6569042" y="2266942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箭头: 右 83">
            <a:extLst>
              <a:ext uri="{FF2B5EF4-FFF2-40B4-BE49-F238E27FC236}">
                <a16:creationId xmlns:a16="http://schemas.microsoft.com/office/drawing/2014/main" id="{2B69AAAE-B97A-F539-7D02-8BA67F0E0B85}"/>
              </a:ext>
            </a:extLst>
          </p:cNvPr>
          <p:cNvSpPr/>
          <p:nvPr/>
        </p:nvSpPr>
        <p:spPr>
          <a:xfrm rot="16200000">
            <a:off x="7086421" y="178415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" name="箭头: 右 87">
            <a:extLst>
              <a:ext uri="{FF2B5EF4-FFF2-40B4-BE49-F238E27FC236}">
                <a16:creationId xmlns:a16="http://schemas.microsoft.com/office/drawing/2014/main" id="{94770DC7-234B-764B-3522-C3FD48D89472}"/>
              </a:ext>
            </a:extLst>
          </p:cNvPr>
          <p:cNvSpPr/>
          <p:nvPr/>
        </p:nvSpPr>
        <p:spPr>
          <a:xfrm rot="16200000">
            <a:off x="5517306" y="178415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箭头: 右 88">
            <a:extLst>
              <a:ext uri="{FF2B5EF4-FFF2-40B4-BE49-F238E27FC236}">
                <a16:creationId xmlns:a16="http://schemas.microsoft.com/office/drawing/2014/main" id="{6B4082B8-0391-3703-1A0B-1927AA066B9B}"/>
              </a:ext>
            </a:extLst>
          </p:cNvPr>
          <p:cNvSpPr/>
          <p:nvPr/>
        </p:nvSpPr>
        <p:spPr>
          <a:xfrm rot="16200000">
            <a:off x="3948192" y="178415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1" name="箭头: 右 90">
            <a:extLst>
              <a:ext uri="{FF2B5EF4-FFF2-40B4-BE49-F238E27FC236}">
                <a16:creationId xmlns:a16="http://schemas.microsoft.com/office/drawing/2014/main" id="{B455937C-7A11-349F-2F8C-E724F156C7F4}"/>
              </a:ext>
            </a:extLst>
          </p:cNvPr>
          <p:cNvSpPr/>
          <p:nvPr/>
        </p:nvSpPr>
        <p:spPr>
          <a:xfrm rot="16200000">
            <a:off x="809964" y="178415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3" name="箭头: 右 112">
            <a:extLst>
              <a:ext uri="{FF2B5EF4-FFF2-40B4-BE49-F238E27FC236}">
                <a16:creationId xmlns:a16="http://schemas.microsoft.com/office/drawing/2014/main" id="{0B443D9D-81DA-50D5-22E9-69FD2ABD9673}"/>
              </a:ext>
            </a:extLst>
          </p:cNvPr>
          <p:cNvSpPr/>
          <p:nvPr/>
        </p:nvSpPr>
        <p:spPr>
          <a:xfrm rot="16200000">
            <a:off x="2379078" y="178415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6" name="箭头: 右 115">
            <a:extLst>
              <a:ext uri="{FF2B5EF4-FFF2-40B4-BE49-F238E27FC236}">
                <a16:creationId xmlns:a16="http://schemas.microsoft.com/office/drawing/2014/main" id="{DE9E7195-BE69-6CC7-7891-5A2E10331846}"/>
              </a:ext>
            </a:extLst>
          </p:cNvPr>
          <p:cNvSpPr/>
          <p:nvPr/>
        </p:nvSpPr>
        <p:spPr>
          <a:xfrm rot="5400000">
            <a:off x="7012919" y="461156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9" name="箭头: 右 118">
            <a:extLst>
              <a:ext uri="{FF2B5EF4-FFF2-40B4-BE49-F238E27FC236}">
                <a16:creationId xmlns:a16="http://schemas.microsoft.com/office/drawing/2014/main" id="{7B2621EC-64FE-3A4A-2D0C-21C7A0E86821}"/>
              </a:ext>
            </a:extLst>
          </p:cNvPr>
          <p:cNvSpPr/>
          <p:nvPr/>
        </p:nvSpPr>
        <p:spPr>
          <a:xfrm rot="16200000">
            <a:off x="7503242" y="459912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1" name="Rectangle 50">
            <a:extLst>
              <a:ext uri="{FF2B5EF4-FFF2-40B4-BE49-F238E27FC236}">
                <a16:creationId xmlns:a16="http://schemas.microsoft.com/office/drawing/2014/main" id="{646F9E71-1BD5-4C25-8557-F88EBB3400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8744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项目考核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2" name="Rectangle 17">
            <a:extLst>
              <a:ext uri="{FF2B5EF4-FFF2-40B4-BE49-F238E27FC236}">
                <a16:creationId xmlns:a16="http://schemas.microsoft.com/office/drawing/2014/main" id="{475679F0-B833-5851-5FBB-E61D434530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2441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任务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33" name="Rectangle 30">
            <a:extLst>
              <a:ext uri="{FF2B5EF4-FFF2-40B4-BE49-F238E27FC236}">
                <a16:creationId xmlns:a16="http://schemas.microsoft.com/office/drawing/2014/main" id="{E11B18C3-31AC-3C29-7DC5-B4D802BEF6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2788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流程审批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4" name="Rectangle 50">
            <a:extLst>
              <a:ext uri="{FF2B5EF4-FFF2-40B4-BE49-F238E27FC236}">
                <a16:creationId xmlns:a16="http://schemas.microsoft.com/office/drawing/2014/main" id="{63696F22-9B00-F0FE-93FE-28464012D5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7863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费用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5" name="Rectangle 50">
            <a:extLst>
              <a:ext uri="{FF2B5EF4-FFF2-40B4-BE49-F238E27FC236}">
                <a16:creationId xmlns:a16="http://schemas.microsoft.com/office/drawing/2014/main" id="{82043D1C-B00B-F813-38B8-9167E3E692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8304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指标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6" name="箭头: 右 135">
            <a:extLst>
              <a:ext uri="{FF2B5EF4-FFF2-40B4-BE49-F238E27FC236}">
                <a16:creationId xmlns:a16="http://schemas.microsoft.com/office/drawing/2014/main" id="{1D41288A-B276-32EB-F428-8316C58AB564}"/>
              </a:ext>
            </a:extLst>
          </p:cNvPr>
          <p:cNvSpPr/>
          <p:nvPr/>
        </p:nvSpPr>
        <p:spPr>
          <a:xfrm>
            <a:off x="1416373" y="2249190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7" name="Rectangle 17">
            <a:extLst>
              <a:ext uri="{FF2B5EF4-FFF2-40B4-BE49-F238E27FC236}">
                <a16:creationId xmlns:a16="http://schemas.microsoft.com/office/drawing/2014/main" id="{B85FE731-D8B8-4139-F03F-67C9366050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6925" y="1471462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科目费用查询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38" name="Rectangle 17">
            <a:extLst>
              <a:ext uri="{FF2B5EF4-FFF2-40B4-BE49-F238E27FC236}">
                <a16:creationId xmlns:a16="http://schemas.microsoft.com/office/drawing/2014/main" id="{96D6341E-AE5A-B22E-2FA5-88E2606918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0480" y="1471347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动因费用查询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39" name="Rectangle 17">
            <a:extLst>
              <a:ext uri="{FF2B5EF4-FFF2-40B4-BE49-F238E27FC236}">
                <a16:creationId xmlns:a16="http://schemas.microsoft.com/office/drawing/2014/main" id="{AE89F2CA-A3B9-E072-2FC3-7D06902B85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8963" y="1472289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实分析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143" name="组合 142">
            <a:extLst>
              <a:ext uri="{FF2B5EF4-FFF2-40B4-BE49-F238E27FC236}">
                <a16:creationId xmlns:a16="http://schemas.microsoft.com/office/drawing/2014/main" id="{51E0636A-FA57-2D17-ECE4-91A493701DF4}"/>
              </a:ext>
            </a:extLst>
          </p:cNvPr>
          <p:cNvGrpSpPr/>
          <p:nvPr/>
        </p:nvGrpSpPr>
        <p:grpSpPr>
          <a:xfrm>
            <a:off x="336232" y="1294911"/>
            <a:ext cx="7522289" cy="4742411"/>
            <a:chOff x="574768" y="1294911"/>
            <a:chExt cx="7522289" cy="4742411"/>
          </a:xfrm>
        </p:grpSpPr>
        <p:sp>
          <p:nvSpPr>
            <p:cNvPr id="13" name="Rectangle 157">
              <a:extLst>
                <a:ext uri="{FF2B5EF4-FFF2-40B4-BE49-F238E27FC236}">
                  <a16:creationId xmlns:a16="http://schemas.microsoft.com/office/drawing/2014/main" id="{DEDDEE1E-CA50-A531-01DC-E660B780AE73}"/>
                </a:ext>
              </a:extLst>
            </p:cNvPr>
            <p:cNvSpPr/>
            <p:nvPr/>
          </p:nvSpPr>
          <p:spPr>
            <a:xfrm>
              <a:off x="1854075" y="3110019"/>
              <a:ext cx="2762159" cy="2906806"/>
            </a:xfrm>
            <a:prstGeom prst="rect">
              <a:avLst/>
            </a:prstGeom>
            <a:solidFill>
              <a:srgbClr val="42BDFF">
                <a:alpha val="34902"/>
              </a:srgbClr>
            </a:solidFill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待建设</a:t>
              </a:r>
              <a:r>
                <a:rPr lang="zh-CN" altLang="en-US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对推广费</a:t>
              </a:r>
              <a:endParaRPr lang="en-US" altLang="zh-CN" sz="1600" b="1">
                <a:solidFill>
                  <a:srgbClr val="FF0000"/>
                </a:solidFill>
                <a:latin typeface="Microsoft YaHei"/>
                <a:ea typeface="Microsoft YaHei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的采购支持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17" name="Rectangle 157">
              <a:extLst>
                <a:ext uri="{FF2B5EF4-FFF2-40B4-BE49-F238E27FC236}">
                  <a16:creationId xmlns:a16="http://schemas.microsoft.com/office/drawing/2014/main" id="{C80B02E7-1180-234E-F2F3-E33C44A47D52}"/>
                </a:ext>
              </a:extLst>
            </p:cNvPr>
            <p:cNvSpPr/>
            <p:nvPr/>
          </p:nvSpPr>
          <p:spPr>
            <a:xfrm>
              <a:off x="1872306" y="2595117"/>
              <a:ext cx="4803467" cy="356351"/>
            </a:xfrm>
            <a:prstGeom prst="rect">
              <a:avLst/>
            </a:prstGeom>
            <a:solidFill>
              <a:srgbClr val="42BDFF">
                <a:alpha val="34902"/>
              </a:srgbClr>
            </a:solidFill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功能逐步建设中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71" name="Oval 510">
              <a:extLst>
                <a:ext uri="{FF2B5EF4-FFF2-40B4-BE49-F238E27FC236}">
                  <a16:creationId xmlns:a16="http://schemas.microsoft.com/office/drawing/2014/main" id="{7F1D12B8-7BBB-7570-3A11-549195A3243A}"/>
                </a:ext>
              </a:extLst>
            </p:cNvPr>
            <p:cNvSpPr/>
            <p:nvPr/>
          </p:nvSpPr>
          <p:spPr>
            <a:xfrm>
              <a:off x="3225659" y="2642800"/>
              <a:ext cx="274320" cy="274320"/>
            </a:xfrm>
            <a:prstGeom prst="ellipse">
              <a:avLst/>
            </a:prstGeom>
            <a:solidFill>
              <a:srgbClr val="E81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1</a:t>
              </a:r>
            </a:p>
          </p:txBody>
        </p:sp>
        <p:sp>
          <p:nvSpPr>
            <p:cNvPr id="15" name="Rectangle 157">
              <a:extLst>
                <a:ext uri="{FF2B5EF4-FFF2-40B4-BE49-F238E27FC236}">
                  <a16:creationId xmlns:a16="http://schemas.microsoft.com/office/drawing/2014/main" id="{4CF9433E-2310-DE83-2E19-F17CDC19CF82}"/>
                </a:ext>
              </a:extLst>
            </p:cNvPr>
            <p:cNvSpPr/>
            <p:nvPr/>
          </p:nvSpPr>
          <p:spPr>
            <a:xfrm>
              <a:off x="4779864" y="3801122"/>
              <a:ext cx="1989121" cy="2236200"/>
            </a:xfrm>
            <a:prstGeom prst="rect">
              <a:avLst/>
            </a:prstGeom>
            <a:solidFill>
              <a:srgbClr val="42BDFF">
                <a:alpha val="34902"/>
              </a:srgbClr>
            </a:solidFill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待建设</a:t>
              </a:r>
              <a:r>
                <a:rPr kumimoji="0" lang="en-US" altLang="zh-CN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ERP</a:t>
              </a: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对</a:t>
              </a:r>
              <a:r>
                <a:rPr lang="zh-CN" altLang="en-US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推广</a:t>
              </a: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费核算管理的支持</a:t>
              </a:r>
              <a:endPara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73" name="Oval 510">
              <a:extLst>
                <a:ext uri="{FF2B5EF4-FFF2-40B4-BE49-F238E27FC236}">
                  <a16:creationId xmlns:a16="http://schemas.microsoft.com/office/drawing/2014/main" id="{6E65EC3F-FF48-9B95-A785-B384250A13B2}"/>
                </a:ext>
              </a:extLst>
            </p:cNvPr>
            <p:cNvSpPr/>
            <p:nvPr/>
          </p:nvSpPr>
          <p:spPr>
            <a:xfrm>
              <a:off x="4946830" y="4371217"/>
              <a:ext cx="274320" cy="274320"/>
            </a:xfrm>
            <a:prstGeom prst="ellipse">
              <a:avLst/>
            </a:prstGeom>
            <a:solidFill>
              <a:srgbClr val="E81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3</a:t>
              </a:r>
            </a:p>
          </p:txBody>
        </p:sp>
        <p:sp>
          <p:nvSpPr>
            <p:cNvPr id="93" name="Rectangle 157">
              <a:extLst>
                <a:ext uri="{FF2B5EF4-FFF2-40B4-BE49-F238E27FC236}">
                  <a16:creationId xmlns:a16="http://schemas.microsoft.com/office/drawing/2014/main" id="{91C3C883-6159-F405-027A-8667EFC13559}"/>
                </a:ext>
              </a:extLst>
            </p:cNvPr>
            <p:cNvSpPr/>
            <p:nvPr/>
          </p:nvSpPr>
          <p:spPr>
            <a:xfrm>
              <a:off x="4778612" y="3096907"/>
              <a:ext cx="2049488" cy="536480"/>
            </a:xfrm>
            <a:prstGeom prst="rect">
              <a:avLst/>
            </a:prstGeom>
            <a:solidFill>
              <a:srgbClr val="42BDFF">
                <a:alpha val="34902"/>
              </a:srgbClr>
            </a:solidFill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待建设和</a:t>
              </a:r>
              <a:r>
                <a:rPr lang="en-US" altLang="zh-CN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SRM</a:t>
              </a:r>
              <a:r>
                <a:rPr lang="zh-CN" altLang="en-US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、</a:t>
              </a:r>
              <a:r>
                <a:rPr lang="en-US" altLang="zh-CN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ERP</a:t>
              </a:r>
              <a:r>
                <a:rPr lang="zh-CN" altLang="en-US" sz="1600" b="1">
                  <a:solidFill>
                    <a:srgbClr val="FF0000"/>
                  </a:solidFill>
                  <a:latin typeface="Microsoft YaHei"/>
                  <a:ea typeface="Microsoft YaHei"/>
                </a:rPr>
                <a:t>联动的结算平台</a:t>
              </a:r>
              <a:endPara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94" name="Oval 510">
              <a:extLst>
                <a:ext uri="{FF2B5EF4-FFF2-40B4-BE49-F238E27FC236}">
                  <a16:creationId xmlns:a16="http://schemas.microsoft.com/office/drawing/2014/main" id="{44BBE95D-A158-811D-1769-1377B0FBC9E5}"/>
                </a:ext>
              </a:extLst>
            </p:cNvPr>
            <p:cNvSpPr/>
            <p:nvPr/>
          </p:nvSpPr>
          <p:spPr>
            <a:xfrm>
              <a:off x="4788853" y="3076134"/>
              <a:ext cx="274320" cy="274320"/>
            </a:xfrm>
            <a:prstGeom prst="ellipse">
              <a:avLst/>
            </a:prstGeom>
            <a:solidFill>
              <a:srgbClr val="E81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4</a:t>
              </a:r>
            </a:p>
          </p:txBody>
        </p:sp>
        <p:sp>
          <p:nvSpPr>
            <p:cNvPr id="129" name="Rectangle 157">
              <a:extLst>
                <a:ext uri="{FF2B5EF4-FFF2-40B4-BE49-F238E27FC236}">
                  <a16:creationId xmlns:a16="http://schemas.microsoft.com/office/drawing/2014/main" id="{34DD6D4B-4133-FE57-FDE7-CA1517DF6B6F}"/>
                </a:ext>
              </a:extLst>
            </p:cNvPr>
            <p:cNvSpPr/>
            <p:nvPr/>
          </p:nvSpPr>
          <p:spPr>
            <a:xfrm>
              <a:off x="574768" y="3107503"/>
              <a:ext cx="1032473" cy="2898630"/>
            </a:xfrm>
            <a:prstGeom prst="rect">
              <a:avLst/>
            </a:prstGeom>
            <a:solidFill>
              <a:srgbClr val="42BDFF">
                <a:alpha val="34902"/>
              </a:srgbClr>
            </a:solidFill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功能</a:t>
              </a:r>
              <a:endPara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迁移至</a:t>
              </a:r>
              <a:r>
                <a:rPr kumimoji="0" lang="en-US" altLang="zh-CN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SRM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72" name="Oval 510">
              <a:extLst>
                <a:ext uri="{FF2B5EF4-FFF2-40B4-BE49-F238E27FC236}">
                  <a16:creationId xmlns:a16="http://schemas.microsoft.com/office/drawing/2014/main" id="{73BE0095-B33D-CE3C-8AE5-953BB91FD4CE}"/>
                </a:ext>
              </a:extLst>
            </p:cNvPr>
            <p:cNvSpPr/>
            <p:nvPr/>
          </p:nvSpPr>
          <p:spPr>
            <a:xfrm>
              <a:off x="2234768" y="4320845"/>
              <a:ext cx="274320" cy="274320"/>
            </a:xfrm>
            <a:prstGeom prst="ellipse">
              <a:avLst/>
            </a:prstGeom>
            <a:solidFill>
              <a:srgbClr val="E81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2</a:t>
              </a:r>
            </a:p>
          </p:txBody>
        </p:sp>
        <p:sp>
          <p:nvSpPr>
            <p:cNvPr id="140" name="Rectangle 157">
              <a:extLst>
                <a:ext uri="{FF2B5EF4-FFF2-40B4-BE49-F238E27FC236}">
                  <a16:creationId xmlns:a16="http://schemas.microsoft.com/office/drawing/2014/main" id="{743F5674-A41B-4765-F0FA-A7A653A0C79F}"/>
                </a:ext>
              </a:extLst>
            </p:cNvPr>
            <p:cNvSpPr/>
            <p:nvPr/>
          </p:nvSpPr>
          <p:spPr>
            <a:xfrm>
              <a:off x="754216" y="1294911"/>
              <a:ext cx="7342841" cy="495719"/>
            </a:xfrm>
            <a:prstGeom prst="rect">
              <a:avLst/>
            </a:prstGeom>
            <a:solidFill>
              <a:srgbClr val="42BDFF">
                <a:alpha val="34902"/>
              </a:srgbClr>
            </a:solidFill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待建设费用中心对推广费费用分析的支持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141" name="Oval 510">
              <a:extLst>
                <a:ext uri="{FF2B5EF4-FFF2-40B4-BE49-F238E27FC236}">
                  <a16:creationId xmlns:a16="http://schemas.microsoft.com/office/drawing/2014/main" id="{4E2E81F9-341B-F92C-5EC0-AA8277E4B415}"/>
                </a:ext>
              </a:extLst>
            </p:cNvPr>
            <p:cNvSpPr/>
            <p:nvPr/>
          </p:nvSpPr>
          <p:spPr>
            <a:xfrm>
              <a:off x="2234768" y="1418303"/>
              <a:ext cx="274320" cy="274320"/>
            </a:xfrm>
            <a:prstGeom prst="ellipse">
              <a:avLst/>
            </a:prstGeom>
            <a:solidFill>
              <a:srgbClr val="E81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5</a:t>
              </a:r>
            </a:p>
          </p:txBody>
        </p:sp>
        <p:sp>
          <p:nvSpPr>
            <p:cNvPr id="142" name="Oval 510">
              <a:extLst>
                <a:ext uri="{FF2B5EF4-FFF2-40B4-BE49-F238E27FC236}">
                  <a16:creationId xmlns:a16="http://schemas.microsoft.com/office/drawing/2014/main" id="{E2202677-B239-3195-B011-9B53EFCBFB3A}"/>
                </a:ext>
              </a:extLst>
            </p:cNvPr>
            <p:cNvSpPr/>
            <p:nvPr/>
          </p:nvSpPr>
          <p:spPr>
            <a:xfrm>
              <a:off x="575585" y="4194070"/>
              <a:ext cx="274320" cy="274320"/>
            </a:xfrm>
            <a:prstGeom prst="ellipse">
              <a:avLst/>
            </a:prstGeom>
            <a:solidFill>
              <a:srgbClr val="E81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633952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18">
            <a:extLst>
              <a:ext uri="{FF2B5EF4-FFF2-40B4-BE49-F238E27FC236}">
                <a16:creationId xmlns:a16="http://schemas.microsoft.com/office/drawing/2014/main" id="{D338BD34-600C-A13E-7B60-A3B2362F48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455" y="1263103"/>
            <a:ext cx="7702626" cy="604219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费用中心</a:t>
            </a:r>
          </a:p>
        </p:txBody>
      </p:sp>
      <p:sp>
        <p:nvSpPr>
          <p:cNvPr id="49" name="Rectangle 18">
            <a:extLst>
              <a:ext uri="{FF2B5EF4-FFF2-40B4-BE49-F238E27FC236}">
                <a16:creationId xmlns:a16="http://schemas.microsoft.com/office/drawing/2014/main" id="{67F1AB62-4748-5067-DA39-B8F8FF8DF7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740" y="3099015"/>
            <a:ext cx="1080230" cy="2971151"/>
          </a:xfrm>
          <a:prstGeom prst="rect">
            <a:avLst/>
          </a:prstGeom>
          <a:solidFill>
            <a:schemeClr val="bg1">
              <a:lumMod val="85000"/>
              <a:alpha val="70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推广费系统</a:t>
            </a:r>
          </a:p>
        </p:txBody>
      </p:sp>
      <p:sp>
        <p:nvSpPr>
          <p:cNvPr id="64" name="Rectangle 18">
            <a:extLst>
              <a:ext uri="{FF2B5EF4-FFF2-40B4-BE49-F238E27FC236}">
                <a16:creationId xmlns:a16="http://schemas.microsoft.com/office/drawing/2014/main" id="{EB298ED1-FAA3-E801-D0D5-C9B0DE061C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876" y="3083006"/>
            <a:ext cx="2076205" cy="604219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结算平台</a:t>
            </a:r>
          </a:p>
        </p:txBody>
      </p:sp>
      <p:sp>
        <p:nvSpPr>
          <p:cNvPr id="43" name="Rectangle 18">
            <a:extLst>
              <a:ext uri="{FF2B5EF4-FFF2-40B4-BE49-F238E27FC236}">
                <a16:creationId xmlns:a16="http://schemas.microsoft.com/office/drawing/2014/main" id="{63B4EB4D-803B-B99B-F427-61856A1A59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8798" y="3779591"/>
            <a:ext cx="2077961" cy="2219169"/>
          </a:xfrm>
          <a:prstGeom prst="rect">
            <a:avLst/>
          </a:prstGeom>
          <a:solidFill>
            <a:srgbClr val="C0E9FF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AP ERP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10984A-1973-E074-373C-41FA2BFB49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6538" y="3077784"/>
            <a:ext cx="2906060" cy="2999479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R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8" name="Rectangle 18">
            <a:extLst>
              <a:ext uri="{FF2B5EF4-FFF2-40B4-BE49-F238E27FC236}">
                <a16:creationId xmlns:a16="http://schemas.microsoft.com/office/drawing/2014/main" id="{404DBAC2-18F7-7509-B24D-258FC79C2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7123" y="3400292"/>
            <a:ext cx="1259736" cy="1167428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管理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3E9A57-CB75-5562-65AA-BBEC656EC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03430" y="6424571"/>
            <a:ext cx="585140" cy="232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FE292F-1EBE-6D4A-B339-A324D614A372}" type="slidenum">
              <a:rPr kumimoji="1" lang="zh-CN" altLang="en-US" smtClean="0"/>
              <a:pPr/>
              <a:t>31</a:t>
            </a:fld>
            <a:endParaRPr kumimoji="1" lang="zh-CN" alt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351361-B5FC-3B4C-93C7-23720EA4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10282312" cy="706293"/>
          </a:xfrm>
        </p:spPr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长期系统方案：搭建</a:t>
            </a:r>
            <a:r>
              <a:rPr lang="en-US" altLang="zh-CN"/>
              <a:t>PTP</a:t>
            </a:r>
            <a:r>
              <a:rPr lang="zh-CN" altLang="en-US"/>
              <a:t>系统流程，实现及时自动核算多维度推广费核算</a:t>
            </a:r>
            <a:endParaRPr lang="en-US"/>
          </a:p>
        </p:txBody>
      </p:sp>
      <p:sp>
        <p:nvSpPr>
          <p:cNvPr id="16" name="Rectangle 18">
            <a:extLst>
              <a:ext uri="{FF2B5EF4-FFF2-40B4-BE49-F238E27FC236}">
                <a16:creationId xmlns:a16="http://schemas.microsoft.com/office/drawing/2014/main" id="{E26698F4-350E-C049-E5A1-A718B51A9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2333" y="3643411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准入</a:t>
            </a:r>
          </a:p>
        </p:txBody>
      </p:sp>
      <p:sp>
        <p:nvSpPr>
          <p:cNvPr id="103" name="Rectangle 30">
            <a:extLst>
              <a:ext uri="{FF2B5EF4-FFF2-40B4-BE49-F238E27FC236}">
                <a16:creationId xmlns:a16="http://schemas.microsoft.com/office/drawing/2014/main" id="{9A73E786-6CEC-FA2E-31C5-1EC4AC4A38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2333" y="3961446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0" name="Rectangle 18">
            <a:extLst>
              <a:ext uri="{FF2B5EF4-FFF2-40B4-BE49-F238E27FC236}">
                <a16:creationId xmlns:a16="http://schemas.microsoft.com/office/drawing/2014/main" id="{8215F382-68BB-1B97-CCAA-840E1E959B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0907" y="3403782"/>
            <a:ext cx="1259735" cy="1167428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寻源协同</a:t>
            </a:r>
          </a:p>
        </p:txBody>
      </p:sp>
      <p:sp>
        <p:nvSpPr>
          <p:cNvPr id="293" name="Rectangle 17">
            <a:extLst>
              <a:ext uri="{FF2B5EF4-FFF2-40B4-BE49-F238E27FC236}">
                <a16:creationId xmlns:a16="http://schemas.microsoft.com/office/drawing/2014/main" id="{1D3F46A8-6AEA-A772-BC95-CC446FDE02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3026" y="3647302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询报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5725C3B3-43B9-537F-C7B6-625F0AE8E3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3026" y="3951872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竞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3" name="Rectangle 18">
            <a:extLst>
              <a:ext uri="{FF2B5EF4-FFF2-40B4-BE49-F238E27FC236}">
                <a16:creationId xmlns:a16="http://schemas.microsoft.com/office/drawing/2014/main" id="{542C84DF-0CFC-603E-8CE0-FE2C218111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9422" y="4643006"/>
            <a:ext cx="2572725" cy="409423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管理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A6E260C3-8A19-6E3B-53B3-51E1DD373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6563" y="5109429"/>
            <a:ext cx="2572725" cy="430310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订单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履行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0D9DE54B-B5AC-44E7-593C-AA89FD48D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9422" y="5597280"/>
            <a:ext cx="2559866" cy="411017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财务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协同</a:t>
            </a: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D3852551-1543-EC05-EBF5-F7FB94D8B0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90570" y="5681011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结算单对账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7E31F183-EB64-54BF-4381-1DC44EFD0C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7730" y="5681363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发票上传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审核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44136927-858F-6DA3-98D9-F71401917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7644" y="4740444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年框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B7316411-D4C5-299C-1622-5F54EC5A98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1230" y="4740444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6DC6D3BB-3AAF-C52A-02D2-5DCB03804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90570" y="5206001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186652DF-610C-F1BF-04ED-DD93B0BC4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0364" y="5206001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7" name="Rectangle 18">
            <a:extLst>
              <a:ext uri="{FF2B5EF4-FFF2-40B4-BE49-F238E27FC236}">
                <a16:creationId xmlns:a16="http://schemas.microsoft.com/office/drawing/2014/main" id="{6278E8FF-BB7D-DCA7-2BF6-971FBC8C52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2333" y="4260334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绩效考核</a:t>
            </a:r>
          </a:p>
        </p:txBody>
      </p: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09FC2D6D-FC1A-E7EA-44DB-BD5B54CFE610}"/>
              </a:ext>
            </a:extLst>
          </p:cNvPr>
          <p:cNvGrpSpPr/>
          <p:nvPr/>
        </p:nvGrpSpPr>
        <p:grpSpPr>
          <a:xfrm>
            <a:off x="8246072" y="866137"/>
            <a:ext cx="3160099" cy="313175"/>
            <a:chOff x="10133105" y="1104727"/>
            <a:chExt cx="2058895" cy="313175"/>
          </a:xfrm>
        </p:grpSpPr>
        <p:grpSp>
          <p:nvGrpSpPr>
            <p:cNvPr id="47" name="Group 63">
              <a:extLst>
                <a:ext uri="{FF2B5EF4-FFF2-40B4-BE49-F238E27FC236}">
                  <a16:creationId xmlns:a16="http://schemas.microsoft.com/office/drawing/2014/main" id="{FF07DC3E-8926-7696-EFE5-9C8B8A49AFD5}"/>
                </a:ext>
              </a:extLst>
            </p:cNvPr>
            <p:cNvGrpSpPr/>
            <p:nvPr/>
          </p:nvGrpSpPr>
          <p:grpSpPr>
            <a:xfrm>
              <a:off x="10133105" y="1104727"/>
              <a:ext cx="2058895" cy="313175"/>
              <a:chOff x="9344415" y="1038841"/>
              <a:chExt cx="2551176" cy="313175"/>
            </a:xfrm>
          </p:grpSpPr>
          <p:cxnSp>
            <p:nvCxnSpPr>
              <p:cNvPr id="48" name="Straight Connector 38">
                <a:extLst>
                  <a:ext uri="{FF2B5EF4-FFF2-40B4-BE49-F238E27FC236}">
                    <a16:creationId xmlns:a16="http://schemas.microsoft.com/office/drawing/2014/main" id="{A4AB9685-F160-7599-DDB2-7C31B65E8C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44415" y="1225644"/>
                <a:ext cx="2551176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 type="diamond"/>
                <a:tailEnd type="diamond"/>
              </a:ln>
              <a:effectLst/>
            </p:spPr>
          </p:cxnSp>
          <p:sp>
            <p:nvSpPr>
              <p:cNvPr id="50" name="TextBox 39">
                <a:extLst>
                  <a:ext uri="{FF2B5EF4-FFF2-40B4-BE49-F238E27FC236}">
                    <a16:creationId xmlns:a16="http://schemas.microsoft.com/office/drawing/2014/main" id="{60FC412D-CA07-B12E-2A4E-460DD39CBF79}"/>
                  </a:ext>
                </a:extLst>
              </p:cNvPr>
              <p:cNvSpPr txBox="1"/>
              <p:nvPr/>
            </p:nvSpPr>
            <p:spPr>
              <a:xfrm>
                <a:off x="10193126" y="1038841"/>
                <a:ext cx="1115431" cy="307777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1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Times New Roman"/>
                    <a:ea typeface="Microsoft YaHei"/>
                    <a:cs typeface="+mn-cs"/>
                  </a:rPr>
                  <a:t>现状</a:t>
                </a:r>
                <a:r>
                  <a:rPr lang="en-US" altLang="zh-CN" sz="1400" b="1" kern="0">
                    <a:latin typeface="Times New Roman"/>
                    <a:ea typeface="Microsoft YaHei"/>
                  </a:rPr>
                  <a:t>/</a:t>
                </a:r>
                <a:r>
                  <a:rPr lang="zh-CN" altLang="en-US" sz="1400" b="1" kern="0">
                    <a:latin typeface="Times New Roman"/>
                    <a:ea typeface="Microsoft YaHei"/>
                  </a:rPr>
                  <a:t>提升方向</a:t>
                </a:r>
                <a:endParaRPr kumimoji="0" lang="zh-CN" altLang="en-US" sz="1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Times New Roman"/>
                  <a:ea typeface="Microsoft YaHei"/>
                  <a:cs typeface="+mn-cs"/>
                </a:endParaRPr>
              </a:p>
            </p:txBody>
          </p:sp>
          <p:sp>
            <p:nvSpPr>
              <p:cNvPr id="52" name="Rectangle 59">
                <a:extLst>
                  <a:ext uri="{FF2B5EF4-FFF2-40B4-BE49-F238E27FC236}">
                    <a16:creationId xmlns:a16="http://schemas.microsoft.com/office/drawing/2014/main" id="{7EBFF4C7-AE2C-5CD4-9F05-11FCAFA30191}"/>
                  </a:ext>
                </a:extLst>
              </p:cNvPr>
              <p:cNvSpPr/>
              <p:nvPr/>
            </p:nvSpPr>
            <p:spPr>
              <a:xfrm>
                <a:off x="9966693" y="1044241"/>
                <a:ext cx="253249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</p:grpSp>
        <p:pic>
          <p:nvPicPr>
            <p:cNvPr id="55" name="Graphic 66">
              <a:extLst>
                <a:ext uri="{FF2B5EF4-FFF2-40B4-BE49-F238E27FC236}">
                  <a16:creationId xmlns:a16="http://schemas.microsoft.com/office/drawing/2014/main" id="{46E33D4C-F0E4-F422-6716-A80BBCDD53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653055" y="1138070"/>
              <a:ext cx="164992" cy="256032"/>
            </a:xfrm>
            <a:prstGeom prst="rect">
              <a:avLst/>
            </a:prstGeom>
          </p:spPr>
        </p:pic>
      </p:grpSp>
      <p:sp>
        <p:nvSpPr>
          <p:cNvPr id="56" name="矩形 189">
            <a:extLst>
              <a:ext uri="{FF2B5EF4-FFF2-40B4-BE49-F238E27FC236}">
                <a16:creationId xmlns:a16="http://schemas.microsoft.com/office/drawing/2014/main" id="{C9CDC39A-79BF-9E57-BAA2-2DE9D1DAF8B3}"/>
              </a:ext>
            </a:extLst>
          </p:cNvPr>
          <p:cNvSpPr/>
          <p:nvPr/>
        </p:nvSpPr>
        <p:spPr>
          <a:xfrm>
            <a:off x="8209971" y="1253944"/>
            <a:ext cx="3784965" cy="5422278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系统现状：</a:t>
            </a:r>
            <a:endParaRPr lang="en-US" altLang="zh-CN" sz="1200" b="1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1. </a:t>
            </a:r>
            <a:r>
              <a:rPr lang="zh-CN" altLang="en-US" sz="1200" b="1">
                <a:latin typeface="+mj-ea"/>
                <a:ea typeface="+mj-ea"/>
              </a:rPr>
              <a:t>推广费计提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>
                <a:latin typeface="+mj-ea"/>
                <a:ea typeface="+mj-ea"/>
              </a:rPr>
              <a:t>FSSC</a:t>
            </a:r>
            <a:r>
              <a:rPr lang="zh-CN" altLang="en-US" sz="1200">
                <a:latin typeface="+mj-ea"/>
                <a:ea typeface="+mj-ea"/>
              </a:rPr>
              <a:t>系统中通过费用申请单计提推广费，下月全部手工冲销；</a:t>
            </a:r>
            <a:endParaRPr lang="en-US" altLang="zh-CN" sz="1200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2. </a:t>
            </a:r>
            <a:r>
              <a:rPr lang="zh-CN" altLang="en-US" sz="1200" b="1">
                <a:latin typeface="+mj-ea"/>
                <a:ea typeface="+mj-ea"/>
              </a:rPr>
              <a:t>推广费报销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FSSC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</a:t>
            </a:r>
            <a:r>
              <a:rPr lang="zh-CN" altLang="en-US" sz="1200">
                <a:latin typeface="+mj-ea"/>
                <a:ea typeface="+mj-ea"/>
              </a:rPr>
              <a:t>中通过费用报销单进行费用报销，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无过程管控</a:t>
            </a:r>
            <a:r>
              <a:rPr lang="zh-CN" altLang="en-US" sz="1200" b="1">
                <a:latin typeface="+mj-ea"/>
                <a:ea typeface="+mj-ea"/>
              </a:rPr>
              <a:t>。</a:t>
            </a:r>
            <a:endParaRPr lang="en-US" altLang="zh-CN" sz="1200">
              <a:latin typeface="+mj-ea"/>
              <a:ea typeface="+mj-ea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提升方向：</a:t>
            </a:r>
            <a:endParaRPr lang="en-US" altLang="zh-CN" sz="1200" b="1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MPM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定位</a:t>
            </a:r>
            <a:r>
              <a:rPr lang="en-US" altLang="zh-CN" sz="1200">
                <a:latin typeface="+mj-ea"/>
                <a:ea typeface="+mj-ea"/>
              </a:rPr>
              <a:t>MPM</a:t>
            </a:r>
            <a:r>
              <a:rPr lang="zh-CN" altLang="en-US" sz="1200">
                <a:latin typeface="+mj-ea"/>
                <a:ea typeface="+mj-ea"/>
              </a:rPr>
              <a:t>系统为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推广费项目管理系统</a:t>
            </a:r>
            <a:r>
              <a:rPr lang="zh-CN" altLang="en-US" sz="1200">
                <a:latin typeface="+mj-ea"/>
                <a:ea typeface="+mj-ea"/>
              </a:rPr>
              <a:t>，构建推广费项目预算管理、预算拆解等功能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SRM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接收</a:t>
            </a:r>
            <a:r>
              <a:rPr lang="en-US" altLang="zh-CN" sz="1200">
                <a:latin typeface="+mj-ea"/>
                <a:ea typeface="+mj-ea"/>
              </a:rPr>
              <a:t>MPM</a:t>
            </a:r>
            <a:r>
              <a:rPr lang="zh-CN" altLang="en-US" sz="1200">
                <a:latin typeface="+mj-ea"/>
                <a:ea typeface="+mj-ea"/>
              </a:rPr>
              <a:t>系统项目预算，发起采购申请，搭建推广业务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供应商、寻源报价、采购合同、订单履行、对账等功能</a:t>
            </a:r>
            <a:r>
              <a:rPr lang="zh-CN" altLang="en-US" sz="1200">
                <a:latin typeface="+mj-ea"/>
                <a:ea typeface="+mj-ea"/>
              </a:rPr>
              <a:t>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SAP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承接各系统业务执行结果，实现多维度推广费核算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结算平台：</a:t>
            </a:r>
            <a:r>
              <a:rPr lang="zh-CN" altLang="en-US" sz="1200">
                <a:latin typeface="+mj-ea"/>
                <a:ea typeface="+mj-ea"/>
              </a:rPr>
              <a:t>搭建结算平台，对接</a:t>
            </a:r>
            <a:r>
              <a:rPr lang="en-US" altLang="zh-CN" sz="1200">
                <a:latin typeface="+mj-ea"/>
                <a:ea typeface="+mj-ea"/>
              </a:rPr>
              <a:t>ERP</a:t>
            </a:r>
            <a:r>
              <a:rPr lang="zh-CN" altLang="en-US" sz="1200">
                <a:latin typeface="+mj-ea"/>
                <a:ea typeface="+mj-ea"/>
              </a:rPr>
              <a:t>系统中推广费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费用明细清单及应付账款余额</a:t>
            </a:r>
            <a:r>
              <a:rPr lang="zh-CN" altLang="en-US" sz="1200">
                <a:latin typeface="+mj-ea"/>
                <a:ea typeface="+mj-ea"/>
              </a:rPr>
              <a:t>，推送</a:t>
            </a:r>
            <a:r>
              <a:rPr lang="en-US" altLang="zh-CN" sz="1200">
                <a:latin typeface="+mj-ea"/>
                <a:ea typeface="+mj-ea"/>
              </a:rPr>
              <a:t>SRM</a:t>
            </a:r>
            <a:r>
              <a:rPr lang="zh-CN" altLang="en-US" sz="1200">
                <a:latin typeface="+mj-ea"/>
                <a:ea typeface="+mj-ea"/>
              </a:rPr>
              <a:t>系统进行供应商对账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费用中心：</a:t>
            </a:r>
            <a:r>
              <a:rPr lang="zh-CN" altLang="en-US" sz="1200">
                <a:latin typeface="+mj-ea"/>
                <a:ea typeface="+mj-ea"/>
              </a:rPr>
              <a:t>建设费用中心对推广费的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费用分析</a:t>
            </a:r>
            <a:r>
              <a:rPr lang="zh-CN" altLang="en-US" sz="1200">
                <a:latin typeface="+mj-ea"/>
                <a:ea typeface="+mj-ea"/>
              </a:rPr>
              <a:t>功能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推广费系统：</a:t>
            </a:r>
            <a:r>
              <a:rPr lang="zh-CN" altLang="en-US" sz="1200">
                <a:latin typeface="+mj-ea"/>
                <a:ea typeface="+mj-ea"/>
              </a:rPr>
              <a:t>建议未来由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SRM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承接推广费系统对应功能</a:t>
            </a:r>
            <a:r>
              <a:rPr lang="zh-CN" altLang="en-US" sz="1200">
                <a:latin typeface="+mj-ea"/>
                <a:ea typeface="+mj-ea"/>
              </a:rPr>
              <a:t>。</a:t>
            </a:r>
            <a:endParaRPr lang="en-US" altLang="zh-CN" sz="1200">
              <a:latin typeface="+mj-ea"/>
              <a:ea typeface="+mj-ea"/>
            </a:endParaRPr>
          </a:p>
        </p:txBody>
      </p: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E55475C0-EEA7-6FC8-07A8-9B1D970C7AE3}"/>
              </a:ext>
            </a:extLst>
          </p:cNvPr>
          <p:cNvGrpSpPr/>
          <p:nvPr/>
        </p:nvGrpSpPr>
        <p:grpSpPr>
          <a:xfrm>
            <a:off x="308757" y="904656"/>
            <a:ext cx="7709724" cy="307776"/>
            <a:chOff x="393790" y="1071756"/>
            <a:chExt cx="7955080" cy="307776"/>
          </a:xfrm>
        </p:grpSpPr>
        <p:cxnSp>
          <p:nvCxnSpPr>
            <p:cNvPr id="81" name="Straight Connector 38">
              <a:extLst>
                <a:ext uri="{FF2B5EF4-FFF2-40B4-BE49-F238E27FC236}">
                  <a16:creationId xmlns:a16="http://schemas.microsoft.com/office/drawing/2014/main" id="{A2F57F02-A4EE-079F-E620-EC487EA988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790" y="1218242"/>
              <a:ext cx="7955080" cy="7402"/>
            </a:xfrm>
            <a:prstGeom prst="line">
              <a:avLst/>
            </a:prstGeom>
            <a:noFill/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diamond"/>
              <a:tailEnd type="diamond"/>
            </a:ln>
            <a:effectLst/>
          </p:spPr>
        </p:cxnSp>
        <p:sp>
          <p:nvSpPr>
            <p:cNvPr id="82" name="Rectangle 24">
              <a:extLst>
                <a:ext uri="{FF2B5EF4-FFF2-40B4-BE49-F238E27FC236}">
                  <a16:creationId xmlns:a16="http://schemas.microsoft.com/office/drawing/2014/main" id="{161D99B6-FF3E-1D66-D890-AD0BA723250A}"/>
                </a:ext>
              </a:extLst>
            </p:cNvPr>
            <p:cNvSpPr/>
            <p:nvPr/>
          </p:nvSpPr>
          <p:spPr>
            <a:xfrm>
              <a:off x="3546889" y="1071756"/>
              <a:ext cx="2103120" cy="307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r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400" b="1">
                  <a:latin typeface="Microsoft YaHei"/>
                  <a:ea typeface="Microsoft YaHei"/>
                  <a:cs typeface="Arial" panose="020B0604020202020204" pitchFamily="34" charset="0"/>
                </a:rPr>
                <a:t>推广费长</a:t>
              </a:r>
              <a:r>
                <a:rPr kumimoji="1" lang="zh-CN" altLang="en-US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YaHei"/>
                  <a:ea typeface="Microsoft YaHei"/>
                  <a:cs typeface="Arial" panose="020B0604020202020204" pitchFamily="34" charset="0"/>
                </a:rPr>
                <a:t>期方案</a:t>
              </a:r>
              <a:endParaRPr kumimoji="1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Arial" panose="020B0604020202020204" pitchFamily="34" charset="0"/>
              </a:endParaRPr>
            </a:p>
          </p:txBody>
        </p:sp>
        <p:grpSp>
          <p:nvGrpSpPr>
            <p:cNvPr id="83" name="Group 55">
              <a:extLst>
                <a:ext uri="{FF2B5EF4-FFF2-40B4-BE49-F238E27FC236}">
                  <a16:creationId xmlns:a16="http://schemas.microsoft.com/office/drawing/2014/main" id="{748F363F-598A-5DBE-07A4-E7706396C922}"/>
                </a:ext>
              </a:extLst>
            </p:cNvPr>
            <p:cNvGrpSpPr/>
            <p:nvPr/>
          </p:nvGrpSpPr>
          <p:grpSpPr>
            <a:xfrm>
              <a:off x="3432303" y="1071757"/>
              <a:ext cx="431104" cy="307775"/>
              <a:chOff x="3126173" y="1114361"/>
              <a:chExt cx="431104" cy="307775"/>
            </a:xfrm>
          </p:grpSpPr>
          <p:sp>
            <p:nvSpPr>
              <p:cNvPr id="85" name="Rectangle 49">
                <a:extLst>
                  <a:ext uri="{FF2B5EF4-FFF2-40B4-BE49-F238E27FC236}">
                    <a16:creationId xmlns:a16="http://schemas.microsoft.com/office/drawing/2014/main" id="{41959D13-B337-0497-F283-252FB5609711}"/>
                  </a:ext>
                </a:extLst>
              </p:cNvPr>
              <p:cNvSpPr/>
              <p:nvPr/>
            </p:nvSpPr>
            <p:spPr>
              <a:xfrm>
                <a:off x="3126173" y="1114361"/>
                <a:ext cx="431104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86" name="Graphic 44">
                <a:extLst>
                  <a:ext uri="{FF2B5EF4-FFF2-40B4-BE49-F238E27FC236}">
                    <a16:creationId xmlns:a16="http://schemas.microsoft.com/office/drawing/2014/main" id="{7DBEA2AB-F8B5-08BD-1641-5CCA8D47DC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204565" y="1122751"/>
                <a:ext cx="274320" cy="252882"/>
              </a:xfrm>
              <a:prstGeom prst="rect">
                <a:avLst/>
              </a:prstGeom>
            </p:spPr>
          </p:pic>
        </p:grpSp>
      </p:grpSp>
      <p:sp>
        <p:nvSpPr>
          <p:cNvPr id="99" name="Rectangle 17">
            <a:extLst>
              <a:ext uri="{FF2B5EF4-FFF2-40B4-BE49-F238E27FC236}">
                <a16:creationId xmlns:a16="http://schemas.microsoft.com/office/drawing/2014/main" id="{271B20AC-F24A-6727-E5CF-95D6D300F1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3026" y="4264754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招投标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0" name="矩形 189">
            <a:extLst>
              <a:ext uri="{FF2B5EF4-FFF2-40B4-BE49-F238E27FC236}">
                <a16:creationId xmlns:a16="http://schemas.microsoft.com/office/drawing/2014/main" id="{1DA86A75-B960-2B54-8DEB-60CB24714A25}"/>
              </a:ext>
            </a:extLst>
          </p:cNvPr>
          <p:cNvSpPr/>
          <p:nvPr/>
        </p:nvSpPr>
        <p:spPr>
          <a:xfrm>
            <a:off x="301660" y="1250994"/>
            <a:ext cx="7709724" cy="5426813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81323"/>
              </a:buClr>
              <a:buSzPct val="130000"/>
              <a:tabLst/>
              <a:defRPr/>
            </a:pPr>
            <a:endParaRPr lang="en-US" altLang="zh-CN" sz="1200" b="1">
              <a:latin typeface="+mj-ea"/>
              <a:ea typeface="+mj-ea"/>
            </a:endParaRPr>
          </a:p>
        </p:txBody>
      </p:sp>
      <p:sp>
        <p:nvSpPr>
          <p:cNvPr id="109" name="Rectangle 18">
            <a:extLst>
              <a:ext uri="{FF2B5EF4-FFF2-40B4-BE49-F238E27FC236}">
                <a16:creationId xmlns:a16="http://schemas.microsoft.com/office/drawing/2014/main" id="{B7214C6E-0F32-2725-6DCC-13C740D2A0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275" y="6144965"/>
            <a:ext cx="7702626" cy="531258"/>
          </a:xfrm>
          <a:prstGeom prst="rect">
            <a:avLst/>
          </a:prstGeom>
          <a:solidFill>
            <a:srgbClr val="1084D0">
              <a:alpha val="7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vert="eaVert"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10" name="TextBox 48">
            <a:extLst>
              <a:ext uri="{FF2B5EF4-FFF2-40B4-BE49-F238E27FC236}">
                <a16:creationId xmlns:a16="http://schemas.microsoft.com/office/drawing/2014/main" id="{0246DDA4-1652-16BA-CB24-12EB02CE0D55}"/>
              </a:ext>
            </a:extLst>
          </p:cNvPr>
          <p:cNvSpPr txBox="1"/>
          <p:nvPr/>
        </p:nvSpPr>
        <p:spPr>
          <a:xfrm>
            <a:off x="155119" y="6181484"/>
            <a:ext cx="810816" cy="539323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r>
              <a:rPr lang="en-US" altLang="zh-CN" b="1">
                <a:latin typeface="+mn-ea"/>
              </a:rPr>
              <a:t>MDM</a:t>
            </a:r>
            <a:endParaRPr lang="en-US" b="1">
              <a:latin typeface="+mn-ea"/>
            </a:endParaRPr>
          </a:p>
        </p:txBody>
      </p:sp>
      <p:sp>
        <p:nvSpPr>
          <p:cNvPr id="112" name="Rectangle 17">
            <a:extLst>
              <a:ext uri="{FF2B5EF4-FFF2-40B4-BE49-F238E27FC236}">
                <a16:creationId xmlns:a16="http://schemas.microsoft.com/office/drawing/2014/main" id="{044A6CA2-F78F-5A2B-40C5-F01A38F76C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907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5" name="Rectangle 17">
            <a:extLst>
              <a:ext uri="{FF2B5EF4-FFF2-40B4-BE49-F238E27FC236}">
                <a16:creationId xmlns:a16="http://schemas.microsoft.com/office/drawing/2014/main" id="{803B49B9-0E73-5981-A97B-828E591DA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3230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7" name="Rectangle 17">
            <a:extLst>
              <a:ext uri="{FF2B5EF4-FFF2-40B4-BE49-F238E27FC236}">
                <a16:creationId xmlns:a16="http://schemas.microsoft.com/office/drawing/2014/main" id="{1C799E89-17D7-50FB-1171-1AFCD878F2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0521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账户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8" name="Rectangle 17">
            <a:extLst>
              <a:ext uri="{FF2B5EF4-FFF2-40B4-BE49-F238E27FC236}">
                <a16:creationId xmlns:a16="http://schemas.microsoft.com/office/drawing/2014/main" id="{B6EBD142-5AB5-D181-5E4B-F84EDA2602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2553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渠道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2" name="Rectangle 17">
            <a:extLst>
              <a:ext uri="{FF2B5EF4-FFF2-40B4-BE49-F238E27FC236}">
                <a16:creationId xmlns:a16="http://schemas.microsoft.com/office/drawing/2014/main" id="{5B2D1DA8-90A9-F18E-DCE7-167B3FFDB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876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区域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4" name="Rectangle 18">
            <a:extLst>
              <a:ext uri="{FF2B5EF4-FFF2-40B4-BE49-F238E27FC236}">
                <a16:creationId xmlns:a16="http://schemas.microsoft.com/office/drawing/2014/main" id="{62D3B640-4A90-B350-049B-3E2334A461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9439" y="1955429"/>
            <a:ext cx="5033317" cy="1052003"/>
          </a:xfrm>
          <a:prstGeom prst="rect">
            <a:avLst/>
          </a:prstGeom>
          <a:solidFill>
            <a:srgbClr val="F2F2F2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MP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26" name="Rectangle 50">
            <a:extLst>
              <a:ext uri="{FF2B5EF4-FFF2-40B4-BE49-F238E27FC236}">
                <a16:creationId xmlns:a16="http://schemas.microsoft.com/office/drawing/2014/main" id="{ACE84A0D-155F-43A8-8A57-79E56688D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1748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结项复盘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34" name="Rectangle 17">
            <a:extLst>
              <a:ext uri="{FF2B5EF4-FFF2-40B4-BE49-F238E27FC236}">
                <a16:creationId xmlns:a16="http://schemas.microsoft.com/office/drawing/2014/main" id="{55054CB2-60FD-98A9-5029-40AF50469F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6981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预算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" name="Rectangle 17">
            <a:extLst>
              <a:ext uri="{FF2B5EF4-FFF2-40B4-BE49-F238E27FC236}">
                <a16:creationId xmlns:a16="http://schemas.microsoft.com/office/drawing/2014/main" id="{9860A6DF-5C68-C31A-94E8-8A78C161F1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094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附件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箭头: 右 3">
            <a:extLst>
              <a:ext uri="{FF2B5EF4-FFF2-40B4-BE49-F238E27FC236}">
                <a16:creationId xmlns:a16="http://schemas.microsoft.com/office/drawing/2014/main" id="{F2744372-ED7F-C1E4-437F-42D7D85A9001}"/>
              </a:ext>
            </a:extLst>
          </p:cNvPr>
          <p:cNvSpPr/>
          <p:nvPr/>
        </p:nvSpPr>
        <p:spPr>
          <a:xfrm rot="16200000">
            <a:off x="823796" y="596504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箭头: 右 50">
            <a:extLst>
              <a:ext uri="{FF2B5EF4-FFF2-40B4-BE49-F238E27FC236}">
                <a16:creationId xmlns:a16="http://schemas.microsoft.com/office/drawing/2014/main" id="{94AE6377-D923-D7E4-77F4-E910CEC12EB6}"/>
              </a:ext>
            </a:extLst>
          </p:cNvPr>
          <p:cNvSpPr/>
          <p:nvPr/>
        </p:nvSpPr>
        <p:spPr>
          <a:xfrm rot="10800000">
            <a:off x="4407197" y="520600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箭头: 右 52">
            <a:extLst>
              <a:ext uri="{FF2B5EF4-FFF2-40B4-BE49-F238E27FC236}">
                <a16:creationId xmlns:a16="http://schemas.microsoft.com/office/drawing/2014/main" id="{9D717655-90B3-B672-A51F-CBDA17DAEAC8}"/>
              </a:ext>
            </a:extLst>
          </p:cNvPr>
          <p:cNvSpPr/>
          <p:nvPr/>
        </p:nvSpPr>
        <p:spPr>
          <a:xfrm>
            <a:off x="4394264" y="446027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Rectangle 30">
            <a:extLst>
              <a:ext uri="{FF2B5EF4-FFF2-40B4-BE49-F238E27FC236}">
                <a16:creationId xmlns:a16="http://schemas.microsoft.com/office/drawing/2014/main" id="{5C039F13-0454-07BF-6A56-3A3BEC837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3135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立项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8" name="Rectangle 5">
            <a:extLst>
              <a:ext uri="{FF2B5EF4-FFF2-40B4-BE49-F238E27FC236}">
                <a16:creationId xmlns:a16="http://schemas.microsoft.com/office/drawing/2014/main" id="{F4278DE9-3955-53EB-9783-BF9CF760E40D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40" name="Rectangle 18">
            <a:extLst>
              <a:ext uri="{FF2B5EF4-FFF2-40B4-BE49-F238E27FC236}">
                <a16:creationId xmlns:a16="http://schemas.microsoft.com/office/drawing/2014/main" id="{FBD981CB-3606-A850-645B-4404AB7FD3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8249" y="1954329"/>
            <a:ext cx="1309832" cy="2738186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38" name="Rectangle 84">
            <a:extLst>
              <a:ext uri="{FF2B5EF4-FFF2-40B4-BE49-F238E27FC236}">
                <a16:creationId xmlns:a16="http://schemas.microsoft.com/office/drawing/2014/main" id="{79517A75-9E37-67DD-ED9E-E12247BF27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7061" y="3279352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提出付款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1" name="Rectangle 85">
            <a:extLst>
              <a:ext uri="{FF2B5EF4-FFF2-40B4-BE49-F238E27FC236}">
                <a16:creationId xmlns:a16="http://schemas.microsoft.com/office/drawing/2014/main" id="{98B473A6-18A4-B43F-F7A3-3761F6CCE6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7061" y="3783531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通知银行付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4" name="Rectangle 85">
            <a:extLst>
              <a:ext uri="{FF2B5EF4-FFF2-40B4-BE49-F238E27FC236}">
                <a16:creationId xmlns:a16="http://schemas.microsoft.com/office/drawing/2014/main" id="{552D9B66-B4AD-4B1E-1599-38BC2BFD28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7061" y="4287711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付款确认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DB22AF5-BAC5-902E-F5C8-B86B603DE846}"/>
              </a:ext>
            </a:extLst>
          </p:cNvPr>
          <p:cNvSpPr txBox="1"/>
          <p:nvPr/>
        </p:nvSpPr>
        <p:spPr>
          <a:xfrm>
            <a:off x="5618963" y="4068644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服务主数据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1AC2D51-2161-8661-1945-3EE380E4E1BA}"/>
              </a:ext>
            </a:extLst>
          </p:cNvPr>
          <p:cNvSpPr txBox="1"/>
          <p:nvPr/>
        </p:nvSpPr>
        <p:spPr>
          <a:xfrm>
            <a:off x="4597274" y="4581479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申请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A84FDE8-FCF8-2DF5-B5BF-6A5DCD206B12}"/>
              </a:ext>
            </a:extLst>
          </p:cNvPr>
          <p:cNvSpPr txBox="1"/>
          <p:nvPr/>
        </p:nvSpPr>
        <p:spPr>
          <a:xfrm>
            <a:off x="4597274" y="5087967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服务确认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C112D3C-A170-C5DA-72CE-C6599B5C9BA0}"/>
              </a:ext>
            </a:extLst>
          </p:cNvPr>
          <p:cNvSpPr txBox="1"/>
          <p:nvPr/>
        </p:nvSpPr>
        <p:spPr>
          <a:xfrm>
            <a:off x="4597274" y="5594455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应付账款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DE2A1E0-4BD9-F0F2-A8BB-B3E97ECBBB14}"/>
              </a:ext>
            </a:extLst>
          </p:cNvPr>
          <p:cNvSpPr txBox="1"/>
          <p:nvPr/>
        </p:nvSpPr>
        <p:spPr>
          <a:xfrm>
            <a:off x="5630449" y="4574050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订单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94C7ED8-678D-FE15-F153-7B7A84033A2B}"/>
              </a:ext>
            </a:extLst>
          </p:cNvPr>
          <p:cNvSpPr txBox="1"/>
          <p:nvPr/>
        </p:nvSpPr>
        <p:spPr>
          <a:xfrm>
            <a:off x="5630449" y="5079456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发票校验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9" name="箭头: 右 58">
            <a:extLst>
              <a:ext uri="{FF2B5EF4-FFF2-40B4-BE49-F238E27FC236}">
                <a16:creationId xmlns:a16="http://schemas.microsoft.com/office/drawing/2014/main" id="{100F6A83-0C25-7843-96C1-E74EA2F6037E}"/>
              </a:ext>
            </a:extLst>
          </p:cNvPr>
          <p:cNvSpPr/>
          <p:nvPr/>
        </p:nvSpPr>
        <p:spPr>
          <a:xfrm rot="16200000">
            <a:off x="5486159" y="362864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6D967CCF-5E54-4443-F254-F5EF3F13B6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1199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8" name="Rectangle 18">
            <a:extLst>
              <a:ext uri="{FF2B5EF4-FFF2-40B4-BE49-F238E27FC236}">
                <a16:creationId xmlns:a16="http://schemas.microsoft.com/office/drawing/2014/main" id="{5A40EAB2-F340-89D1-CAC7-C7EBE81A0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1807" y="1932862"/>
            <a:ext cx="1106586" cy="1074570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PBF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62" name="Rectangle 84">
            <a:extLst>
              <a:ext uri="{FF2B5EF4-FFF2-40B4-BE49-F238E27FC236}">
                <a16:creationId xmlns:a16="http://schemas.microsoft.com/office/drawing/2014/main" id="{D0A540FA-02CA-2729-343D-ACD21C960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3295" y="2204904"/>
            <a:ext cx="900000" cy="252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编制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5" name="Rectangle 17">
            <a:extLst>
              <a:ext uri="{FF2B5EF4-FFF2-40B4-BE49-F238E27FC236}">
                <a16:creationId xmlns:a16="http://schemas.microsoft.com/office/drawing/2014/main" id="{41D8764D-010E-967C-8C56-4B8D04D27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887" y="4936016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8" name="文本框 127">
            <a:extLst>
              <a:ext uri="{FF2B5EF4-FFF2-40B4-BE49-F238E27FC236}">
                <a16:creationId xmlns:a16="http://schemas.microsoft.com/office/drawing/2014/main" id="{51A7BC38-8138-F466-285C-40E73BED99D6}"/>
              </a:ext>
            </a:extLst>
          </p:cNvPr>
          <p:cNvSpPr txBox="1"/>
          <p:nvPr/>
        </p:nvSpPr>
        <p:spPr>
          <a:xfrm>
            <a:off x="5630449" y="5584862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往来清账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2" name="Rectangle 17">
            <a:extLst>
              <a:ext uri="{FF2B5EF4-FFF2-40B4-BE49-F238E27FC236}">
                <a16:creationId xmlns:a16="http://schemas.microsoft.com/office/drawing/2014/main" id="{B369E46F-C620-11FD-B784-38AFBDCF9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887" y="4558942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接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7" name="文本框 126">
            <a:extLst>
              <a:ext uri="{FF2B5EF4-FFF2-40B4-BE49-F238E27FC236}">
                <a16:creationId xmlns:a16="http://schemas.microsoft.com/office/drawing/2014/main" id="{537F6AF6-3D1C-E755-E43A-2DF5AD845BFF}"/>
              </a:ext>
            </a:extLst>
          </p:cNvPr>
          <p:cNvSpPr txBox="1"/>
          <p:nvPr/>
        </p:nvSpPr>
        <p:spPr>
          <a:xfrm>
            <a:off x="4597274" y="4074991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项目</a:t>
            </a: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主数据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7" name="Rectangle 17">
            <a:extLst>
              <a:ext uri="{FF2B5EF4-FFF2-40B4-BE49-F238E27FC236}">
                <a16:creationId xmlns:a16="http://schemas.microsoft.com/office/drawing/2014/main" id="{87CF77C4-AE11-BAC1-2210-776C1E4AFF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9660" y="3322108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明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96" name="Rectangle 17">
            <a:extLst>
              <a:ext uri="{FF2B5EF4-FFF2-40B4-BE49-F238E27FC236}">
                <a16:creationId xmlns:a16="http://schemas.microsoft.com/office/drawing/2014/main" id="{4064D806-2FE2-E53D-B694-BE159914C0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887" y="5313090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验收管理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98" name="Rectangle 17">
            <a:extLst>
              <a:ext uri="{FF2B5EF4-FFF2-40B4-BE49-F238E27FC236}">
                <a16:creationId xmlns:a16="http://schemas.microsoft.com/office/drawing/2014/main" id="{766E9DE0-3AD9-A620-6FC5-55E745111B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8963" y="3326725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付账款余额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" name="Rectangle 84">
            <a:extLst>
              <a:ext uri="{FF2B5EF4-FFF2-40B4-BE49-F238E27FC236}">
                <a16:creationId xmlns:a16="http://schemas.microsoft.com/office/drawing/2014/main" id="{8FE2089A-7FFE-140B-A8E9-C4EF0AEB79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327" y="2581976"/>
            <a:ext cx="900000" cy="252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下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5" name="Rectangle 18">
            <a:extLst>
              <a:ext uri="{FF2B5EF4-FFF2-40B4-BE49-F238E27FC236}">
                <a16:creationId xmlns:a16="http://schemas.microsoft.com/office/drawing/2014/main" id="{3772F819-D521-B498-F383-8AD75EFA82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8282" y="4771154"/>
            <a:ext cx="1317969" cy="1227606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资金管理平台</a:t>
            </a:r>
          </a:p>
        </p:txBody>
      </p:sp>
      <p:sp>
        <p:nvSpPr>
          <p:cNvPr id="54" name="Rectangle 84">
            <a:extLst>
              <a:ext uri="{FF2B5EF4-FFF2-40B4-BE49-F238E27FC236}">
                <a16:creationId xmlns:a16="http://schemas.microsoft.com/office/drawing/2014/main" id="{5D294140-2CC3-07F8-16A7-3793A4E17E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9705" y="5066848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资金支付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7" name="Rectangle 84">
            <a:extLst>
              <a:ext uri="{FF2B5EF4-FFF2-40B4-BE49-F238E27FC236}">
                <a16:creationId xmlns:a16="http://schemas.microsoft.com/office/drawing/2014/main" id="{75D60AE7-FBF4-74BB-376F-A245638942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9705" y="5581157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回单确认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1" name="箭头: 右 100">
            <a:extLst>
              <a:ext uri="{FF2B5EF4-FFF2-40B4-BE49-F238E27FC236}">
                <a16:creationId xmlns:a16="http://schemas.microsoft.com/office/drawing/2014/main" id="{3CB2492A-8AB6-B52F-ED4E-97767A7D8949}"/>
              </a:ext>
            </a:extLst>
          </p:cNvPr>
          <p:cNvSpPr/>
          <p:nvPr/>
        </p:nvSpPr>
        <p:spPr>
          <a:xfrm rot="16200000">
            <a:off x="2109295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箭头: 右 101">
            <a:extLst>
              <a:ext uri="{FF2B5EF4-FFF2-40B4-BE49-F238E27FC236}">
                <a16:creationId xmlns:a16="http://schemas.microsoft.com/office/drawing/2014/main" id="{32B07F15-F498-0570-42EE-6CD7711831EC}"/>
              </a:ext>
            </a:extLst>
          </p:cNvPr>
          <p:cNvSpPr/>
          <p:nvPr/>
        </p:nvSpPr>
        <p:spPr>
          <a:xfrm rot="16200000">
            <a:off x="3394794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箭头: 右 104">
            <a:extLst>
              <a:ext uri="{FF2B5EF4-FFF2-40B4-BE49-F238E27FC236}">
                <a16:creationId xmlns:a16="http://schemas.microsoft.com/office/drawing/2014/main" id="{15AB6091-B7BE-608D-0100-028F8701EDA3}"/>
              </a:ext>
            </a:extLst>
          </p:cNvPr>
          <p:cNvSpPr/>
          <p:nvPr/>
        </p:nvSpPr>
        <p:spPr>
          <a:xfrm rot="16200000">
            <a:off x="4680293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箭头: 右 105">
            <a:extLst>
              <a:ext uri="{FF2B5EF4-FFF2-40B4-BE49-F238E27FC236}">
                <a16:creationId xmlns:a16="http://schemas.microsoft.com/office/drawing/2014/main" id="{83773241-E896-11C4-AD72-A7D44727E069}"/>
              </a:ext>
            </a:extLst>
          </p:cNvPr>
          <p:cNvSpPr/>
          <p:nvPr/>
        </p:nvSpPr>
        <p:spPr>
          <a:xfrm rot="16200000">
            <a:off x="5965792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箭头: 右 106">
            <a:extLst>
              <a:ext uri="{FF2B5EF4-FFF2-40B4-BE49-F238E27FC236}">
                <a16:creationId xmlns:a16="http://schemas.microsoft.com/office/drawing/2014/main" id="{BD052F94-FE10-E276-F88F-3B7939B0DB8A}"/>
              </a:ext>
            </a:extLst>
          </p:cNvPr>
          <p:cNvSpPr/>
          <p:nvPr/>
        </p:nvSpPr>
        <p:spPr>
          <a:xfrm rot="16200000">
            <a:off x="7251290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箭头: 右 107">
            <a:extLst>
              <a:ext uri="{FF2B5EF4-FFF2-40B4-BE49-F238E27FC236}">
                <a16:creationId xmlns:a16="http://schemas.microsoft.com/office/drawing/2014/main" id="{6D754720-5B2F-26B5-27E5-ACA9DE958D1E}"/>
              </a:ext>
            </a:extLst>
          </p:cNvPr>
          <p:cNvSpPr/>
          <p:nvPr/>
        </p:nvSpPr>
        <p:spPr>
          <a:xfrm rot="5400000">
            <a:off x="2302973" y="296688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1" name="箭头: 右 110">
            <a:extLst>
              <a:ext uri="{FF2B5EF4-FFF2-40B4-BE49-F238E27FC236}">
                <a16:creationId xmlns:a16="http://schemas.microsoft.com/office/drawing/2014/main" id="{F3F2B00A-42FE-7D3E-A2CA-05A93A29FC63}"/>
              </a:ext>
            </a:extLst>
          </p:cNvPr>
          <p:cNvSpPr/>
          <p:nvPr/>
        </p:nvSpPr>
        <p:spPr>
          <a:xfrm rot="5400000">
            <a:off x="3526416" y="2964929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3" name="箭头: 右 122">
            <a:extLst>
              <a:ext uri="{FF2B5EF4-FFF2-40B4-BE49-F238E27FC236}">
                <a16:creationId xmlns:a16="http://schemas.microsoft.com/office/drawing/2014/main" id="{6B52A992-F0B6-49A2-18FD-743C8D68A4B6}"/>
              </a:ext>
            </a:extLst>
          </p:cNvPr>
          <p:cNvSpPr/>
          <p:nvPr/>
        </p:nvSpPr>
        <p:spPr>
          <a:xfrm rot="10800000">
            <a:off x="4393400" y="342390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4" name="箭头: 右 123">
            <a:extLst>
              <a:ext uri="{FF2B5EF4-FFF2-40B4-BE49-F238E27FC236}">
                <a16:creationId xmlns:a16="http://schemas.microsoft.com/office/drawing/2014/main" id="{743C2350-44EC-EA34-BFB9-3F1A11C91113}"/>
              </a:ext>
            </a:extLst>
          </p:cNvPr>
          <p:cNvSpPr/>
          <p:nvPr/>
        </p:nvSpPr>
        <p:spPr>
          <a:xfrm>
            <a:off x="4393400" y="317848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5" name="箭头: 右 124">
            <a:extLst>
              <a:ext uri="{FF2B5EF4-FFF2-40B4-BE49-F238E27FC236}">
                <a16:creationId xmlns:a16="http://schemas.microsoft.com/office/drawing/2014/main" id="{916FF9D9-516F-0452-930C-32D531C562C8}"/>
              </a:ext>
            </a:extLst>
          </p:cNvPr>
          <p:cNvSpPr/>
          <p:nvPr/>
        </p:nvSpPr>
        <p:spPr>
          <a:xfrm rot="10800000">
            <a:off x="6561853" y="430327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6" name="箭头: 右 125">
            <a:extLst>
              <a:ext uri="{FF2B5EF4-FFF2-40B4-BE49-F238E27FC236}">
                <a16:creationId xmlns:a16="http://schemas.microsoft.com/office/drawing/2014/main" id="{8D82F92B-51C1-9DFE-9D97-323638004835}"/>
              </a:ext>
            </a:extLst>
          </p:cNvPr>
          <p:cNvSpPr/>
          <p:nvPr/>
        </p:nvSpPr>
        <p:spPr>
          <a:xfrm>
            <a:off x="6589564" y="3911414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Rectangle 17">
            <a:extLst>
              <a:ext uri="{FF2B5EF4-FFF2-40B4-BE49-F238E27FC236}">
                <a16:creationId xmlns:a16="http://schemas.microsoft.com/office/drawing/2014/main" id="{1F837267-C549-9F28-B048-4FCBFA5913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899" y="1470793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费用查询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1" name="Rectangle 17">
            <a:extLst>
              <a:ext uri="{FF2B5EF4-FFF2-40B4-BE49-F238E27FC236}">
                <a16:creationId xmlns:a16="http://schemas.microsoft.com/office/drawing/2014/main" id="{65142242-231F-FC51-B02D-B2F89E67D1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4721" y="1472289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预算查询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3" name="Rectangle 17">
            <a:extLst>
              <a:ext uri="{FF2B5EF4-FFF2-40B4-BE49-F238E27FC236}">
                <a16:creationId xmlns:a16="http://schemas.microsoft.com/office/drawing/2014/main" id="{B10521D2-53C2-FF33-93B7-850D7860B0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887" y="3427720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立项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5" name="Rectangle 17">
            <a:extLst>
              <a:ext uri="{FF2B5EF4-FFF2-40B4-BE49-F238E27FC236}">
                <a16:creationId xmlns:a16="http://schemas.microsoft.com/office/drawing/2014/main" id="{C9E8BE40-6EAD-92FE-7E1A-BFD92FFC7D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887" y="4181868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派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6" name="Rectangle 17">
            <a:extLst>
              <a:ext uri="{FF2B5EF4-FFF2-40B4-BE49-F238E27FC236}">
                <a16:creationId xmlns:a16="http://schemas.microsoft.com/office/drawing/2014/main" id="{0FE68884-A7CB-3112-81F7-FF44447AB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887" y="3804794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7" name="Rectangle 17">
            <a:extLst>
              <a:ext uri="{FF2B5EF4-FFF2-40B4-BE49-F238E27FC236}">
                <a16:creationId xmlns:a16="http://schemas.microsoft.com/office/drawing/2014/main" id="{315821CD-4198-9A5B-3BEA-3345B977A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887" y="5690162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报销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0" name="Rectangle 17">
            <a:extLst>
              <a:ext uri="{FF2B5EF4-FFF2-40B4-BE49-F238E27FC236}">
                <a16:creationId xmlns:a16="http://schemas.microsoft.com/office/drawing/2014/main" id="{F050CBE3-49EA-A9CF-8CB2-266A06DF37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7422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拆解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4" name="Rectangle 84">
            <a:extLst>
              <a:ext uri="{FF2B5EF4-FFF2-40B4-BE49-F238E27FC236}">
                <a16:creationId xmlns:a16="http://schemas.microsoft.com/office/drawing/2014/main" id="{AE1A1E8D-0C93-55A4-47BD-8CF30CF70F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7061" y="2270994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6" name="Rectangle 84">
            <a:extLst>
              <a:ext uri="{FF2B5EF4-FFF2-40B4-BE49-F238E27FC236}">
                <a16:creationId xmlns:a16="http://schemas.microsoft.com/office/drawing/2014/main" id="{1BB32611-D945-FBBF-A3D8-C48DB8C617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7061" y="2775173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报销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8" name="箭头: 右 77">
            <a:extLst>
              <a:ext uri="{FF2B5EF4-FFF2-40B4-BE49-F238E27FC236}">
                <a16:creationId xmlns:a16="http://schemas.microsoft.com/office/drawing/2014/main" id="{052E2156-6930-BF1F-908F-9B25F495DB67}"/>
              </a:ext>
            </a:extLst>
          </p:cNvPr>
          <p:cNvSpPr/>
          <p:nvPr/>
        </p:nvSpPr>
        <p:spPr>
          <a:xfrm rot="10800000">
            <a:off x="6541331" y="265880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箭头: 右 78">
            <a:extLst>
              <a:ext uri="{FF2B5EF4-FFF2-40B4-BE49-F238E27FC236}">
                <a16:creationId xmlns:a16="http://schemas.microsoft.com/office/drawing/2014/main" id="{73DA05AA-093D-504D-A3DA-8FEF860526F2}"/>
              </a:ext>
            </a:extLst>
          </p:cNvPr>
          <p:cNvSpPr/>
          <p:nvPr/>
        </p:nvSpPr>
        <p:spPr>
          <a:xfrm>
            <a:off x="6569042" y="2266942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箭头: 右 83">
            <a:extLst>
              <a:ext uri="{FF2B5EF4-FFF2-40B4-BE49-F238E27FC236}">
                <a16:creationId xmlns:a16="http://schemas.microsoft.com/office/drawing/2014/main" id="{2B69AAAE-B97A-F539-7D02-8BA67F0E0B85}"/>
              </a:ext>
            </a:extLst>
          </p:cNvPr>
          <p:cNvSpPr/>
          <p:nvPr/>
        </p:nvSpPr>
        <p:spPr>
          <a:xfrm rot="16200000">
            <a:off x="7086421" y="178415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" name="箭头: 右 87">
            <a:extLst>
              <a:ext uri="{FF2B5EF4-FFF2-40B4-BE49-F238E27FC236}">
                <a16:creationId xmlns:a16="http://schemas.microsoft.com/office/drawing/2014/main" id="{94770DC7-234B-764B-3522-C3FD48D89472}"/>
              </a:ext>
            </a:extLst>
          </p:cNvPr>
          <p:cNvSpPr/>
          <p:nvPr/>
        </p:nvSpPr>
        <p:spPr>
          <a:xfrm rot="16200000">
            <a:off x="5517306" y="178415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箭头: 右 88">
            <a:extLst>
              <a:ext uri="{FF2B5EF4-FFF2-40B4-BE49-F238E27FC236}">
                <a16:creationId xmlns:a16="http://schemas.microsoft.com/office/drawing/2014/main" id="{6B4082B8-0391-3703-1A0B-1927AA066B9B}"/>
              </a:ext>
            </a:extLst>
          </p:cNvPr>
          <p:cNvSpPr/>
          <p:nvPr/>
        </p:nvSpPr>
        <p:spPr>
          <a:xfrm rot="16200000">
            <a:off x="3948192" y="178415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1" name="箭头: 右 90">
            <a:extLst>
              <a:ext uri="{FF2B5EF4-FFF2-40B4-BE49-F238E27FC236}">
                <a16:creationId xmlns:a16="http://schemas.microsoft.com/office/drawing/2014/main" id="{B455937C-7A11-349F-2F8C-E724F156C7F4}"/>
              </a:ext>
            </a:extLst>
          </p:cNvPr>
          <p:cNvSpPr/>
          <p:nvPr/>
        </p:nvSpPr>
        <p:spPr>
          <a:xfrm rot="16200000">
            <a:off x="809964" y="178415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3" name="箭头: 右 112">
            <a:extLst>
              <a:ext uri="{FF2B5EF4-FFF2-40B4-BE49-F238E27FC236}">
                <a16:creationId xmlns:a16="http://schemas.microsoft.com/office/drawing/2014/main" id="{0B443D9D-81DA-50D5-22E9-69FD2ABD9673}"/>
              </a:ext>
            </a:extLst>
          </p:cNvPr>
          <p:cNvSpPr/>
          <p:nvPr/>
        </p:nvSpPr>
        <p:spPr>
          <a:xfrm rot="16200000">
            <a:off x="2379078" y="178415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6" name="箭头: 右 115">
            <a:extLst>
              <a:ext uri="{FF2B5EF4-FFF2-40B4-BE49-F238E27FC236}">
                <a16:creationId xmlns:a16="http://schemas.microsoft.com/office/drawing/2014/main" id="{DE9E7195-BE69-6CC7-7891-5A2E10331846}"/>
              </a:ext>
            </a:extLst>
          </p:cNvPr>
          <p:cNvSpPr/>
          <p:nvPr/>
        </p:nvSpPr>
        <p:spPr>
          <a:xfrm rot="5400000">
            <a:off x="7012919" y="461156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9" name="箭头: 右 118">
            <a:extLst>
              <a:ext uri="{FF2B5EF4-FFF2-40B4-BE49-F238E27FC236}">
                <a16:creationId xmlns:a16="http://schemas.microsoft.com/office/drawing/2014/main" id="{7B2621EC-64FE-3A4A-2D0C-21C7A0E86821}"/>
              </a:ext>
            </a:extLst>
          </p:cNvPr>
          <p:cNvSpPr/>
          <p:nvPr/>
        </p:nvSpPr>
        <p:spPr>
          <a:xfrm rot="16200000">
            <a:off x="7503242" y="459912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1" name="Rectangle 50">
            <a:extLst>
              <a:ext uri="{FF2B5EF4-FFF2-40B4-BE49-F238E27FC236}">
                <a16:creationId xmlns:a16="http://schemas.microsoft.com/office/drawing/2014/main" id="{646F9E71-1BD5-4C25-8557-F88EBB3400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8744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项目考核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2" name="Rectangle 17">
            <a:extLst>
              <a:ext uri="{FF2B5EF4-FFF2-40B4-BE49-F238E27FC236}">
                <a16:creationId xmlns:a16="http://schemas.microsoft.com/office/drawing/2014/main" id="{475679F0-B833-5851-5FBB-E61D434530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2441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任务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33" name="Rectangle 30">
            <a:extLst>
              <a:ext uri="{FF2B5EF4-FFF2-40B4-BE49-F238E27FC236}">
                <a16:creationId xmlns:a16="http://schemas.microsoft.com/office/drawing/2014/main" id="{E11B18C3-31AC-3C29-7DC5-B4D802BEF6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2788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流程审批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4" name="Rectangle 50">
            <a:extLst>
              <a:ext uri="{FF2B5EF4-FFF2-40B4-BE49-F238E27FC236}">
                <a16:creationId xmlns:a16="http://schemas.microsoft.com/office/drawing/2014/main" id="{63696F22-9B00-F0FE-93FE-28464012D5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7863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费用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5" name="Rectangle 50">
            <a:extLst>
              <a:ext uri="{FF2B5EF4-FFF2-40B4-BE49-F238E27FC236}">
                <a16:creationId xmlns:a16="http://schemas.microsoft.com/office/drawing/2014/main" id="{82043D1C-B00B-F813-38B8-9167E3E692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8304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指标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6" name="箭头: 右 135">
            <a:extLst>
              <a:ext uri="{FF2B5EF4-FFF2-40B4-BE49-F238E27FC236}">
                <a16:creationId xmlns:a16="http://schemas.microsoft.com/office/drawing/2014/main" id="{1D41288A-B276-32EB-F428-8316C58AB564}"/>
              </a:ext>
            </a:extLst>
          </p:cNvPr>
          <p:cNvSpPr/>
          <p:nvPr/>
        </p:nvSpPr>
        <p:spPr>
          <a:xfrm>
            <a:off x="1416373" y="2249190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7" name="Rectangle 17">
            <a:extLst>
              <a:ext uri="{FF2B5EF4-FFF2-40B4-BE49-F238E27FC236}">
                <a16:creationId xmlns:a16="http://schemas.microsoft.com/office/drawing/2014/main" id="{B85FE731-D8B8-4139-F03F-67C9366050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6925" y="1471462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科目费用查询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38" name="Rectangle 17">
            <a:extLst>
              <a:ext uri="{FF2B5EF4-FFF2-40B4-BE49-F238E27FC236}">
                <a16:creationId xmlns:a16="http://schemas.microsoft.com/office/drawing/2014/main" id="{96D6341E-AE5A-B22E-2FA5-88E2606918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0480" y="1471347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动因费用查询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39" name="Rectangle 17">
            <a:extLst>
              <a:ext uri="{FF2B5EF4-FFF2-40B4-BE49-F238E27FC236}">
                <a16:creationId xmlns:a16="http://schemas.microsoft.com/office/drawing/2014/main" id="{AE89F2CA-A3B9-E072-2FC3-7D06902B85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8963" y="1472289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实分析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143" name="组合 142">
            <a:extLst>
              <a:ext uri="{FF2B5EF4-FFF2-40B4-BE49-F238E27FC236}">
                <a16:creationId xmlns:a16="http://schemas.microsoft.com/office/drawing/2014/main" id="{51E0636A-FA57-2D17-ECE4-91A493701DF4}"/>
              </a:ext>
            </a:extLst>
          </p:cNvPr>
          <p:cNvGrpSpPr/>
          <p:nvPr/>
        </p:nvGrpSpPr>
        <p:grpSpPr>
          <a:xfrm>
            <a:off x="147209" y="1248844"/>
            <a:ext cx="5004741" cy="2809007"/>
            <a:chOff x="385745" y="1248844"/>
            <a:chExt cx="5004741" cy="2809007"/>
          </a:xfrm>
        </p:grpSpPr>
        <p:sp>
          <p:nvSpPr>
            <p:cNvPr id="71" name="Oval 510">
              <a:extLst>
                <a:ext uri="{FF2B5EF4-FFF2-40B4-BE49-F238E27FC236}">
                  <a16:creationId xmlns:a16="http://schemas.microsoft.com/office/drawing/2014/main" id="{7F1D12B8-7BBB-7570-3A11-549195A3243A}"/>
                </a:ext>
              </a:extLst>
            </p:cNvPr>
            <p:cNvSpPr/>
            <p:nvPr/>
          </p:nvSpPr>
          <p:spPr>
            <a:xfrm>
              <a:off x="3711591" y="1957048"/>
              <a:ext cx="274320" cy="274320"/>
            </a:xfrm>
            <a:prstGeom prst="ellipse">
              <a:avLst/>
            </a:prstGeom>
            <a:solidFill>
              <a:srgbClr val="E81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1</a:t>
              </a:r>
            </a:p>
          </p:txBody>
        </p:sp>
        <p:sp>
          <p:nvSpPr>
            <p:cNvPr id="73" name="Oval 510">
              <a:extLst>
                <a:ext uri="{FF2B5EF4-FFF2-40B4-BE49-F238E27FC236}">
                  <a16:creationId xmlns:a16="http://schemas.microsoft.com/office/drawing/2014/main" id="{6E65EC3F-FF48-9B95-A785-B384250A13B2}"/>
                </a:ext>
              </a:extLst>
            </p:cNvPr>
            <p:cNvSpPr/>
            <p:nvPr/>
          </p:nvSpPr>
          <p:spPr>
            <a:xfrm>
              <a:off x="5084749" y="3783531"/>
              <a:ext cx="274320" cy="274320"/>
            </a:xfrm>
            <a:prstGeom prst="ellipse">
              <a:avLst/>
            </a:prstGeom>
            <a:solidFill>
              <a:srgbClr val="E81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3</a:t>
              </a:r>
            </a:p>
          </p:txBody>
        </p:sp>
        <p:sp>
          <p:nvSpPr>
            <p:cNvPr id="94" name="Oval 510">
              <a:extLst>
                <a:ext uri="{FF2B5EF4-FFF2-40B4-BE49-F238E27FC236}">
                  <a16:creationId xmlns:a16="http://schemas.microsoft.com/office/drawing/2014/main" id="{44BBE95D-A158-811D-1769-1377B0FBC9E5}"/>
                </a:ext>
              </a:extLst>
            </p:cNvPr>
            <p:cNvSpPr/>
            <p:nvPr/>
          </p:nvSpPr>
          <p:spPr>
            <a:xfrm>
              <a:off x="5116166" y="3086436"/>
              <a:ext cx="274320" cy="274320"/>
            </a:xfrm>
            <a:prstGeom prst="ellipse">
              <a:avLst/>
            </a:prstGeom>
            <a:solidFill>
              <a:srgbClr val="E81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4</a:t>
              </a:r>
            </a:p>
          </p:txBody>
        </p:sp>
        <p:sp>
          <p:nvSpPr>
            <p:cNvPr id="72" name="Oval 510">
              <a:extLst>
                <a:ext uri="{FF2B5EF4-FFF2-40B4-BE49-F238E27FC236}">
                  <a16:creationId xmlns:a16="http://schemas.microsoft.com/office/drawing/2014/main" id="{73BE0095-B33D-CE3C-8AE5-953BB91FD4CE}"/>
                </a:ext>
              </a:extLst>
            </p:cNvPr>
            <p:cNvSpPr/>
            <p:nvPr/>
          </p:nvSpPr>
          <p:spPr>
            <a:xfrm>
              <a:off x="2731419" y="3087597"/>
              <a:ext cx="274320" cy="274320"/>
            </a:xfrm>
            <a:prstGeom prst="ellipse">
              <a:avLst/>
            </a:prstGeom>
            <a:solidFill>
              <a:srgbClr val="E81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2</a:t>
              </a:r>
            </a:p>
          </p:txBody>
        </p:sp>
        <p:sp>
          <p:nvSpPr>
            <p:cNvPr id="141" name="Oval 510">
              <a:extLst>
                <a:ext uri="{FF2B5EF4-FFF2-40B4-BE49-F238E27FC236}">
                  <a16:creationId xmlns:a16="http://schemas.microsoft.com/office/drawing/2014/main" id="{4E2E81F9-341B-F92C-5EC0-AA8277E4B415}"/>
                </a:ext>
              </a:extLst>
            </p:cNvPr>
            <p:cNvSpPr/>
            <p:nvPr/>
          </p:nvSpPr>
          <p:spPr>
            <a:xfrm>
              <a:off x="3718367" y="1248844"/>
              <a:ext cx="274320" cy="274320"/>
            </a:xfrm>
            <a:prstGeom prst="ellipse">
              <a:avLst/>
            </a:prstGeom>
            <a:solidFill>
              <a:srgbClr val="E81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5</a:t>
              </a:r>
            </a:p>
          </p:txBody>
        </p:sp>
        <p:sp>
          <p:nvSpPr>
            <p:cNvPr id="142" name="Oval 510">
              <a:extLst>
                <a:ext uri="{FF2B5EF4-FFF2-40B4-BE49-F238E27FC236}">
                  <a16:creationId xmlns:a16="http://schemas.microsoft.com/office/drawing/2014/main" id="{E2202677-B239-3195-B011-9B53EFCBFB3A}"/>
                </a:ext>
              </a:extLst>
            </p:cNvPr>
            <p:cNvSpPr/>
            <p:nvPr/>
          </p:nvSpPr>
          <p:spPr>
            <a:xfrm>
              <a:off x="385745" y="3081049"/>
              <a:ext cx="274320" cy="274320"/>
            </a:xfrm>
            <a:prstGeom prst="ellipse">
              <a:avLst/>
            </a:prstGeom>
            <a:solidFill>
              <a:srgbClr val="E81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625586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18">
            <a:extLst>
              <a:ext uri="{FF2B5EF4-FFF2-40B4-BE49-F238E27FC236}">
                <a16:creationId xmlns:a16="http://schemas.microsoft.com/office/drawing/2014/main" id="{D338BD34-600C-A13E-7B60-A3B2362F48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46" y="1263103"/>
            <a:ext cx="7702626" cy="604219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费用中心</a:t>
            </a:r>
          </a:p>
        </p:txBody>
      </p:sp>
      <p:sp>
        <p:nvSpPr>
          <p:cNvPr id="49" name="Rectangle 18">
            <a:extLst>
              <a:ext uri="{FF2B5EF4-FFF2-40B4-BE49-F238E27FC236}">
                <a16:creationId xmlns:a16="http://schemas.microsoft.com/office/drawing/2014/main" id="{67F1AB62-4748-5067-DA39-B8F8FF8DF7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31" y="3099015"/>
            <a:ext cx="1080230" cy="2971151"/>
          </a:xfrm>
          <a:prstGeom prst="rect">
            <a:avLst/>
          </a:prstGeom>
          <a:solidFill>
            <a:schemeClr val="bg1">
              <a:lumMod val="85000"/>
              <a:alpha val="70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推广费系统</a:t>
            </a:r>
          </a:p>
        </p:txBody>
      </p:sp>
      <p:sp>
        <p:nvSpPr>
          <p:cNvPr id="64" name="Rectangle 18">
            <a:extLst>
              <a:ext uri="{FF2B5EF4-FFF2-40B4-BE49-F238E27FC236}">
                <a16:creationId xmlns:a16="http://schemas.microsoft.com/office/drawing/2014/main" id="{EB298ED1-FAA3-E801-D0D5-C9B0DE061C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6067" y="3083006"/>
            <a:ext cx="2076205" cy="604219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结算平台</a:t>
            </a:r>
          </a:p>
        </p:txBody>
      </p:sp>
      <p:sp>
        <p:nvSpPr>
          <p:cNvPr id="43" name="Rectangle 18">
            <a:extLst>
              <a:ext uri="{FF2B5EF4-FFF2-40B4-BE49-F238E27FC236}">
                <a16:creationId xmlns:a16="http://schemas.microsoft.com/office/drawing/2014/main" id="{63B4EB4D-803B-B99B-F427-61856A1A59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89" y="3779591"/>
            <a:ext cx="2077961" cy="2219169"/>
          </a:xfrm>
          <a:prstGeom prst="rect">
            <a:avLst/>
          </a:prstGeom>
          <a:solidFill>
            <a:srgbClr val="C0E9FF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AP ERP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10984A-1973-E074-373C-41FA2BFB49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0729" y="3077784"/>
            <a:ext cx="2906060" cy="2999479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R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8" name="Rectangle 18">
            <a:extLst>
              <a:ext uri="{FF2B5EF4-FFF2-40B4-BE49-F238E27FC236}">
                <a16:creationId xmlns:a16="http://schemas.microsoft.com/office/drawing/2014/main" id="{404DBAC2-18F7-7509-B24D-258FC79C2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1314" y="3400292"/>
            <a:ext cx="1259736" cy="1167428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管理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3E9A57-CB75-5562-65AA-BBEC656EC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03430" y="6424571"/>
            <a:ext cx="585140" cy="232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FE292F-1EBE-6D4A-B339-A324D614A372}" type="slidenum">
              <a:rPr kumimoji="1" lang="zh-CN" altLang="en-US" smtClean="0"/>
              <a:pPr/>
              <a:t>32</a:t>
            </a:fld>
            <a:endParaRPr kumimoji="1" lang="zh-CN" alt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351361-B5FC-3B4C-93C7-23720EA4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10282312" cy="706293"/>
          </a:xfrm>
        </p:spPr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长期系统方案：及时自动核算多维度推广费核算</a:t>
            </a:r>
            <a:endParaRPr lang="en-US"/>
          </a:p>
        </p:txBody>
      </p:sp>
      <p:sp>
        <p:nvSpPr>
          <p:cNvPr id="16" name="Rectangle 18">
            <a:extLst>
              <a:ext uri="{FF2B5EF4-FFF2-40B4-BE49-F238E27FC236}">
                <a16:creationId xmlns:a16="http://schemas.microsoft.com/office/drawing/2014/main" id="{E26698F4-350E-C049-E5A1-A718B51A9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6524" y="3643411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准入</a:t>
            </a:r>
          </a:p>
        </p:txBody>
      </p:sp>
      <p:sp>
        <p:nvSpPr>
          <p:cNvPr id="103" name="Rectangle 30">
            <a:extLst>
              <a:ext uri="{FF2B5EF4-FFF2-40B4-BE49-F238E27FC236}">
                <a16:creationId xmlns:a16="http://schemas.microsoft.com/office/drawing/2014/main" id="{9A73E786-6CEC-FA2E-31C5-1EC4AC4A38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6524" y="3961446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0" name="Rectangle 18">
            <a:extLst>
              <a:ext uri="{FF2B5EF4-FFF2-40B4-BE49-F238E27FC236}">
                <a16:creationId xmlns:a16="http://schemas.microsoft.com/office/drawing/2014/main" id="{8215F382-68BB-1B97-CCAA-840E1E959B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5098" y="3403782"/>
            <a:ext cx="1259735" cy="1167428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寻源协同</a:t>
            </a:r>
          </a:p>
        </p:txBody>
      </p:sp>
      <p:sp>
        <p:nvSpPr>
          <p:cNvPr id="293" name="Rectangle 17">
            <a:extLst>
              <a:ext uri="{FF2B5EF4-FFF2-40B4-BE49-F238E27FC236}">
                <a16:creationId xmlns:a16="http://schemas.microsoft.com/office/drawing/2014/main" id="{1D3F46A8-6AEA-A772-BC95-CC446FDE02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7217" y="3647302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询报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5725C3B3-43B9-537F-C7B6-625F0AE8E3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7217" y="3951872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竞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3" name="Rectangle 18">
            <a:extLst>
              <a:ext uri="{FF2B5EF4-FFF2-40B4-BE49-F238E27FC236}">
                <a16:creationId xmlns:a16="http://schemas.microsoft.com/office/drawing/2014/main" id="{542C84DF-0CFC-603E-8CE0-FE2C218111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3613" y="4643006"/>
            <a:ext cx="2572725" cy="409423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管理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A6E260C3-8A19-6E3B-53B3-51E1DD373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0754" y="5109429"/>
            <a:ext cx="2572725" cy="430310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订单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履行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0D9DE54B-B5AC-44E7-593C-AA89FD48D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3613" y="5597280"/>
            <a:ext cx="2559866" cy="411017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财务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协同</a:t>
            </a: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D3852551-1543-EC05-EBF5-F7FB94D8B0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4761" y="5681011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结算单对账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7E31F183-EB64-54BF-4381-1DC44EFD0C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1921" y="5681363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发票上传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审核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44136927-858F-6DA3-98D9-F71401917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1835" y="4740444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年框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B7316411-D4C5-299C-1622-5F54EC5A98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421" y="4740444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6DC6D3BB-3AAF-C52A-02D2-5DCB03804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4761" y="5206001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186652DF-610C-F1BF-04ED-DD93B0BC4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4555" y="5206001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7" name="Rectangle 18">
            <a:extLst>
              <a:ext uri="{FF2B5EF4-FFF2-40B4-BE49-F238E27FC236}">
                <a16:creationId xmlns:a16="http://schemas.microsoft.com/office/drawing/2014/main" id="{6278E8FF-BB7D-DCA7-2BF6-971FBC8C52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6524" y="4260334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绩效考核</a:t>
            </a:r>
          </a:p>
        </p:txBody>
      </p: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09FC2D6D-FC1A-E7EA-44DB-BD5B54CFE610}"/>
              </a:ext>
            </a:extLst>
          </p:cNvPr>
          <p:cNvGrpSpPr/>
          <p:nvPr/>
        </p:nvGrpSpPr>
        <p:grpSpPr>
          <a:xfrm>
            <a:off x="8000262" y="866137"/>
            <a:ext cx="4128789" cy="313175"/>
            <a:chOff x="10133105" y="1104727"/>
            <a:chExt cx="2058895" cy="313175"/>
          </a:xfrm>
        </p:grpSpPr>
        <p:grpSp>
          <p:nvGrpSpPr>
            <p:cNvPr id="47" name="Group 63">
              <a:extLst>
                <a:ext uri="{FF2B5EF4-FFF2-40B4-BE49-F238E27FC236}">
                  <a16:creationId xmlns:a16="http://schemas.microsoft.com/office/drawing/2014/main" id="{FF07DC3E-8926-7696-EFE5-9C8B8A49AFD5}"/>
                </a:ext>
              </a:extLst>
            </p:cNvPr>
            <p:cNvGrpSpPr/>
            <p:nvPr/>
          </p:nvGrpSpPr>
          <p:grpSpPr>
            <a:xfrm>
              <a:off x="10133105" y="1104727"/>
              <a:ext cx="2058895" cy="313175"/>
              <a:chOff x="9344415" y="1038841"/>
              <a:chExt cx="2551176" cy="313175"/>
            </a:xfrm>
          </p:grpSpPr>
          <p:cxnSp>
            <p:nvCxnSpPr>
              <p:cNvPr id="48" name="Straight Connector 38">
                <a:extLst>
                  <a:ext uri="{FF2B5EF4-FFF2-40B4-BE49-F238E27FC236}">
                    <a16:creationId xmlns:a16="http://schemas.microsoft.com/office/drawing/2014/main" id="{A4AB9685-F160-7599-DDB2-7C31B65E8C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44415" y="1225644"/>
                <a:ext cx="2551176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 type="diamond"/>
                <a:tailEnd type="diamond"/>
              </a:ln>
              <a:effectLst/>
            </p:spPr>
          </p:cxnSp>
          <p:sp>
            <p:nvSpPr>
              <p:cNvPr id="50" name="TextBox 39">
                <a:extLst>
                  <a:ext uri="{FF2B5EF4-FFF2-40B4-BE49-F238E27FC236}">
                    <a16:creationId xmlns:a16="http://schemas.microsoft.com/office/drawing/2014/main" id="{60FC412D-CA07-B12E-2A4E-460DD39CBF79}"/>
                  </a:ext>
                </a:extLst>
              </p:cNvPr>
              <p:cNvSpPr txBox="1"/>
              <p:nvPr/>
            </p:nvSpPr>
            <p:spPr>
              <a:xfrm>
                <a:off x="10193126" y="1038841"/>
                <a:ext cx="1115431" cy="307777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1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Times New Roman"/>
                    <a:ea typeface="Microsoft YaHei"/>
                    <a:cs typeface="+mn-cs"/>
                  </a:rPr>
                  <a:t>现状</a:t>
                </a:r>
                <a:r>
                  <a:rPr lang="en-US" altLang="zh-CN" sz="1400" b="1" kern="0">
                    <a:latin typeface="Times New Roman"/>
                    <a:ea typeface="Microsoft YaHei"/>
                  </a:rPr>
                  <a:t>/</a:t>
                </a:r>
                <a:r>
                  <a:rPr lang="zh-CN" altLang="en-US" sz="1400" b="1" kern="0">
                    <a:latin typeface="Times New Roman"/>
                    <a:ea typeface="Microsoft YaHei"/>
                  </a:rPr>
                  <a:t>提升方向</a:t>
                </a:r>
                <a:endParaRPr kumimoji="0" lang="zh-CN" altLang="en-US" sz="1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Times New Roman"/>
                  <a:ea typeface="Microsoft YaHei"/>
                  <a:cs typeface="+mn-cs"/>
                </a:endParaRPr>
              </a:p>
            </p:txBody>
          </p:sp>
          <p:sp>
            <p:nvSpPr>
              <p:cNvPr id="52" name="Rectangle 59">
                <a:extLst>
                  <a:ext uri="{FF2B5EF4-FFF2-40B4-BE49-F238E27FC236}">
                    <a16:creationId xmlns:a16="http://schemas.microsoft.com/office/drawing/2014/main" id="{7EBFF4C7-AE2C-5CD4-9F05-11FCAFA30191}"/>
                  </a:ext>
                </a:extLst>
              </p:cNvPr>
              <p:cNvSpPr/>
              <p:nvPr/>
            </p:nvSpPr>
            <p:spPr>
              <a:xfrm>
                <a:off x="9966693" y="1044241"/>
                <a:ext cx="253249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</p:grpSp>
        <p:pic>
          <p:nvPicPr>
            <p:cNvPr id="55" name="Graphic 66">
              <a:extLst>
                <a:ext uri="{FF2B5EF4-FFF2-40B4-BE49-F238E27FC236}">
                  <a16:creationId xmlns:a16="http://schemas.microsoft.com/office/drawing/2014/main" id="{46E33D4C-F0E4-F422-6716-A80BBCDD53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653055" y="1138070"/>
              <a:ext cx="164992" cy="256032"/>
            </a:xfrm>
            <a:prstGeom prst="rect">
              <a:avLst/>
            </a:prstGeom>
          </p:spPr>
        </p:pic>
      </p:grpSp>
      <p:sp>
        <p:nvSpPr>
          <p:cNvPr id="56" name="矩形 189">
            <a:extLst>
              <a:ext uri="{FF2B5EF4-FFF2-40B4-BE49-F238E27FC236}">
                <a16:creationId xmlns:a16="http://schemas.microsoft.com/office/drawing/2014/main" id="{C9CDC39A-79BF-9E57-BAA2-2DE9D1DAF8B3}"/>
              </a:ext>
            </a:extLst>
          </p:cNvPr>
          <p:cNvSpPr/>
          <p:nvPr/>
        </p:nvSpPr>
        <p:spPr>
          <a:xfrm>
            <a:off x="7835938" y="1242166"/>
            <a:ext cx="4331289" cy="5422278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系统现状：</a:t>
            </a:r>
            <a:endParaRPr lang="en-US" altLang="zh-CN" sz="1200" b="1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1. </a:t>
            </a:r>
            <a:r>
              <a:rPr lang="zh-CN" altLang="en-US" sz="1200" b="1">
                <a:latin typeface="+mj-ea"/>
                <a:ea typeface="+mj-ea"/>
              </a:rPr>
              <a:t>推广费计提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>
                <a:latin typeface="+mj-ea"/>
                <a:ea typeface="+mj-ea"/>
              </a:rPr>
              <a:t>FSSC</a:t>
            </a:r>
            <a:r>
              <a:rPr lang="zh-CN" altLang="en-US" sz="1200">
                <a:latin typeface="+mj-ea"/>
                <a:ea typeface="+mj-ea"/>
              </a:rPr>
              <a:t>系统中通过费用申请单计提推广费，下月全部手工冲销；</a:t>
            </a:r>
            <a:endParaRPr lang="en-US" altLang="zh-CN" sz="1200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2. </a:t>
            </a:r>
            <a:r>
              <a:rPr lang="zh-CN" altLang="en-US" sz="1200" b="1">
                <a:latin typeface="+mj-ea"/>
                <a:ea typeface="+mj-ea"/>
              </a:rPr>
              <a:t>推广费报销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FSSC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</a:t>
            </a:r>
            <a:r>
              <a:rPr lang="zh-CN" altLang="en-US" sz="1200">
                <a:latin typeface="+mj-ea"/>
                <a:ea typeface="+mj-ea"/>
              </a:rPr>
              <a:t>中通过费用报销单进行费用报销，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无过程管控</a:t>
            </a:r>
            <a:r>
              <a:rPr lang="zh-CN" altLang="en-US" sz="1200" b="1">
                <a:latin typeface="+mj-ea"/>
                <a:ea typeface="+mj-ea"/>
              </a:rPr>
              <a:t>。</a:t>
            </a:r>
            <a:endParaRPr lang="en-US" altLang="zh-CN" sz="1200">
              <a:latin typeface="+mj-ea"/>
              <a:ea typeface="+mj-ea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提升方向：</a:t>
            </a:r>
            <a:endParaRPr lang="en-US" altLang="zh-CN" sz="1200" b="1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PBF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推广费预算下达至</a:t>
            </a:r>
            <a:r>
              <a:rPr lang="en-US" altLang="zh-CN" sz="1200">
                <a:latin typeface="+mj-ea"/>
                <a:ea typeface="+mj-ea"/>
              </a:rPr>
              <a:t>MPM</a:t>
            </a:r>
            <a:r>
              <a:rPr lang="zh-CN" altLang="en-US" sz="1200">
                <a:latin typeface="+mj-ea"/>
                <a:ea typeface="+mj-ea"/>
              </a:rPr>
              <a:t>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MPM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定位</a:t>
            </a:r>
            <a:r>
              <a:rPr lang="en-US" altLang="zh-CN" sz="1200">
                <a:latin typeface="+mj-ea"/>
                <a:ea typeface="+mj-ea"/>
              </a:rPr>
              <a:t>MPM</a:t>
            </a:r>
            <a:r>
              <a:rPr lang="zh-CN" altLang="en-US" sz="1200">
                <a:latin typeface="+mj-ea"/>
                <a:ea typeface="+mj-ea"/>
              </a:rPr>
              <a:t>系统为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推广费项目管理系统</a:t>
            </a:r>
            <a:r>
              <a:rPr lang="zh-CN" altLang="en-US" sz="1200">
                <a:latin typeface="+mj-ea"/>
                <a:ea typeface="+mj-ea"/>
              </a:rPr>
              <a:t>，承接</a:t>
            </a:r>
            <a:r>
              <a:rPr lang="en-US" altLang="zh-CN" sz="1200">
                <a:latin typeface="+mj-ea"/>
                <a:ea typeface="+mj-ea"/>
              </a:rPr>
              <a:t>PBF</a:t>
            </a:r>
            <a:r>
              <a:rPr lang="zh-CN" altLang="en-US" sz="1200">
                <a:latin typeface="+mj-ea"/>
                <a:ea typeface="+mj-ea"/>
              </a:rPr>
              <a:t>下达的推广费预算，搭建项目预算管理、预算拆解、预算调整等功能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SRM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接收</a:t>
            </a:r>
            <a:r>
              <a:rPr lang="en-US" altLang="zh-CN" sz="1200">
                <a:latin typeface="+mj-ea"/>
                <a:ea typeface="+mj-ea"/>
              </a:rPr>
              <a:t>MPM</a:t>
            </a:r>
            <a:r>
              <a:rPr lang="zh-CN" altLang="en-US" sz="1200">
                <a:latin typeface="+mj-ea"/>
                <a:ea typeface="+mj-ea"/>
              </a:rPr>
              <a:t>系统项目预算，发起采购申请，搭建推广业务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供应商、寻源报价、采购合同、订单履行、对账等功能</a:t>
            </a:r>
            <a:r>
              <a:rPr lang="zh-CN" altLang="en-US" sz="1200">
                <a:latin typeface="+mj-ea"/>
                <a:ea typeface="+mj-ea"/>
              </a:rPr>
              <a:t>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SAP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承接各系统业务执行结果，实现多维度推广费核算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结算平台：</a:t>
            </a:r>
            <a:r>
              <a:rPr lang="zh-CN" altLang="en-US" sz="1200">
                <a:latin typeface="+mj-ea"/>
                <a:ea typeface="+mj-ea"/>
              </a:rPr>
              <a:t>搭建结算平台，对接</a:t>
            </a:r>
            <a:r>
              <a:rPr lang="en-US" altLang="zh-CN" sz="1200">
                <a:latin typeface="+mj-ea"/>
                <a:ea typeface="+mj-ea"/>
              </a:rPr>
              <a:t>ERP</a:t>
            </a:r>
            <a:r>
              <a:rPr lang="zh-CN" altLang="en-US" sz="1200">
                <a:latin typeface="+mj-ea"/>
                <a:ea typeface="+mj-ea"/>
              </a:rPr>
              <a:t>系统中推广费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费用明细清单及应付账款余额</a:t>
            </a:r>
            <a:r>
              <a:rPr lang="zh-CN" altLang="en-US" sz="1200">
                <a:latin typeface="+mj-ea"/>
                <a:ea typeface="+mj-ea"/>
              </a:rPr>
              <a:t>，推送</a:t>
            </a:r>
            <a:r>
              <a:rPr lang="en-US" altLang="zh-CN" sz="1200">
                <a:latin typeface="+mj-ea"/>
                <a:ea typeface="+mj-ea"/>
              </a:rPr>
              <a:t>SRM</a:t>
            </a:r>
            <a:r>
              <a:rPr lang="zh-CN" altLang="en-US" sz="1200">
                <a:latin typeface="+mj-ea"/>
                <a:ea typeface="+mj-ea"/>
              </a:rPr>
              <a:t>系统进行供应商对账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费用中心：</a:t>
            </a:r>
            <a:r>
              <a:rPr lang="zh-CN" altLang="en-US" sz="1200">
                <a:latin typeface="+mj-ea"/>
                <a:ea typeface="+mj-ea"/>
              </a:rPr>
              <a:t>建设推广费各视角费用分析查询功能；</a:t>
            </a:r>
            <a:endParaRPr lang="en-US" altLang="zh-CN" sz="1200">
              <a:latin typeface="+mj-ea"/>
              <a:ea typeface="+mj-ea"/>
            </a:endParaRPr>
          </a:p>
          <a:p>
            <a:pPr marL="228600" indent="-228600">
              <a:lnSpc>
                <a:spcPct val="150000"/>
              </a:lnSpc>
              <a:buClr>
                <a:schemeClr val="tx1"/>
              </a:buClr>
              <a:buSzPct val="130000"/>
              <a:buFont typeface="+mj-ea"/>
              <a:buAutoNum type="circleNumDbPlain"/>
              <a:defRPr/>
            </a:pPr>
            <a:r>
              <a:rPr lang="zh-CN" altLang="en-US" sz="1200" b="1">
                <a:latin typeface="+mj-ea"/>
                <a:ea typeface="+mj-ea"/>
              </a:rPr>
              <a:t>推广费系统：</a:t>
            </a:r>
            <a:r>
              <a:rPr lang="zh-CN" altLang="en-US" sz="1200">
                <a:latin typeface="+mj-ea"/>
                <a:ea typeface="+mj-ea"/>
              </a:rPr>
              <a:t>建议未来由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MPM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与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SRM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承接目前推广费系统对应功能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(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需与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CBG IT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架构拉通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)</a:t>
            </a:r>
            <a:r>
              <a:rPr lang="zh-CN" altLang="en-US" sz="1200">
                <a:latin typeface="+mj-ea"/>
                <a:ea typeface="+mj-ea"/>
              </a:rPr>
              <a:t>。</a:t>
            </a:r>
            <a:endParaRPr lang="en-US" altLang="zh-CN" sz="1200">
              <a:latin typeface="+mj-ea"/>
              <a:ea typeface="+mj-ea"/>
            </a:endParaRPr>
          </a:p>
        </p:txBody>
      </p: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E55475C0-EEA7-6FC8-07A8-9B1D970C7AE3}"/>
              </a:ext>
            </a:extLst>
          </p:cNvPr>
          <p:cNvGrpSpPr/>
          <p:nvPr/>
        </p:nvGrpSpPr>
        <p:grpSpPr>
          <a:xfrm>
            <a:off x="62948" y="904656"/>
            <a:ext cx="7709724" cy="307776"/>
            <a:chOff x="393790" y="1071756"/>
            <a:chExt cx="7955080" cy="307776"/>
          </a:xfrm>
        </p:grpSpPr>
        <p:cxnSp>
          <p:nvCxnSpPr>
            <p:cNvPr id="81" name="Straight Connector 38">
              <a:extLst>
                <a:ext uri="{FF2B5EF4-FFF2-40B4-BE49-F238E27FC236}">
                  <a16:creationId xmlns:a16="http://schemas.microsoft.com/office/drawing/2014/main" id="{A2F57F02-A4EE-079F-E620-EC487EA988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790" y="1218242"/>
              <a:ext cx="7955080" cy="7402"/>
            </a:xfrm>
            <a:prstGeom prst="line">
              <a:avLst/>
            </a:prstGeom>
            <a:noFill/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diamond"/>
              <a:tailEnd type="diamond"/>
            </a:ln>
            <a:effectLst/>
          </p:spPr>
        </p:cxnSp>
        <p:sp>
          <p:nvSpPr>
            <p:cNvPr id="82" name="Rectangle 24">
              <a:extLst>
                <a:ext uri="{FF2B5EF4-FFF2-40B4-BE49-F238E27FC236}">
                  <a16:creationId xmlns:a16="http://schemas.microsoft.com/office/drawing/2014/main" id="{161D99B6-FF3E-1D66-D890-AD0BA723250A}"/>
                </a:ext>
              </a:extLst>
            </p:cNvPr>
            <p:cNvSpPr/>
            <p:nvPr/>
          </p:nvSpPr>
          <p:spPr>
            <a:xfrm>
              <a:off x="3546889" y="1071756"/>
              <a:ext cx="2103120" cy="307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r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400" b="1">
                  <a:latin typeface="Microsoft YaHei"/>
                  <a:ea typeface="Microsoft YaHei"/>
                  <a:cs typeface="Arial" panose="020B0604020202020204" pitchFamily="34" charset="0"/>
                </a:rPr>
                <a:t>推广费长</a:t>
              </a:r>
              <a:r>
                <a:rPr kumimoji="1" lang="zh-CN" altLang="en-US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YaHei"/>
                  <a:ea typeface="Microsoft YaHei"/>
                  <a:cs typeface="Arial" panose="020B0604020202020204" pitchFamily="34" charset="0"/>
                </a:rPr>
                <a:t>期方案</a:t>
              </a:r>
              <a:endParaRPr kumimoji="1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Arial" panose="020B0604020202020204" pitchFamily="34" charset="0"/>
              </a:endParaRPr>
            </a:p>
          </p:txBody>
        </p:sp>
        <p:grpSp>
          <p:nvGrpSpPr>
            <p:cNvPr id="83" name="Group 55">
              <a:extLst>
                <a:ext uri="{FF2B5EF4-FFF2-40B4-BE49-F238E27FC236}">
                  <a16:creationId xmlns:a16="http://schemas.microsoft.com/office/drawing/2014/main" id="{748F363F-598A-5DBE-07A4-E7706396C922}"/>
                </a:ext>
              </a:extLst>
            </p:cNvPr>
            <p:cNvGrpSpPr/>
            <p:nvPr/>
          </p:nvGrpSpPr>
          <p:grpSpPr>
            <a:xfrm>
              <a:off x="3432303" y="1071757"/>
              <a:ext cx="431104" cy="307775"/>
              <a:chOff x="3126173" y="1114361"/>
              <a:chExt cx="431104" cy="307775"/>
            </a:xfrm>
          </p:grpSpPr>
          <p:sp>
            <p:nvSpPr>
              <p:cNvPr id="85" name="Rectangle 49">
                <a:extLst>
                  <a:ext uri="{FF2B5EF4-FFF2-40B4-BE49-F238E27FC236}">
                    <a16:creationId xmlns:a16="http://schemas.microsoft.com/office/drawing/2014/main" id="{41959D13-B337-0497-F283-252FB5609711}"/>
                  </a:ext>
                </a:extLst>
              </p:cNvPr>
              <p:cNvSpPr/>
              <p:nvPr/>
            </p:nvSpPr>
            <p:spPr>
              <a:xfrm>
                <a:off x="3126173" y="1114361"/>
                <a:ext cx="431104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86" name="Graphic 44">
                <a:extLst>
                  <a:ext uri="{FF2B5EF4-FFF2-40B4-BE49-F238E27FC236}">
                    <a16:creationId xmlns:a16="http://schemas.microsoft.com/office/drawing/2014/main" id="{7DBEA2AB-F8B5-08BD-1641-5CCA8D47DC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204565" y="1122751"/>
                <a:ext cx="274320" cy="252882"/>
              </a:xfrm>
              <a:prstGeom prst="rect">
                <a:avLst/>
              </a:prstGeom>
            </p:spPr>
          </p:pic>
        </p:grpSp>
      </p:grpSp>
      <p:sp>
        <p:nvSpPr>
          <p:cNvPr id="99" name="Rectangle 17">
            <a:extLst>
              <a:ext uri="{FF2B5EF4-FFF2-40B4-BE49-F238E27FC236}">
                <a16:creationId xmlns:a16="http://schemas.microsoft.com/office/drawing/2014/main" id="{271B20AC-F24A-6727-E5CF-95D6D300F1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7217" y="4264754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招投标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0" name="矩形 189">
            <a:extLst>
              <a:ext uri="{FF2B5EF4-FFF2-40B4-BE49-F238E27FC236}">
                <a16:creationId xmlns:a16="http://schemas.microsoft.com/office/drawing/2014/main" id="{1DA86A75-B960-2B54-8DEB-60CB24714A25}"/>
              </a:ext>
            </a:extLst>
          </p:cNvPr>
          <p:cNvSpPr/>
          <p:nvPr/>
        </p:nvSpPr>
        <p:spPr>
          <a:xfrm>
            <a:off x="55851" y="1250994"/>
            <a:ext cx="7709724" cy="5426813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81323"/>
              </a:buClr>
              <a:buSzPct val="130000"/>
              <a:tabLst/>
              <a:defRPr/>
            </a:pPr>
            <a:endParaRPr lang="en-US" altLang="zh-CN" sz="1200" b="1">
              <a:latin typeface="+mj-ea"/>
              <a:ea typeface="+mj-ea"/>
            </a:endParaRPr>
          </a:p>
        </p:txBody>
      </p:sp>
      <p:sp>
        <p:nvSpPr>
          <p:cNvPr id="109" name="Rectangle 18">
            <a:extLst>
              <a:ext uri="{FF2B5EF4-FFF2-40B4-BE49-F238E27FC236}">
                <a16:creationId xmlns:a16="http://schemas.microsoft.com/office/drawing/2014/main" id="{B7214C6E-0F32-2725-6DCC-13C740D2A0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466" y="6144965"/>
            <a:ext cx="7702626" cy="531258"/>
          </a:xfrm>
          <a:prstGeom prst="rect">
            <a:avLst/>
          </a:prstGeom>
          <a:solidFill>
            <a:srgbClr val="1084D0">
              <a:alpha val="7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vert="eaVert"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10" name="TextBox 48">
            <a:extLst>
              <a:ext uri="{FF2B5EF4-FFF2-40B4-BE49-F238E27FC236}">
                <a16:creationId xmlns:a16="http://schemas.microsoft.com/office/drawing/2014/main" id="{0246DDA4-1652-16BA-CB24-12EB02CE0D55}"/>
              </a:ext>
            </a:extLst>
          </p:cNvPr>
          <p:cNvSpPr txBox="1"/>
          <p:nvPr/>
        </p:nvSpPr>
        <p:spPr>
          <a:xfrm>
            <a:off x="-90690" y="6181484"/>
            <a:ext cx="810816" cy="539323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r>
              <a:rPr lang="en-US" altLang="zh-CN" b="1">
                <a:latin typeface="+mn-ea"/>
              </a:rPr>
              <a:t>MDM</a:t>
            </a:r>
            <a:endParaRPr lang="en-US" b="1">
              <a:latin typeface="+mn-ea"/>
            </a:endParaRPr>
          </a:p>
        </p:txBody>
      </p:sp>
      <p:sp>
        <p:nvSpPr>
          <p:cNvPr id="112" name="Rectangle 17">
            <a:extLst>
              <a:ext uri="{FF2B5EF4-FFF2-40B4-BE49-F238E27FC236}">
                <a16:creationId xmlns:a16="http://schemas.microsoft.com/office/drawing/2014/main" id="{044A6CA2-F78F-5A2B-40C5-F01A38F76C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098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5" name="Rectangle 17">
            <a:extLst>
              <a:ext uri="{FF2B5EF4-FFF2-40B4-BE49-F238E27FC236}">
                <a16:creationId xmlns:a16="http://schemas.microsoft.com/office/drawing/2014/main" id="{803B49B9-0E73-5981-A97B-828E591DA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7421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7" name="Rectangle 17">
            <a:extLst>
              <a:ext uri="{FF2B5EF4-FFF2-40B4-BE49-F238E27FC236}">
                <a16:creationId xmlns:a16="http://schemas.microsoft.com/office/drawing/2014/main" id="{1C799E89-17D7-50FB-1171-1AFCD878F2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4712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账户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8" name="Rectangle 17">
            <a:extLst>
              <a:ext uri="{FF2B5EF4-FFF2-40B4-BE49-F238E27FC236}">
                <a16:creationId xmlns:a16="http://schemas.microsoft.com/office/drawing/2014/main" id="{B6EBD142-5AB5-D181-5E4B-F84EDA2602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6744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渠道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2" name="Rectangle 17">
            <a:extLst>
              <a:ext uri="{FF2B5EF4-FFF2-40B4-BE49-F238E27FC236}">
                <a16:creationId xmlns:a16="http://schemas.microsoft.com/office/drawing/2014/main" id="{5B2D1DA8-90A9-F18E-DCE7-167B3FFDB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6067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区域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4" name="Rectangle 18">
            <a:extLst>
              <a:ext uri="{FF2B5EF4-FFF2-40B4-BE49-F238E27FC236}">
                <a16:creationId xmlns:a16="http://schemas.microsoft.com/office/drawing/2014/main" id="{62D3B640-4A90-B350-049B-3E2334A461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3630" y="1955429"/>
            <a:ext cx="5033317" cy="1052003"/>
          </a:xfrm>
          <a:prstGeom prst="rect">
            <a:avLst/>
          </a:prstGeom>
          <a:solidFill>
            <a:srgbClr val="F2F2F2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MP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26" name="Rectangle 50">
            <a:extLst>
              <a:ext uri="{FF2B5EF4-FFF2-40B4-BE49-F238E27FC236}">
                <a16:creationId xmlns:a16="http://schemas.microsoft.com/office/drawing/2014/main" id="{ACE84A0D-155F-43A8-8A57-79E56688D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5939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结项复盘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34" name="Rectangle 17">
            <a:extLst>
              <a:ext uri="{FF2B5EF4-FFF2-40B4-BE49-F238E27FC236}">
                <a16:creationId xmlns:a16="http://schemas.microsoft.com/office/drawing/2014/main" id="{55054CB2-60FD-98A9-5029-40AF50469F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1172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预算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" name="Rectangle 17">
            <a:extLst>
              <a:ext uri="{FF2B5EF4-FFF2-40B4-BE49-F238E27FC236}">
                <a16:creationId xmlns:a16="http://schemas.microsoft.com/office/drawing/2014/main" id="{9860A6DF-5C68-C31A-94E8-8A78C161F1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6285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附件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箭头: 右 3">
            <a:extLst>
              <a:ext uri="{FF2B5EF4-FFF2-40B4-BE49-F238E27FC236}">
                <a16:creationId xmlns:a16="http://schemas.microsoft.com/office/drawing/2014/main" id="{F2744372-ED7F-C1E4-437F-42D7D85A9001}"/>
              </a:ext>
            </a:extLst>
          </p:cNvPr>
          <p:cNvSpPr/>
          <p:nvPr/>
        </p:nvSpPr>
        <p:spPr>
          <a:xfrm rot="16200000">
            <a:off x="577987" y="596504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箭头: 右 50">
            <a:extLst>
              <a:ext uri="{FF2B5EF4-FFF2-40B4-BE49-F238E27FC236}">
                <a16:creationId xmlns:a16="http://schemas.microsoft.com/office/drawing/2014/main" id="{94AE6377-D923-D7E4-77F4-E910CEC12EB6}"/>
              </a:ext>
            </a:extLst>
          </p:cNvPr>
          <p:cNvSpPr/>
          <p:nvPr/>
        </p:nvSpPr>
        <p:spPr>
          <a:xfrm rot="10800000">
            <a:off x="4161388" y="520600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箭头: 右 52">
            <a:extLst>
              <a:ext uri="{FF2B5EF4-FFF2-40B4-BE49-F238E27FC236}">
                <a16:creationId xmlns:a16="http://schemas.microsoft.com/office/drawing/2014/main" id="{9D717655-90B3-B672-A51F-CBDA17DAEAC8}"/>
              </a:ext>
            </a:extLst>
          </p:cNvPr>
          <p:cNvSpPr/>
          <p:nvPr/>
        </p:nvSpPr>
        <p:spPr>
          <a:xfrm>
            <a:off x="4148455" y="446027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Rectangle 30">
            <a:extLst>
              <a:ext uri="{FF2B5EF4-FFF2-40B4-BE49-F238E27FC236}">
                <a16:creationId xmlns:a16="http://schemas.microsoft.com/office/drawing/2014/main" id="{5C039F13-0454-07BF-6A56-3A3BEC837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7326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立项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8" name="Rectangle 5">
            <a:extLst>
              <a:ext uri="{FF2B5EF4-FFF2-40B4-BE49-F238E27FC236}">
                <a16:creationId xmlns:a16="http://schemas.microsoft.com/office/drawing/2014/main" id="{F4278DE9-3955-53EB-9783-BF9CF760E40D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40" name="Rectangle 18">
            <a:extLst>
              <a:ext uri="{FF2B5EF4-FFF2-40B4-BE49-F238E27FC236}">
                <a16:creationId xmlns:a16="http://schemas.microsoft.com/office/drawing/2014/main" id="{FBD981CB-3606-A850-645B-4404AB7FD3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2440" y="1954329"/>
            <a:ext cx="1309832" cy="2738186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38" name="Rectangle 84">
            <a:extLst>
              <a:ext uri="{FF2B5EF4-FFF2-40B4-BE49-F238E27FC236}">
                <a16:creationId xmlns:a16="http://schemas.microsoft.com/office/drawing/2014/main" id="{79517A75-9E37-67DD-ED9E-E12247BF27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1252" y="3279352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提出付款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1" name="Rectangle 85">
            <a:extLst>
              <a:ext uri="{FF2B5EF4-FFF2-40B4-BE49-F238E27FC236}">
                <a16:creationId xmlns:a16="http://schemas.microsoft.com/office/drawing/2014/main" id="{98B473A6-18A4-B43F-F7A3-3761F6CCE6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1252" y="3783531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通知银行付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4" name="Rectangle 85">
            <a:extLst>
              <a:ext uri="{FF2B5EF4-FFF2-40B4-BE49-F238E27FC236}">
                <a16:creationId xmlns:a16="http://schemas.microsoft.com/office/drawing/2014/main" id="{552D9B66-B4AD-4B1E-1599-38BC2BFD28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1252" y="4287711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付款确认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DB22AF5-BAC5-902E-F5C8-B86B603DE846}"/>
              </a:ext>
            </a:extLst>
          </p:cNvPr>
          <p:cNvSpPr txBox="1"/>
          <p:nvPr/>
        </p:nvSpPr>
        <p:spPr>
          <a:xfrm>
            <a:off x="5373154" y="4068644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服务主数据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1AC2D51-2161-8661-1945-3EE380E4E1BA}"/>
              </a:ext>
            </a:extLst>
          </p:cNvPr>
          <p:cNvSpPr txBox="1"/>
          <p:nvPr/>
        </p:nvSpPr>
        <p:spPr>
          <a:xfrm>
            <a:off x="4351465" y="4581479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申请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A84FDE8-FCF8-2DF5-B5BF-6A5DCD206B12}"/>
              </a:ext>
            </a:extLst>
          </p:cNvPr>
          <p:cNvSpPr txBox="1"/>
          <p:nvPr/>
        </p:nvSpPr>
        <p:spPr>
          <a:xfrm>
            <a:off x="4351465" y="5087967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服务确认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C112D3C-A170-C5DA-72CE-C6599B5C9BA0}"/>
              </a:ext>
            </a:extLst>
          </p:cNvPr>
          <p:cNvSpPr txBox="1"/>
          <p:nvPr/>
        </p:nvSpPr>
        <p:spPr>
          <a:xfrm>
            <a:off x="4351465" y="5594455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应付账款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DE2A1E0-4BD9-F0F2-A8BB-B3E97ECBBB14}"/>
              </a:ext>
            </a:extLst>
          </p:cNvPr>
          <p:cNvSpPr txBox="1"/>
          <p:nvPr/>
        </p:nvSpPr>
        <p:spPr>
          <a:xfrm>
            <a:off x="5384640" y="4574050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订单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94C7ED8-678D-FE15-F153-7B7A84033A2B}"/>
              </a:ext>
            </a:extLst>
          </p:cNvPr>
          <p:cNvSpPr txBox="1"/>
          <p:nvPr/>
        </p:nvSpPr>
        <p:spPr>
          <a:xfrm>
            <a:off x="5384640" y="5079456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发票校验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9" name="箭头: 右 58">
            <a:extLst>
              <a:ext uri="{FF2B5EF4-FFF2-40B4-BE49-F238E27FC236}">
                <a16:creationId xmlns:a16="http://schemas.microsoft.com/office/drawing/2014/main" id="{100F6A83-0C25-7843-96C1-E74EA2F6037E}"/>
              </a:ext>
            </a:extLst>
          </p:cNvPr>
          <p:cNvSpPr/>
          <p:nvPr/>
        </p:nvSpPr>
        <p:spPr>
          <a:xfrm rot="16200000">
            <a:off x="5240350" y="362864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6D967CCF-5E54-4443-F254-F5EF3F13B6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25390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8" name="Rectangle 18">
            <a:extLst>
              <a:ext uri="{FF2B5EF4-FFF2-40B4-BE49-F238E27FC236}">
                <a16:creationId xmlns:a16="http://schemas.microsoft.com/office/drawing/2014/main" id="{5A40EAB2-F340-89D1-CAC7-C7EBE81A0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98" y="1932862"/>
            <a:ext cx="1106586" cy="1074570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PBF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62" name="Rectangle 84">
            <a:extLst>
              <a:ext uri="{FF2B5EF4-FFF2-40B4-BE49-F238E27FC236}">
                <a16:creationId xmlns:a16="http://schemas.microsoft.com/office/drawing/2014/main" id="{D0A540FA-02CA-2729-343D-ACD21C960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7486" y="2204904"/>
            <a:ext cx="900000" cy="252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编制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5" name="Rectangle 17">
            <a:extLst>
              <a:ext uri="{FF2B5EF4-FFF2-40B4-BE49-F238E27FC236}">
                <a16:creationId xmlns:a16="http://schemas.microsoft.com/office/drawing/2014/main" id="{41D8764D-010E-967C-8C56-4B8D04D27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078" y="4936016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8" name="文本框 127">
            <a:extLst>
              <a:ext uri="{FF2B5EF4-FFF2-40B4-BE49-F238E27FC236}">
                <a16:creationId xmlns:a16="http://schemas.microsoft.com/office/drawing/2014/main" id="{51A7BC38-8138-F466-285C-40E73BED99D6}"/>
              </a:ext>
            </a:extLst>
          </p:cNvPr>
          <p:cNvSpPr txBox="1"/>
          <p:nvPr/>
        </p:nvSpPr>
        <p:spPr>
          <a:xfrm>
            <a:off x="5384640" y="5584862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往来清账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2" name="Rectangle 17">
            <a:extLst>
              <a:ext uri="{FF2B5EF4-FFF2-40B4-BE49-F238E27FC236}">
                <a16:creationId xmlns:a16="http://schemas.microsoft.com/office/drawing/2014/main" id="{B369E46F-C620-11FD-B784-38AFBDCF9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078" y="4558942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接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7" name="文本框 126">
            <a:extLst>
              <a:ext uri="{FF2B5EF4-FFF2-40B4-BE49-F238E27FC236}">
                <a16:creationId xmlns:a16="http://schemas.microsoft.com/office/drawing/2014/main" id="{537F6AF6-3D1C-E755-E43A-2DF5AD845BFF}"/>
              </a:ext>
            </a:extLst>
          </p:cNvPr>
          <p:cNvSpPr txBox="1"/>
          <p:nvPr/>
        </p:nvSpPr>
        <p:spPr>
          <a:xfrm>
            <a:off x="4351465" y="4074991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项目</a:t>
            </a: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主数据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7" name="Rectangle 17">
            <a:extLst>
              <a:ext uri="{FF2B5EF4-FFF2-40B4-BE49-F238E27FC236}">
                <a16:creationId xmlns:a16="http://schemas.microsoft.com/office/drawing/2014/main" id="{87CF77C4-AE11-BAC1-2210-776C1E4AFF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3851" y="3322108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明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96" name="Rectangle 17">
            <a:extLst>
              <a:ext uri="{FF2B5EF4-FFF2-40B4-BE49-F238E27FC236}">
                <a16:creationId xmlns:a16="http://schemas.microsoft.com/office/drawing/2014/main" id="{4064D806-2FE2-E53D-B694-BE159914C0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078" y="5313090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验收管理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98" name="Rectangle 17">
            <a:extLst>
              <a:ext uri="{FF2B5EF4-FFF2-40B4-BE49-F238E27FC236}">
                <a16:creationId xmlns:a16="http://schemas.microsoft.com/office/drawing/2014/main" id="{766E9DE0-3AD9-A620-6FC5-55E745111B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154" y="3326725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付账款余额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" name="Rectangle 84">
            <a:extLst>
              <a:ext uri="{FF2B5EF4-FFF2-40B4-BE49-F238E27FC236}">
                <a16:creationId xmlns:a16="http://schemas.microsoft.com/office/drawing/2014/main" id="{8FE2089A-7FFE-140B-A8E9-C4EF0AEB79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518" y="2581976"/>
            <a:ext cx="900000" cy="252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下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5" name="Rectangle 18">
            <a:extLst>
              <a:ext uri="{FF2B5EF4-FFF2-40B4-BE49-F238E27FC236}">
                <a16:creationId xmlns:a16="http://schemas.microsoft.com/office/drawing/2014/main" id="{3772F819-D521-B498-F383-8AD75EFA82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2473" y="4771154"/>
            <a:ext cx="1317969" cy="1227606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资金管理平台</a:t>
            </a:r>
          </a:p>
        </p:txBody>
      </p:sp>
      <p:sp>
        <p:nvSpPr>
          <p:cNvPr id="54" name="Rectangle 84">
            <a:extLst>
              <a:ext uri="{FF2B5EF4-FFF2-40B4-BE49-F238E27FC236}">
                <a16:creationId xmlns:a16="http://schemas.microsoft.com/office/drawing/2014/main" id="{5D294140-2CC3-07F8-16A7-3793A4E17E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3896" y="5066848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资金支付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7" name="Rectangle 84">
            <a:extLst>
              <a:ext uri="{FF2B5EF4-FFF2-40B4-BE49-F238E27FC236}">
                <a16:creationId xmlns:a16="http://schemas.microsoft.com/office/drawing/2014/main" id="{75D60AE7-FBF4-74BB-376F-A245638942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3896" y="5581157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回单确认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1" name="箭头: 右 100">
            <a:extLst>
              <a:ext uri="{FF2B5EF4-FFF2-40B4-BE49-F238E27FC236}">
                <a16:creationId xmlns:a16="http://schemas.microsoft.com/office/drawing/2014/main" id="{3CB2492A-8AB6-B52F-ED4E-97767A7D8949}"/>
              </a:ext>
            </a:extLst>
          </p:cNvPr>
          <p:cNvSpPr/>
          <p:nvPr/>
        </p:nvSpPr>
        <p:spPr>
          <a:xfrm rot="16200000">
            <a:off x="1863486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箭头: 右 101">
            <a:extLst>
              <a:ext uri="{FF2B5EF4-FFF2-40B4-BE49-F238E27FC236}">
                <a16:creationId xmlns:a16="http://schemas.microsoft.com/office/drawing/2014/main" id="{32B07F15-F498-0570-42EE-6CD7711831EC}"/>
              </a:ext>
            </a:extLst>
          </p:cNvPr>
          <p:cNvSpPr/>
          <p:nvPr/>
        </p:nvSpPr>
        <p:spPr>
          <a:xfrm rot="16200000">
            <a:off x="3148985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箭头: 右 104">
            <a:extLst>
              <a:ext uri="{FF2B5EF4-FFF2-40B4-BE49-F238E27FC236}">
                <a16:creationId xmlns:a16="http://schemas.microsoft.com/office/drawing/2014/main" id="{15AB6091-B7BE-608D-0100-028F8701EDA3}"/>
              </a:ext>
            </a:extLst>
          </p:cNvPr>
          <p:cNvSpPr/>
          <p:nvPr/>
        </p:nvSpPr>
        <p:spPr>
          <a:xfrm rot="16200000">
            <a:off x="4434484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箭头: 右 105">
            <a:extLst>
              <a:ext uri="{FF2B5EF4-FFF2-40B4-BE49-F238E27FC236}">
                <a16:creationId xmlns:a16="http://schemas.microsoft.com/office/drawing/2014/main" id="{83773241-E896-11C4-AD72-A7D44727E069}"/>
              </a:ext>
            </a:extLst>
          </p:cNvPr>
          <p:cNvSpPr/>
          <p:nvPr/>
        </p:nvSpPr>
        <p:spPr>
          <a:xfrm rot="16200000">
            <a:off x="5719983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箭头: 右 106">
            <a:extLst>
              <a:ext uri="{FF2B5EF4-FFF2-40B4-BE49-F238E27FC236}">
                <a16:creationId xmlns:a16="http://schemas.microsoft.com/office/drawing/2014/main" id="{BD052F94-FE10-E276-F88F-3B7939B0DB8A}"/>
              </a:ext>
            </a:extLst>
          </p:cNvPr>
          <p:cNvSpPr/>
          <p:nvPr/>
        </p:nvSpPr>
        <p:spPr>
          <a:xfrm rot="16200000">
            <a:off x="7005481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箭头: 右 107">
            <a:extLst>
              <a:ext uri="{FF2B5EF4-FFF2-40B4-BE49-F238E27FC236}">
                <a16:creationId xmlns:a16="http://schemas.microsoft.com/office/drawing/2014/main" id="{6D754720-5B2F-26B5-27E5-ACA9DE958D1E}"/>
              </a:ext>
            </a:extLst>
          </p:cNvPr>
          <p:cNvSpPr/>
          <p:nvPr/>
        </p:nvSpPr>
        <p:spPr>
          <a:xfrm rot="5400000">
            <a:off x="2057164" y="296688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1" name="箭头: 右 110">
            <a:extLst>
              <a:ext uri="{FF2B5EF4-FFF2-40B4-BE49-F238E27FC236}">
                <a16:creationId xmlns:a16="http://schemas.microsoft.com/office/drawing/2014/main" id="{F3F2B00A-42FE-7D3E-A2CA-05A93A29FC63}"/>
              </a:ext>
            </a:extLst>
          </p:cNvPr>
          <p:cNvSpPr/>
          <p:nvPr/>
        </p:nvSpPr>
        <p:spPr>
          <a:xfrm rot="5400000">
            <a:off x="3280607" y="2964929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3" name="箭头: 右 122">
            <a:extLst>
              <a:ext uri="{FF2B5EF4-FFF2-40B4-BE49-F238E27FC236}">
                <a16:creationId xmlns:a16="http://schemas.microsoft.com/office/drawing/2014/main" id="{6B52A992-F0B6-49A2-18FD-743C8D68A4B6}"/>
              </a:ext>
            </a:extLst>
          </p:cNvPr>
          <p:cNvSpPr/>
          <p:nvPr/>
        </p:nvSpPr>
        <p:spPr>
          <a:xfrm rot="10800000">
            <a:off x="4147591" y="342390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4" name="箭头: 右 123">
            <a:extLst>
              <a:ext uri="{FF2B5EF4-FFF2-40B4-BE49-F238E27FC236}">
                <a16:creationId xmlns:a16="http://schemas.microsoft.com/office/drawing/2014/main" id="{743C2350-44EC-EA34-BFB9-3F1A11C91113}"/>
              </a:ext>
            </a:extLst>
          </p:cNvPr>
          <p:cNvSpPr/>
          <p:nvPr/>
        </p:nvSpPr>
        <p:spPr>
          <a:xfrm>
            <a:off x="4147591" y="317848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5" name="箭头: 右 124">
            <a:extLst>
              <a:ext uri="{FF2B5EF4-FFF2-40B4-BE49-F238E27FC236}">
                <a16:creationId xmlns:a16="http://schemas.microsoft.com/office/drawing/2014/main" id="{916FF9D9-516F-0452-930C-32D531C562C8}"/>
              </a:ext>
            </a:extLst>
          </p:cNvPr>
          <p:cNvSpPr/>
          <p:nvPr/>
        </p:nvSpPr>
        <p:spPr>
          <a:xfrm rot="10800000">
            <a:off x="6316044" y="430327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6" name="箭头: 右 125">
            <a:extLst>
              <a:ext uri="{FF2B5EF4-FFF2-40B4-BE49-F238E27FC236}">
                <a16:creationId xmlns:a16="http://schemas.microsoft.com/office/drawing/2014/main" id="{8D82F92B-51C1-9DFE-9D97-323638004835}"/>
              </a:ext>
            </a:extLst>
          </p:cNvPr>
          <p:cNvSpPr/>
          <p:nvPr/>
        </p:nvSpPr>
        <p:spPr>
          <a:xfrm>
            <a:off x="6343755" y="3911414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Rectangle 17">
            <a:extLst>
              <a:ext uri="{FF2B5EF4-FFF2-40B4-BE49-F238E27FC236}">
                <a16:creationId xmlns:a16="http://schemas.microsoft.com/office/drawing/2014/main" id="{B10521D2-53C2-FF33-93B7-850D7860B0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078" y="3427720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立项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5" name="Rectangle 17">
            <a:extLst>
              <a:ext uri="{FF2B5EF4-FFF2-40B4-BE49-F238E27FC236}">
                <a16:creationId xmlns:a16="http://schemas.microsoft.com/office/drawing/2014/main" id="{C9E8BE40-6EAD-92FE-7E1A-BFD92FFC7D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078" y="4181868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派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6" name="Rectangle 17">
            <a:extLst>
              <a:ext uri="{FF2B5EF4-FFF2-40B4-BE49-F238E27FC236}">
                <a16:creationId xmlns:a16="http://schemas.microsoft.com/office/drawing/2014/main" id="{0FE68884-A7CB-3112-81F7-FF44447AB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078" y="3804794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7" name="Rectangle 17">
            <a:extLst>
              <a:ext uri="{FF2B5EF4-FFF2-40B4-BE49-F238E27FC236}">
                <a16:creationId xmlns:a16="http://schemas.microsoft.com/office/drawing/2014/main" id="{315821CD-4198-9A5B-3BEA-3345B977A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078" y="5690162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报销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0" name="Rectangle 17">
            <a:extLst>
              <a:ext uri="{FF2B5EF4-FFF2-40B4-BE49-F238E27FC236}">
                <a16:creationId xmlns:a16="http://schemas.microsoft.com/office/drawing/2014/main" id="{F050CBE3-49EA-A9CF-8CB2-266A06DF37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1613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拆解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4" name="Rectangle 84">
            <a:extLst>
              <a:ext uri="{FF2B5EF4-FFF2-40B4-BE49-F238E27FC236}">
                <a16:creationId xmlns:a16="http://schemas.microsoft.com/office/drawing/2014/main" id="{AE1A1E8D-0C93-55A4-47BD-8CF30CF70F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1252" y="2270994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6" name="Rectangle 84">
            <a:extLst>
              <a:ext uri="{FF2B5EF4-FFF2-40B4-BE49-F238E27FC236}">
                <a16:creationId xmlns:a16="http://schemas.microsoft.com/office/drawing/2014/main" id="{1BB32611-D945-FBBF-A3D8-C48DB8C617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1252" y="2775173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报销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8" name="箭头: 右 77">
            <a:extLst>
              <a:ext uri="{FF2B5EF4-FFF2-40B4-BE49-F238E27FC236}">
                <a16:creationId xmlns:a16="http://schemas.microsoft.com/office/drawing/2014/main" id="{052E2156-6930-BF1F-908F-9B25F495DB67}"/>
              </a:ext>
            </a:extLst>
          </p:cNvPr>
          <p:cNvSpPr/>
          <p:nvPr/>
        </p:nvSpPr>
        <p:spPr>
          <a:xfrm rot="10800000">
            <a:off x="6295522" y="265880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箭头: 右 78">
            <a:extLst>
              <a:ext uri="{FF2B5EF4-FFF2-40B4-BE49-F238E27FC236}">
                <a16:creationId xmlns:a16="http://schemas.microsoft.com/office/drawing/2014/main" id="{73DA05AA-093D-504D-A3DA-8FEF860526F2}"/>
              </a:ext>
            </a:extLst>
          </p:cNvPr>
          <p:cNvSpPr/>
          <p:nvPr/>
        </p:nvSpPr>
        <p:spPr>
          <a:xfrm>
            <a:off x="6323233" y="2266942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箭头: 右 83">
            <a:extLst>
              <a:ext uri="{FF2B5EF4-FFF2-40B4-BE49-F238E27FC236}">
                <a16:creationId xmlns:a16="http://schemas.microsoft.com/office/drawing/2014/main" id="{2B69AAAE-B97A-F539-7D02-8BA67F0E0B85}"/>
              </a:ext>
            </a:extLst>
          </p:cNvPr>
          <p:cNvSpPr/>
          <p:nvPr/>
        </p:nvSpPr>
        <p:spPr>
          <a:xfrm rot="16200000">
            <a:off x="6840612" y="178415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" name="箭头: 右 87">
            <a:extLst>
              <a:ext uri="{FF2B5EF4-FFF2-40B4-BE49-F238E27FC236}">
                <a16:creationId xmlns:a16="http://schemas.microsoft.com/office/drawing/2014/main" id="{94770DC7-234B-764B-3522-C3FD48D89472}"/>
              </a:ext>
            </a:extLst>
          </p:cNvPr>
          <p:cNvSpPr/>
          <p:nvPr/>
        </p:nvSpPr>
        <p:spPr>
          <a:xfrm rot="16200000">
            <a:off x="5271497" y="178415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箭头: 右 88">
            <a:extLst>
              <a:ext uri="{FF2B5EF4-FFF2-40B4-BE49-F238E27FC236}">
                <a16:creationId xmlns:a16="http://schemas.microsoft.com/office/drawing/2014/main" id="{6B4082B8-0391-3703-1A0B-1927AA066B9B}"/>
              </a:ext>
            </a:extLst>
          </p:cNvPr>
          <p:cNvSpPr/>
          <p:nvPr/>
        </p:nvSpPr>
        <p:spPr>
          <a:xfrm rot="16200000">
            <a:off x="3702383" y="178415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1" name="箭头: 右 90">
            <a:extLst>
              <a:ext uri="{FF2B5EF4-FFF2-40B4-BE49-F238E27FC236}">
                <a16:creationId xmlns:a16="http://schemas.microsoft.com/office/drawing/2014/main" id="{B455937C-7A11-349F-2F8C-E724F156C7F4}"/>
              </a:ext>
            </a:extLst>
          </p:cNvPr>
          <p:cNvSpPr/>
          <p:nvPr/>
        </p:nvSpPr>
        <p:spPr>
          <a:xfrm rot="16200000">
            <a:off x="564155" y="178415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3" name="箭头: 右 112">
            <a:extLst>
              <a:ext uri="{FF2B5EF4-FFF2-40B4-BE49-F238E27FC236}">
                <a16:creationId xmlns:a16="http://schemas.microsoft.com/office/drawing/2014/main" id="{0B443D9D-81DA-50D5-22E9-69FD2ABD9673}"/>
              </a:ext>
            </a:extLst>
          </p:cNvPr>
          <p:cNvSpPr/>
          <p:nvPr/>
        </p:nvSpPr>
        <p:spPr>
          <a:xfrm rot="16200000">
            <a:off x="2133269" y="178415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6" name="箭头: 右 115">
            <a:extLst>
              <a:ext uri="{FF2B5EF4-FFF2-40B4-BE49-F238E27FC236}">
                <a16:creationId xmlns:a16="http://schemas.microsoft.com/office/drawing/2014/main" id="{DE9E7195-BE69-6CC7-7891-5A2E10331846}"/>
              </a:ext>
            </a:extLst>
          </p:cNvPr>
          <p:cNvSpPr/>
          <p:nvPr/>
        </p:nvSpPr>
        <p:spPr>
          <a:xfrm rot="5400000">
            <a:off x="6767110" y="461156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9" name="箭头: 右 118">
            <a:extLst>
              <a:ext uri="{FF2B5EF4-FFF2-40B4-BE49-F238E27FC236}">
                <a16:creationId xmlns:a16="http://schemas.microsoft.com/office/drawing/2014/main" id="{7B2621EC-64FE-3A4A-2D0C-21C7A0E86821}"/>
              </a:ext>
            </a:extLst>
          </p:cNvPr>
          <p:cNvSpPr/>
          <p:nvPr/>
        </p:nvSpPr>
        <p:spPr>
          <a:xfrm rot="16200000">
            <a:off x="7257433" y="459912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1" name="Rectangle 50">
            <a:extLst>
              <a:ext uri="{FF2B5EF4-FFF2-40B4-BE49-F238E27FC236}">
                <a16:creationId xmlns:a16="http://schemas.microsoft.com/office/drawing/2014/main" id="{646F9E71-1BD5-4C25-8557-F88EBB3400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2935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项目考核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2" name="Rectangle 17">
            <a:extLst>
              <a:ext uri="{FF2B5EF4-FFF2-40B4-BE49-F238E27FC236}">
                <a16:creationId xmlns:a16="http://schemas.microsoft.com/office/drawing/2014/main" id="{475679F0-B833-5851-5FBB-E61D434530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6632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任务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33" name="Rectangle 30">
            <a:extLst>
              <a:ext uri="{FF2B5EF4-FFF2-40B4-BE49-F238E27FC236}">
                <a16:creationId xmlns:a16="http://schemas.microsoft.com/office/drawing/2014/main" id="{E11B18C3-31AC-3C29-7DC5-B4D802BEF6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6979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流程审批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4" name="Rectangle 50">
            <a:extLst>
              <a:ext uri="{FF2B5EF4-FFF2-40B4-BE49-F238E27FC236}">
                <a16:creationId xmlns:a16="http://schemas.microsoft.com/office/drawing/2014/main" id="{63696F22-9B00-F0FE-93FE-28464012D5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2054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费用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5" name="Rectangle 50">
            <a:extLst>
              <a:ext uri="{FF2B5EF4-FFF2-40B4-BE49-F238E27FC236}">
                <a16:creationId xmlns:a16="http://schemas.microsoft.com/office/drawing/2014/main" id="{82043D1C-B00B-F813-38B8-9167E3E692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495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指标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6" name="箭头: 右 135">
            <a:extLst>
              <a:ext uri="{FF2B5EF4-FFF2-40B4-BE49-F238E27FC236}">
                <a16:creationId xmlns:a16="http://schemas.microsoft.com/office/drawing/2014/main" id="{1D41288A-B276-32EB-F428-8316C58AB564}"/>
              </a:ext>
            </a:extLst>
          </p:cNvPr>
          <p:cNvSpPr/>
          <p:nvPr/>
        </p:nvSpPr>
        <p:spPr>
          <a:xfrm>
            <a:off x="1151826" y="242656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Rectangle 17">
            <a:extLst>
              <a:ext uri="{FF2B5EF4-FFF2-40B4-BE49-F238E27FC236}">
                <a16:creationId xmlns:a16="http://schemas.microsoft.com/office/drawing/2014/main" id="{53972670-BC75-8115-5567-FF315840C4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81" y="1520546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费用查询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7" name="Rectangle 17">
            <a:extLst>
              <a:ext uri="{FF2B5EF4-FFF2-40B4-BE49-F238E27FC236}">
                <a16:creationId xmlns:a16="http://schemas.microsoft.com/office/drawing/2014/main" id="{56032294-B650-7257-AA8E-45A082324D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35903" y="1522042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预算查询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5278B1AD-58FD-C5CE-2FB1-9E5525395F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8107" y="1521215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科目费用查询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0" name="Rectangle 17">
            <a:extLst>
              <a:ext uri="{FF2B5EF4-FFF2-40B4-BE49-F238E27FC236}">
                <a16:creationId xmlns:a16="http://schemas.microsoft.com/office/drawing/2014/main" id="{9E07AFD9-5A22-607C-59C3-CEB4D147B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1662" y="1521100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动因费用查询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1" name="Rectangle 17">
            <a:extLst>
              <a:ext uri="{FF2B5EF4-FFF2-40B4-BE49-F238E27FC236}">
                <a16:creationId xmlns:a16="http://schemas.microsoft.com/office/drawing/2014/main" id="{F9CDAAC2-F706-046C-761D-DAF8B1BEF4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0145" y="1522042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实分析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1" name="Oval 510">
            <a:extLst>
              <a:ext uri="{FF2B5EF4-FFF2-40B4-BE49-F238E27FC236}">
                <a16:creationId xmlns:a16="http://schemas.microsoft.com/office/drawing/2014/main" id="{7F1D12B8-7BBB-7570-3A11-549195A3243A}"/>
              </a:ext>
            </a:extLst>
          </p:cNvPr>
          <p:cNvSpPr/>
          <p:nvPr/>
        </p:nvSpPr>
        <p:spPr>
          <a:xfrm>
            <a:off x="161876" y="1882812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1</a:t>
            </a:r>
          </a:p>
        </p:txBody>
      </p:sp>
      <p:sp>
        <p:nvSpPr>
          <p:cNvPr id="73" name="Oval 510">
            <a:extLst>
              <a:ext uri="{FF2B5EF4-FFF2-40B4-BE49-F238E27FC236}">
                <a16:creationId xmlns:a16="http://schemas.microsoft.com/office/drawing/2014/main" id="{6E65EC3F-FF48-9B95-A785-B384250A13B2}"/>
              </a:ext>
            </a:extLst>
          </p:cNvPr>
          <p:cNvSpPr/>
          <p:nvPr/>
        </p:nvSpPr>
        <p:spPr>
          <a:xfrm>
            <a:off x="2221546" y="3086462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3</a:t>
            </a:r>
          </a:p>
        </p:txBody>
      </p:sp>
      <p:sp>
        <p:nvSpPr>
          <p:cNvPr id="94" name="Oval 510">
            <a:extLst>
              <a:ext uri="{FF2B5EF4-FFF2-40B4-BE49-F238E27FC236}">
                <a16:creationId xmlns:a16="http://schemas.microsoft.com/office/drawing/2014/main" id="{44BBE95D-A158-811D-1769-1377B0FBC9E5}"/>
              </a:ext>
            </a:extLst>
          </p:cNvPr>
          <p:cNvSpPr/>
          <p:nvPr/>
        </p:nvSpPr>
        <p:spPr>
          <a:xfrm>
            <a:off x="4613363" y="3755301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4</a:t>
            </a:r>
          </a:p>
        </p:txBody>
      </p:sp>
      <p:sp>
        <p:nvSpPr>
          <p:cNvPr id="72" name="Oval 510">
            <a:extLst>
              <a:ext uri="{FF2B5EF4-FFF2-40B4-BE49-F238E27FC236}">
                <a16:creationId xmlns:a16="http://schemas.microsoft.com/office/drawing/2014/main" id="{73BE0095-B33D-CE3C-8AE5-953BB91FD4CE}"/>
              </a:ext>
            </a:extLst>
          </p:cNvPr>
          <p:cNvSpPr/>
          <p:nvPr/>
        </p:nvSpPr>
        <p:spPr>
          <a:xfrm>
            <a:off x="3252554" y="1949677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2</a:t>
            </a:r>
          </a:p>
        </p:txBody>
      </p:sp>
      <p:sp>
        <p:nvSpPr>
          <p:cNvPr id="141" name="Oval 510">
            <a:extLst>
              <a:ext uri="{FF2B5EF4-FFF2-40B4-BE49-F238E27FC236}">
                <a16:creationId xmlns:a16="http://schemas.microsoft.com/office/drawing/2014/main" id="{4E2E81F9-341B-F92C-5EC0-AA8277E4B415}"/>
              </a:ext>
            </a:extLst>
          </p:cNvPr>
          <p:cNvSpPr/>
          <p:nvPr/>
        </p:nvSpPr>
        <p:spPr>
          <a:xfrm>
            <a:off x="4593492" y="3041326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5</a:t>
            </a:r>
          </a:p>
        </p:txBody>
      </p:sp>
      <p:sp>
        <p:nvSpPr>
          <p:cNvPr id="142" name="Oval 510">
            <a:extLst>
              <a:ext uri="{FF2B5EF4-FFF2-40B4-BE49-F238E27FC236}">
                <a16:creationId xmlns:a16="http://schemas.microsoft.com/office/drawing/2014/main" id="{E2202677-B239-3195-B011-9B53EFCBFB3A}"/>
              </a:ext>
            </a:extLst>
          </p:cNvPr>
          <p:cNvSpPr/>
          <p:nvPr/>
        </p:nvSpPr>
        <p:spPr>
          <a:xfrm>
            <a:off x="3190704" y="1242768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6</a:t>
            </a:r>
          </a:p>
        </p:txBody>
      </p:sp>
      <p:sp>
        <p:nvSpPr>
          <p:cNvPr id="69" name="Oval 510">
            <a:extLst>
              <a:ext uri="{FF2B5EF4-FFF2-40B4-BE49-F238E27FC236}">
                <a16:creationId xmlns:a16="http://schemas.microsoft.com/office/drawing/2014/main" id="{F7B396A0-18A0-106B-3CFC-711DBC023222}"/>
              </a:ext>
            </a:extLst>
          </p:cNvPr>
          <p:cNvSpPr/>
          <p:nvPr/>
        </p:nvSpPr>
        <p:spPr>
          <a:xfrm>
            <a:off x="95686" y="2887056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74935849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351361-B5FC-3B4C-93C7-23720EA4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10282312" cy="706293"/>
          </a:xfrm>
        </p:spPr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长期系统方案</a:t>
            </a:r>
            <a:endParaRPr lang="en-US"/>
          </a:p>
        </p:txBody>
      </p: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E55475C0-EEA7-6FC8-07A8-9B1D970C7AE3}"/>
              </a:ext>
            </a:extLst>
          </p:cNvPr>
          <p:cNvGrpSpPr/>
          <p:nvPr/>
        </p:nvGrpSpPr>
        <p:grpSpPr>
          <a:xfrm>
            <a:off x="62948" y="784079"/>
            <a:ext cx="11814204" cy="370581"/>
            <a:chOff x="393790" y="923316"/>
            <a:chExt cx="7955080" cy="456216"/>
          </a:xfrm>
        </p:grpSpPr>
        <p:cxnSp>
          <p:nvCxnSpPr>
            <p:cNvPr id="81" name="Straight Connector 38">
              <a:extLst>
                <a:ext uri="{FF2B5EF4-FFF2-40B4-BE49-F238E27FC236}">
                  <a16:creationId xmlns:a16="http://schemas.microsoft.com/office/drawing/2014/main" id="{A2F57F02-A4EE-079F-E620-EC487EA988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790" y="1069804"/>
              <a:ext cx="7955080" cy="7403"/>
            </a:xfrm>
            <a:prstGeom prst="line">
              <a:avLst/>
            </a:prstGeom>
            <a:noFill/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diamond"/>
              <a:tailEnd type="diamond"/>
            </a:ln>
            <a:effectLst/>
          </p:spPr>
        </p:cxnSp>
        <p:sp>
          <p:nvSpPr>
            <p:cNvPr id="82" name="Rectangle 24">
              <a:extLst>
                <a:ext uri="{FF2B5EF4-FFF2-40B4-BE49-F238E27FC236}">
                  <a16:creationId xmlns:a16="http://schemas.microsoft.com/office/drawing/2014/main" id="{161D99B6-FF3E-1D66-D890-AD0BA723250A}"/>
                </a:ext>
              </a:extLst>
            </p:cNvPr>
            <p:cNvSpPr/>
            <p:nvPr/>
          </p:nvSpPr>
          <p:spPr>
            <a:xfrm>
              <a:off x="3546889" y="923316"/>
              <a:ext cx="2103120" cy="3788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r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YaHei"/>
                  <a:ea typeface="Microsoft YaHei"/>
                  <a:cs typeface="Arial" panose="020B0604020202020204" pitchFamily="34" charset="0"/>
                </a:rPr>
                <a:t>推广费</a:t>
              </a:r>
              <a:r>
                <a:rPr kumimoji="1" lang="en-US" altLang="zh-CN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YaHei"/>
                  <a:ea typeface="Microsoft YaHei"/>
                  <a:cs typeface="Arial" panose="020B0604020202020204" pitchFamily="34" charset="0"/>
                </a:rPr>
                <a:t>PTP</a:t>
              </a:r>
              <a:r>
                <a:rPr kumimoji="1" lang="zh-CN" altLang="en-US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YaHei"/>
                  <a:ea typeface="Microsoft YaHei"/>
                  <a:cs typeface="Arial" panose="020B0604020202020204" pitchFamily="34" charset="0"/>
                </a:rPr>
                <a:t>系统流程</a:t>
              </a:r>
              <a:endParaRPr kumimoji="1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Arial" panose="020B0604020202020204" pitchFamily="34" charset="0"/>
              </a:endParaRPr>
            </a:p>
          </p:txBody>
        </p:sp>
        <p:grpSp>
          <p:nvGrpSpPr>
            <p:cNvPr id="83" name="Group 55">
              <a:extLst>
                <a:ext uri="{FF2B5EF4-FFF2-40B4-BE49-F238E27FC236}">
                  <a16:creationId xmlns:a16="http://schemas.microsoft.com/office/drawing/2014/main" id="{748F363F-598A-5DBE-07A4-E7706396C922}"/>
                </a:ext>
              </a:extLst>
            </p:cNvPr>
            <p:cNvGrpSpPr/>
            <p:nvPr/>
          </p:nvGrpSpPr>
          <p:grpSpPr>
            <a:xfrm>
              <a:off x="3432303" y="1071757"/>
              <a:ext cx="431104" cy="307775"/>
              <a:chOff x="3126173" y="1114361"/>
              <a:chExt cx="431104" cy="307775"/>
            </a:xfrm>
          </p:grpSpPr>
          <p:sp>
            <p:nvSpPr>
              <p:cNvPr id="85" name="Rectangle 49">
                <a:extLst>
                  <a:ext uri="{FF2B5EF4-FFF2-40B4-BE49-F238E27FC236}">
                    <a16:creationId xmlns:a16="http://schemas.microsoft.com/office/drawing/2014/main" id="{41959D13-B337-0497-F283-252FB5609711}"/>
                  </a:ext>
                </a:extLst>
              </p:cNvPr>
              <p:cNvSpPr/>
              <p:nvPr/>
            </p:nvSpPr>
            <p:spPr>
              <a:xfrm>
                <a:off x="3126173" y="1114361"/>
                <a:ext cx="431104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86" name="Graphic 44">
                <a:extLst>
                  <a:ext uri="{FF2B5EF4-FFF2-40B4-BE49-F238E27FC236}">
                    <a16:creationId xmlns:a16="http://schemas.microsoft.com/office/drawing/2014/main" id="{7DBEA2AB-F8B5-08BD-1641-5CCA8D47DC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204565" y="1122751"/>
                <a:ext cx="274320" cy="252882"/>
              </a:xfrm>
              <a:prstGeom prst="rect">
                <a:avLst/>
              </a:prstGeom>
            </p:spPr>
          </p:pic>
        </p:grpSp>
      </p:grpSp>
      <p:sp>
        <p:nvSpPr>
          <p:cNvPr id="68" name="Rectangle 5">
            <a:extLst>
              <a:ext uri="{FF2B5EF4-FFF2-40B4-BE49-F238E27FC236}">
                <a16:creationId xmlns:a16="http://schemas.microsoft.com/office/drawing/2014/main" id="{F4278DE9-3955-53EB-9783-BF9CF760E40D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6" name="TextBox 53">
            <a:extLst>
              <a:ext uri="{FF2B5EF4-FFF2-40B4-BE49-F238E27FC236}">
                <a16:creationId xmlns:a16="http://schemas.microsoft.com/office/drawing/2014/main" id="{934D64DD-EC0F-2EE3-8EAD-D36C9DFCC3E5}"/>
              </a:ext>
            </a:extLst>
          </p:cNvPr>
          <p:cNvSpPr txBox="1"/>
          <p:nvPr/>
        </p:nvSpPr>
        <p:spPr>
          <a:xfrm>
            <a:off x="12390126" y="652105"/>
            <a:ext cx="3680688" cy="825606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不适用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，仍需沿用现有报销流程的场景：</a:t>
            </a:r>
            <a:endParaRPr kumimoji="0" lang="en-US" altLang="zh-CN" sz="10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①根据集团招投标制度要求，金额未达到一定标准（如：</a:t>
            </a:r>
            <a:r>
              <a:rPr kumimoji="0" lang="en-US" altLang="zh-CN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2</a:t>
            </a: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万），无需进行招投标且由个人垫付后报销的费用；</a:t>
            </a: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②线上店铺类推广费，如发放京东平台优惠券，无合同，采取预充值后报销的方式，对账、结算均在对方系统；</a:t>
            </a: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55DDDB7-6149-81B6-EEC1-9D915D5EC731}"/>
              </a:ext>
            </a:extLst>
          </p:cNvPr>
          <p:cNvGrpSpPr/>
          <p:nvPr/>
        </p:nvGrpSpPr>
        <p:grpSpPr>
          <a:xfrm>
            <a:off x="98200" y="1168840"/>
            <a:ext cx="1159099" cy="1718901"/>
            <a:chOff x="660056" y="1327268"/>
            <a:chExt cx="1106586" cy="1074570"/>
          </a:xfrm>
        </p:grpSpPr>
        <p:sp>
          <p:nvSpPr>
            <p:cNvPr id="13" name="Rectangle 18">
              <a:extLst>
                <a:ext uri="{FF2B5EF4-FFF2-40B4-BE49-F238E27FC236}">
                  <a16:creationId xmlns:a16="http://schemas.microsoft.com/office/drawing/2014/main" id="{C84A991E-80EF-3FE4-F915-2C1D892B95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0056" y="1327268"/>
              <a:ext cx="1106586" cy="1074570"/>
            </a:xfrm>
            <a:prstGeom prst="rect">
              <a:avLst/>
            </a:prstGeom>
            <a:solidFill>
              <a:srgbClr val="E8EDF8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PBF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14" name="Rectangle 84">
              <a:extLst>
                <a:ext uri="{FF2B5EF4-FFF2-40B4-BE49-F238E27FC236}">
                  <a16:creationId xmlns:a16="http://schemas.microsoft.com/office/drawing/2014/main" id="{BEB8974A-666A-5AA6-1592-B44963BB97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015" y="1487970"/>
              <a:ext cx="900000" cy="195602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部门预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17" name="文本框 149">
            <a:extLst>
              <a:ext uri="{FF2B5EF4-FFF2-40B4-BE49-F238E27FC236}">
                <a16:creationId xmlns:a16="http://schemas.microsoft.com/office/drawing/2014/main" id="{904E78B0-C4C8-C362-911F-8A7347E08F2E}"/>
              </a:ext>
            </a:extLst>
          </p:cNvPr>
          <p:cNvSpPr txBox="1"/>
          <p:nvPr/>
        </p:nvSpPr>
        <p:spPr>
          <a:xfrm>
            <a:off x="298458" y="1654171"/>
            <a:ext cx="668256" cy="1187630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latin typeface="+mj-ea"/>
                <a:ea typeface="+mj-ea"/>
              </a:rPr>
              <a:t>预算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部门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金额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年度</a:t>
            </a:r>
            <a:endParaRPr lang="en-US" altLang="zh-CN" sz="1050">
              <a:latin typeface="+mj-ea"/>
              <a:ea typeface="+mj-ea"/>
            </a:endParaRPr>
          </a:p>
        </p:txBody>
      </p:sp>
      <p:sp>
        <p:nvSpPr>
          <p:cNvPr id="22" name="Rectangle 18">
            <a:extLst>
              <a:ext uri="{FF2B5EF4-FFF2-40B4-BE49-F238E27FC236}">
                <a16:creationId xmlns:a16="http://schemas.microsoft.com/office/drawing/2014/main" id="{65AD4101-F001-DEE4-1754-4EC0E27444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4107" y="1154202"/>
            <a:ext cx="2273821" cy="2200254"/>
          </a:xfrm>
          <a:prstGeom prst="rect">
            <a:avLst/>
          </a:prstGeom>
          <a:solidFill>
            <a:srgbClr val="F2F2F2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MP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42" name="Rectangle 30">
            <a:extLst>
              <a:ext uri="{FF2B5EF4-FFF2-40B4-BE49-F238E27FC236}">
                <a16:creationId xmlns:a16="http://schemas.microsoft.com/office/drawing/2014/main" id="{69235594-E16C-9D9C-2B75-D1AEA480DD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3701" y="1438496"/>
            <a:ext cx="886145" cy="310686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项目数据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6" name="Rectangle 30">
            <a:extLst>
              <a:ext uri="{FF2B5EF4-FFF2-40B4-BE49-F238E27FC236}">
                <a16:creationId xmlns:a16="http://schemas.microsoft.com/office/drawing/2014/main" id="{55BF202D-2B4C-DE72-7106-0D536903CB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6400" y="1438495"/>
            <a:ext cx="886145" cy="310686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报销提报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7" name="文本框 149">
            <a:extLst>
              <a:ext uri="{FF2B5EF4-FFF2-40B4-BE49-F238E27FC236}">
                <a16:creationId xmlns:a16="http://schemas.microsoft.com/office/drawing/2014/main" id="{16CEEAFB-2939-63C4-3F4B-8AF801063E53}"/>
              </a:ext>
            </a:extLst>
          </p:cNvPr>
          <p:cNvSpPr txBox="1"/>
          <p:nvPr/>
        </p:nvSpPr>
        <p:spPr>
          <a:xfrm>
            <a:off x="2067962" y="1749181"/>
            <a:ext cx="668256" cy="1187630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latin typeface="+mj-ea"/>
                <a:ea typeface="+mj-ea"/>
              </a:rPr>
              <a:t>项目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立项部门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项目期间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项目号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项目描述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预算金额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zh-CN" sz="1050">
              <a:latin typeface="+mj-ea"/>
              <a:ea typeface="+mj-ea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0A758CD-B7A3-0F45-46ED-62BBB3B3A41A}"/>
              </a:ext>
            </a:extLst>
          </p:cNvPr>
          <p:cNvGrpSpPr/>
          <p:nvPr/>
        </p:nvGrpSpPr>
        <p:grpSpPr>
          <a:xfrm>
            <a:off x="4854318" y="1154661"/>
            <a:ext cx="3467788" cy="3442499"/>
            <a:chOff x="2950250" y="3050232"/>
            <a:chExt cx="2906060" cy="4186816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0B47AF7B-C13C-CE7E-8D66-28C8C330AC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0250" y="3050232"/>
              <a:ext cx="2906060" cy="4186816"/>
            </a:xfrm>
            <a:prstGeom prst="rect">
              <a:avLst/>
            </a:prstGeom>
            <a:solidFill>
              <a:srgbClr val="C5D3ED">
                <a:alpha val="40000"/>
              </a:srgbClr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SRM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50" name="Rectangle 18">
              <a:extLst>
                <a:ext uri="{FF2B5EF4-FFF2-40B4-BE49-F238E27FC236}">
                  <a16:creationId xmlns:a16="http://schemas.microsoft.com/office/drawing/2014/main" id="{7CD5BAAC-15BB-CD69-3A92-635CD1FDC8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0835" y="3372738"/>
              <a:ext cx="1255025" cy="2160932"/>
            </a:xfrm>
            <a:prstGeom prst="rect">
              <a:avLst/>
            </a:prstGeom>
            <a:solidFill>
              <a:srgbClr val="C5D3ED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53" name="Rectangle 18">
              <a:extLst>
                <a:ext uri="{FF2B5EF4-FFF2-40B4-BE49-F238E27FC236}">
                  <a16:creationId xmlns:a16="http://schemas.microsoft.com/office/drawing/2014/main" id="{0CDFEAF3-0A22-9090-0904-7AC0F5F01D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4619" y="3376228"/>
              <a:ext cx="1259735" cy="2160932"/>
            </a:xfrm>
            <a:prstGeom prst="rect">
              <a:avLst/>
            </a:prstGeom>
            <a:solidFill>
              <a:srgbClr val="C5D3ED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</p:grpSp>
      <p:cxnSp>
        <p:nvCxnSpPr>
          <p:cNvPr id="71" name="直接箭头连接符 205">
            <a:extLst>
              <a:ext uri="{FF2B5EF4-FFF2-40B4-BE49-F238E27FC236}">
                <a16:creationId xmlns:a16="http://schemas.microsoft.com/office/drawing/2014/main" id="{59C59A7E-2485-900A-2E49-1E7FDCFF845B}"/>
              </a:ext>
            </a:extLst>
          </p:cNvPr>
          <p:cNvCxnSpPr>
            <a:cxnSpLocks/>
          </p:cNvCxnSpPr>
          <p:nvPr/>
        </p:nvCxnSpPr>
        <p:spPr>
          <a:xfrm>
            <a:off x="4248382" y="2060882"/>
            <a:ext cx="443526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文本框 149">
            <a:extLst>
              <a:ext uri="{FF2B5EF4-FFF2-40B4-BE49-F238E27FC236}">
                <a16:creationId xmlns:a16="http://schemas.microsoft.com/office/drawing/2014/main" id="{E333D232-61E8-961B-CE22-473305465187}"/>
              </a:ext>
            </a:extLst>
          </p:cNvPr>
          <p:cNvSpPr txBox="1"/>
          <p:nvPr/>
        </p:nvSpPr>
        <p:spPr>
          <a:xfrm>
            <a:off x="5215726" y="1901630"/>
            <a:ext cx="1041786" cy="113184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latin typeface="+mj-ea"/>
                <a:ea typeface="+mj-ea"/>
              </a:rPr>
              <a:t>合同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供应商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采购细目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采购数量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合同金额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合同日期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zh-CN" sz="1050">
              <a:latin typeface="+mj-ea"/>
              <a:ea typeface="+mj-ea"/>
            </a:endParaRPr>
          </a:p>
        </p:txBody>
      </p:sp>
      <p:sp>
        <p:nvSpPr>
          <p:cNvPr id="73" name="Rectangle 84">
            <a:extLst>
              <a:ext uri="{FF2B5EF4-FFF2-40B4-BE49-F238E27FC236}">
                <a16:creationId xmlns:a16="http://schemas.microsoft.com/office/drawing/2014/main" id="{77DC2D8A-DCF3-9EC1-2541-1C69A7C2BC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4803" y="1430197"/>
            <a:ext cx="942709" cy="312888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合同管理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9" name="Rectangle 18">
            <a:extLst>
              <a:ext uri="{FF2B5EF4-FFF2-40B4-BE49-F238E27FC236}">
                <a16:creationId xmlns:a16="http://schemas.microsoft.com/office/drawing/2014/main" id="{F8E628E3-0267-F61D-B54A-BF5B38D6E9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2213" y="3311038"/>
            <a:ext cx="1497616" cy="1188228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75" name="Rectangle 84">
            <a:extLst>
              <a:ext uri="{FF2B5EF4-FFF2-40B4-BE49-F238E27FC236}">
                <a16:creationId xmlns:a16="http://schemas.microsoft.com/office/drawing/2014/main" id="{6743EAF0-D701-1706-DD7D-5481357165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9165" y="1437394"/>
            <a:ext cx="942709" cy="312888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管理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7" name="文本框 149">
            <a:extLst>
              <a:ext uri="{FF2B5EF4-FFF2-40B4-BE49-F238E27FC236}">
                <a16:creationId xmlns:a16="http://schemas.microsoft.com/office/drawing/2014/main" id="{A8527785-C4D3-CBE2-7E30-1BFCAE929EC4}"/>
              </a:ext>
            </a:extLst>
          </p:cNvPr>
          <p:cNvSpPr txBox="1"/>
          <p:nvPr/>
        </p:nvSpPr>
        <p:spPr>
          <a:xfrm>
            <a:off x="6801676" y="2067627"/>
            <a:ext cx="1041786" cy="113184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latin typeface="+mj-ea"/>
                <a:ea typeface="+mj-ea"/>
              </a:rPr>
              <a:t>采购订单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供应商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采购细目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采购数量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订单金额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订单日期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交货日期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成本中心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zh-CN" sz="1050">
              <a:latin typeface="+mj-ea"/>
              <a:ea typeface="+mj-ea"/>
            </a:endParaRPr>
          </a:p>
        </p:txBody>
      </p:sp>
      <p:sp>
        <p:nvSpPr>
          <p:cNvPr id="78" name="Rectangle 84">
            <a:extLst>
              <a:ext uri="{FF2B5EF4-FFF2-40B4-BE49-F238E27FC236}">
                <a16:creationId xmlns:a16="http://schemas.microsoft.com/office/drawing/2014/main" id="{710C3AB6-A032-F3A5-7FD8-0766EBB260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5264" y="3326366"/>
            <a:ext cx="942709" cy="312888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发票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4" name="文本框 149">
            <a:extLst>
              <a:ext uri="{FF2B5EF4-FFF2-40B4-BE49-F238E27FC236}">
                <a16:creationId xmlns:a16="http://schemas.microsoft.com/office/drawing/2014/main" id="{EBE40B54-9D8F-A89C-0A47-0211C93C4F95}"/>
              </a:ext>
            </a:extLst>
          </p:cNvPr>
          <p:cNvSpPr txBox="1"/>
          <p:nvPr/>
        </p:nvSpPr>
        <p:spPr>
          <a:xfrm>
            <a:off x="5265264" y="3884833"/>
            <a:ext cx="1041786" cy="614432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latin typeface="+mj-ea"/>
                <a:ea typeface="+mj-ea"/>
              </a:rPr>
              <a:t>发票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发票金额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订单号码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发票日期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zh-CN" sz="1050">
              <a:latin typeface="+mj-ea"/>
              <a:ea typeface="+mj-ea"/>
            </a:endParaRPr>
          </a:p>
        </p:txBody>
      </p:sp>
      <p:sp>
        <p:nvSpPr>
          <p:cNvPr id="88" name="Rectangle 18">
            <a:extLst>
              <a:ext uri="{FF2B5EF4-FFF2-40B4-BE49-F238E27FC236}">
                <a16:creationId xmlns:a16="http://schemas.microsoft.com/office/drawing/2014/main" id="{95E6C92B-6288-13F6-26EC-058FC24F73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066" y="1168840"/>
            <a:ext cx="2077961" cy="2219169"/>
          </a:xfrm>
          <a:prstGeom prst="rect">
            <a:avLst/>
          </a:prstGeom>
          <a:solidFill>
            <a:srgbClr val="C0E9FF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AP ERP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89" name="文本框 6">
            <a:extLst>
              <a:ext uri="{FF2B5EF4-FFF2-40B4-BE49-F238E27FC236}">
                <a16:creationId xmlns:a16="http://schemas.microsoft.com/office/drawing/2014/main" id="{DA258E5A-F3D2-0927-397D-74551F25100E}"/>
              </a:ext>
            </a:extLst>
          </p:cNvPr>
          <p:cNvSpPr txBox="1"/>
          <p:nvPr/>
        </p:nvSpPr>
        <p:spPr>
          <a:xfrm>
            <a:off x="10300231" y="1457893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应付账款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6" name="文本框 126">
            <a:extLst>
              <a:ext uri="{FF2B5EF4-FFF2-40B4-BE49-F238E27FC236}">
                <a16:creationId xmlns:a16="http://schemas.microsoft.com/office/drawing/2014/main" id="{AE0692ED-E46A-2E87-38F2-EFA0BEECA72C}"/>
              </a:ext>
            </a:extLst>
          </p:cNvPr>
          <p:cNvSpPr txBox="1"/>
          <p:nvPr/>
        </p:nvSpPr>
        <p:spPr>
          <a:xfrm>
            <a:off x="9278542" y="1464240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采购订单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101" name="直接箭头连接符 205">
            <a:extLst>
              <a:ext uri="{FF2B5EF4-FFF2-40B4-BE49-F238E27FC236}">
                <a16:creationId xmlns:a16="http://schemas.microsoft.com/office/drawing/2014/main" id="{9A9DE27D-23B8-9D83-D1DC-3B761DD19EE7}"/>
              </a:ext>
            </a:extLst>
          </p:cNvPr>
          <p:cNvCxnSpPr>
            <a:cxnSpLocks/>
          </p:cNvCxnSpPr>
          <p:nvPr/>
        </p:nvCxnSpPr>
        <p:spPr>
          <a:xfrm>
            <a:off x="8536364" y="2060882"/>
            <a:ext cx="443526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 18">
            <a:extLst>
              <a:ext uri="{FF2B5EF4-FFF2-40B4-BE49-F238E27FC236}">
                <a16:creationId xmlns:a16="http://schemas.microsoft.com/office/drawing/2014/main" id="{908FC7BE-8732-857F-7051-6B052B1063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0336" y="4019907"/>
            <a:ext cx="1159099" cy="2306682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11" name="文本框 149">
            <a:extLst>
              <a:ext uri="{FF2B5EF4-FFF2-40B4-BE49-F238E27FC236}">
                <a16:creationId xmlns:a16="http://schemas.microsoft.com/office/drawing/2014/main" id="{D643CDF3-DE1E-1111-FC2C-35FBAF8D7505}"/>
              </a:ext>
            </a:extLst>
          </p:cNvPr>
          <p:cNvSpPr txBox="1"/>
          <p:nvPr/>
        </p:nvSpPr>
        <p:spPr>
          <a:xfrm>
            <a:off x="9270779" y="2014034"/>
            <a:ext cx="1041786" cy="113184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latin typeface="+mj-ea"/>
                <a:ea typeface="+mj-ea"/>
              </a:rPr>
              <a:t>采购订单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供应商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采购细目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采购数量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合同金额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合同日期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zh-CN" sz="1050">
              <a:latin typeface="+mj-ea"/>
              <a:ea typeface="+mj-ea"/>
            </a:endParaRPr>
          </a:p>
        </p:txBody>
      </p:sp>
      <p:sp>
        <p:nvSpPr>
          <p:cNvPr id="112" name="文本框 149">
            <a:extLst>
              <a:ext uri="{FF2B5EF4-FFF2-40B4-BE49-F238E27FC236}">
                <a16:creationId xmlns:a16="http://schemas.microsoft.com/office/drawing/2014/main" id="{9EBFA988-4EEC-546C-926A-39BFA4F362E0}"/>
              </a:ext>
            </a:extLst>
          </p:cNvPr>
          <p:cNvSpPr txBox="1"/>
          <p:nvPr/>
        </p:nvSpPr>
        <p:spPr>
          <a:xfrm>
            <a:off x="10300231" y="1995871"/>
            <a:ext cx="1041786" cy="113184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latin typeface="+mj-ea"/>
                <a:ea typeface="+mj-ea"/>
              </a:rPr>
              <a:t>财务凭证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应付金额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供应商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付款条件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付款金额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币种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zh-CN" sz="1050">
              <a:latin typeface="+mj-ea"/>
              <a:ea typeface="+mj-ea"/>
            </a:endParaRPr>
          </a:p>
        </p:txBody>
      </p:sp>
      <p:sp>
        <p:nvSpPr>
          <p:cNvPr id="115" name="Rectangle 84">
            <a:extLst>
              <a:ext uri="{FF2B5EF4-FFF2-40B4-BE49-F238E27FC236}">
                <a16:creationId xmlns:a16="http://schemas.microsoft.com/office/drawing/2014/main" id="{445FC087-AE34-8045-0D63-9D70658D67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2816" y="4405424"/>
            <a:ext cx="942709" cy="312888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付款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6" name="文本框 149">
            <a:extLst>
              <a:ext uri="{FF2B5EF4-FFF2-40B4-BE49-F238E27FC236}">
                <a16:creationId xmlns:a16="http://schemas.microsoft.com/office/drawing/2014/main" id="{C467854D-FFF8-9A6F-3F46-55DCD751CF5A}"/>
              </a:ext>
            </a:extLst>
          </p:cNvPr>
          <p:cNvSpPr txBox="1"/>
          <p:nvPr/>
        </p:nvSpPr>
        <p:spPr>
          <a:xfrm>
            <a:off x="9202816" y="4994070"/>
            <a:ext cx="1041786" cy="113184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latin typeface="+mj-ea"/>
                <a:ea typeface="+mj-ea"/>
              </a:rPr>
              <a:t>付款指令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供应商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银行代码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银行账户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付款金额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应付条目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zh-CN" sz="1050">
              <a:latin typeface="+mj-ea"/>
              <a:ea typeface="+mj-ea"/>
            </a:endParaRPr>
          </a:p>
        </p:txBody>
      </p:sp>
      <p:sp>
        <p:nvSpPr>
          <p:cNvPr id="117" name="文本框 29">
            <a:extLst>
              <a:ext uri="{FF2B5EF4-FFF2-40B4-BE49-F238E27FC236}">
                <a16:creationId xmlns:a16="http://schemas.microsoft.com/office/drawing/2014/main" id="{70AB3BA4-FBD2-17DF-3564-483372F93A5E}"/>
              </a:ext>
            </a:extLst>
          </p:cNvPr>
          <p:cNvSpPr txBox="1"/>
          <p:nvPr/>
        </p:nvSpPr>
        <p:spPr>
          <a:xfrm>
            <a:off x="717419" y="2936811"/>
            <a:ext cx="712156" cy="54021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预算导入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119" name="Rectangle 18">
            <a:extLst>
              <a:ext uri="{FF2B5EF4-FFF2-40B4-BE49-F238E27FC236}">
                <a16:creationId xmlns:a16="http://schemas.microsoft.com/office/drawing/2014/main" id="{E44BF99C-8272-95F5-71EC-F25A1AF363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00" y="3354456"/>
            <a:ext cx="1159099" cy="1616947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费用中心</a:t>
            </a:r>
          </a:p>
        </p:txBody>
      </p:sp>
      <p:sp>
        <p:nvSpPr>
          <p:cNvPr id="120" name="Rectangle 84">
            <a:extLst>
              <a:ext uri="{FF2B5EF4-FFF2-40B4-BE49-F238E27FC236}">
                <a16:creationId xmlns:a16="http://schemas.microsoft.com/office/drawing/2014/main" id="{F7C56F94-77BA-17C6-8884-F7B48E52E4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640" y="3658920"/>
            <a:ext cx="942709" cy="312888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分配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1" name="文本框 149">
            <a:extLst>
              <a:ext uri="{FF2B5EF4-FFF2-40B4-BE49-F238E27FC236}">
                <a16:creationId xmlns:a16="http://schemas.microsoft.com/office/drawing/2014/main" id="{E6B64F78-47F5-4D38-A57E-5F99374CAA9D}"/>
              </a:ext>
            </a:extLst>
          </p:cNvPr>
          <p:cNvSpPr txBox="1"/>
          <p:nvPr/>
        </p:nvSpPr>
        <p:spPr>
          <a:xfrm>
            <a:off x="298457" y="3919882"/>
            <a:ext cx="668256" cy="1187630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latin typeface="+mj-ea"/>
                <a:ea typeface="+mj-ea"/>
              </a:rPr>
              <a:t>项目预算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项目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项目类型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预算金额</a:t>
            </a:r>
            <a:endParaRPr lang="en-US" altLang="zh-CN" sz="1050">
              <a:latin typeface="+mj-ea"/>
              <a:ea typeface="+mj-ea"/>
            </a:endParaRPr>
          </a:p>
        </p:txBody>
      </p:sp>
      <p:cxnSp>
        <p:nvCxnSpPr>
          <p:cNvPr id="123" name="Connector: Elbow 122">
            <a:extLst>
              <a:ext uri="{FF2B5EF4-FFF2-40B4-BE49-F238E27FC236}">
                <a16:creationId xmlns:a16="http://schemas.microsoft.com/office/drawing/2014/main" id="{BD3326DB-D030-03B6-D988-D259A9CAC59E}"/>
              </a:ext>
            </a:extLst>
          </p:cNvPr>
          <p:cNvCxnSpPr>
            <a:stCxn id="119" idx="3"/>
            <a:endCxn id="22" idx="2"/>
          </p:cNvCxnSpPr>
          <p:nvPr/>
        </p:nvCxnSpPr>
        <p:spPr>
          <a:xfrm flipV="1">
            <a:off x="1257299" y="3354456"/>
            <a:ext cx="1803719" cy="808474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直接箭头连接符 205">
            <a:extLst>
              <a:ext uri="{FF2B5EF4-FFF2-40B4-BE49-F238E27FC236}">
                <a16:creationId xmlns:a16="http://schemas.microsoft.com/office/drawing/2014/main" id="{F4C32F27-D103-44F8-5126-A13C1469BE5A}"/>
              </a:ext>
            </a:extLst>
          </p:cNvPr>
          <p:cNvCxnSpPr>
            <a:cxnSpLocks/>
            <a:stCxn id="13" idx="2"/>
            <a:endCxn id="119" idx="0"/>
          </p:cNvCxnSpPr>
          <p:nvPr/>
        </p:nvCxnSpPr>
        <p:spPr>
          <a:xfrm>
            <a:off x="677750" y="2887741"/>
            <a:ext cx="0" cy="46671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文本框 29">
            <a:extLst>
              <a:ext uri="{FF2B5EF4-FFF2-40B4-BE49-F238E27FC236}">
                <a16:creationId xmlns:a16="http://schemas.microsoft.com/office/drawing/2014/main" id="{663DDFFF-A392-8A8D-88B8-79CA1CEDCDB3}"/>
              </a:ext>
            </a:extLst>
          </p:cNvPr>
          <p:cNvSpPr txBox="1"/>
          <p:nvPr/>
        </p:nvSpPr>
        <p:spPr>
          <a:xfrm>
            <a:off x="1740547" y="4192471"/>
            <a:ext cx="930443" cy="425906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预算拆解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133" name="文本框 29">
            <a:extLst>
              <a:ext uri="{FF2B5EF4-FFF2-40B4-BE49-F238E27FC236}">
                <a16:creationId xmlns:a16="http://schemas.microsoft.com/office/drawing/2014/main" id="{4D446364-84D0-DC77-413F-7A48FDDCBE2A}"/>
              </a:ext>
            </a:extLst>
          </p:cNvPr>
          <p:cNvSpPr txBox="1"/>
          <p:nvPr/>
        </p:nvSpPr>
        <p:spPr>
          <a:xfrm>
            <a:off x="4192721" y="1560801"/>
            <a:ext cx="543033" cy="43339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触发订单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创建请求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134" name="TextBox 53">
            <a:extLst>
              <a:ext uri="{FF2B5EF4-FFF2-40B4-BE49-F238E27FC236}">
                <a16:creationId xmlns:a16="http://schemas.microsoft.com/office/drawing/2014/main" id="{972175B2-F2CF-C5A2-66EA-8950BC33A58E}"/>
              </a:ext>
            </a:extLst>
          </p:cNvPr>
          <p:cNvSpPr txBox="1"/>
          <p:nvPr/>
        </p:nvSpPr>
        <p:spPr>
          <a:xfrm>
            <a:off x="227618" y="5419504"/>
            <a:ext cx="3409200" cy="825606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经过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MPM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立项的推广费项目，适用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：</a:t>
            </a:r>
            <a:endParaRPr kumimoji="0" lang="en-US" altLang="zh-CN" sz="10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①</a:t>
            </a:r>
            <a:r>
              <a:rPr kumimoji="0" lang="zh-CN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在</a:t>
            </a:r>
            <a:r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MPM</a:t>
            </a:r>
            <a:r>
              <a:rPr kumimoji="0" lang="zh-CN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系统进行项目立项申请，按照项目制方式进行管理，</a:t>
            </a:r>
            <a:r>
              <a:rPr kumimoji="0" lang="zh-CN" alt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+mn-cs"/>
              </a:rPr>
              <a:t>并按</a:t>
            </a:r>
            <a:r>
              <a:rPr kumimoji="0" lang="zh-CN" altLang="en-US" sz="1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项目维度</a:t>
            </a:r>
            <a:r>
              <a:rPr kumimoji="0" lang="zh-CN" alt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+mn-cs"/>
              </a:rPr>
              <a:t>进行核算</a:t>
            </a: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36" name="Rectangle 18">
            <a:extLst>
              <a:ext uri="{FF2B5EF4-FFF2-40B4-BE49-F238E27FC236}">
                <a16:creationId xmlns:a16="http://schemas.microsoft.com/office/drawing/2014/main" id="{7D8573D9-C3BA-5FF8-5DD5-FA4B71D443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84343" y="4019906"/>
            <a:ext cx="1173037" cy="2306682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资金管理平台</a:t>
            </a:r>
          </a:p>
        </p:txBody>
      </p:sp>
      <p:sp>
        <p:nvSpPr>
          <p:cNvPr id="140" name="Rectangle 84">
            <a:extLst>
              <a:ext uri="{FF2B5EF4-FFF2-40B4-BE49-F238E27FC236}">
                <a16:creationId xmlns:a16="http://schemas.microsoft.com/office/drawing/2014/main" id="{A6B09DE6-900B-7398-446B-54F6D3B54A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19350" y="4299718"/>
            <a:ext cx="942709" cy="312888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付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41" name="文本框 149">
            <a:extLst>
              <a:ext uri="{FF2B5EF4-FFF2-40B4-BE49-F238E27FC236}">
                <a16:creationId xmlns:a16="http://schemas.microsoft.com/office/drawing/2014/main" id="{2649E010-9392-4C4A-2987-9117287257DA}"/>
              </a:ext>
            </a:extLst>
          </p:cNvPr>
          <p:cNvSpPr txBox="1"/>
          <p:nvPr/>
        </p:nvSpPr>
        <p:spPr>
          <a:xfrm>
            <a:off x="10995673" y="4850874"/>
            <a:ext cx="1041786" cy="113184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latin typeface="+mj-ea"/>
                <a:ea typeface="+mj-ea"/>
              </a:rPr>
              <a:t>对账单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付款银行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账户号码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金额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050">
                <a:latin typeface="+mj-ea"/>
                <a:ea typeface="+mj-ea"/>
              </a:rPr>
              <a:t>备注</a:t>
            </a: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zh-CN" sz="1050">
              <a:latin typeface="+mj-ea"/>
              <a:ea typeface="+mj-ea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zh-CN" sz="1050">
              <a:latin typeface="+mj-ea"/>
              <a:ea typeface="+mj-ea"/>
            </a:endParaRPr>
          </a:p>
        </p:txBody>
      </p:sp>
      <p:cxnSp>
        <p:nvCxnSpPr>
          <p:cNvPr id="142" name="直接箭头连接符 205">
            <a:extLst>
              <a:ext uri="{FF2B5EF4-FFF2-40B4-BE49-F238E27FC236}">
                <a16:creationId xmlns:a16="http://schemas.microsoft.com/office/drawing/2014/main" id="{9F38259F-1DFA-0947-1676-B3F9ED723083}"/>
              </a:ext>
            </a:extLst>
          </p:cNvPr>
          <p:cNvCxnSpPr>
            <a:cxnSpLocks/>
          </p:cNvCxnSpPr>
          <p:nvPr/>
        </p:nvCxnSpPr>
        <p:spPr>
          <a:xfrm>
            <a:off x="10348512" y="5419522"/>
            <a:ext cx="443526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文本框 29">
            <a:extLst>
              <a:ext uri="{FF2B5EF4-FFF2-40B4-BE49-F238E27FC236}">
                <a16:creationId xmlns:a16="http://schemas.microsoft.com/office/drawing/2014/main" id="{27B45E81-6F04-0A4B-AEC8-6657F22C2AFB}"/>
              </a:ext>
            </a:extLst>
          </p:cNvPr>
          <p:cNvSpPr txBox="1"/>
          <p:nvPr/>
        </p:nvSpPr>
        <p:spPr>
          <a:xfrm>
            <a:off x="10244949" y="4894558"/>
            <a:ext cx="547089" cy="44345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付款指令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144" name="文本框 29">
            <a:extLst>
              <a:ext uri="{FF2B5EF4-FFF2-40B4-BE49-F238E27FC236}">
                <a16:creationId xmlns:a16="http://schemas.microsoft.com/office/drawing/2014/main" id="{066A3F58-FA44-9FFA-15A8-1CC6B2B9AD80}"/>
              </a:ext>
            </a:extLst>
          </p:cNvPr>
          <p:cNvSpPr txBox="1"/>
          <p:nvPr/>
        </p:nvSpPr>
        <p:spPr>
          <a:xfrm>
            <a:off x="8375415" y="1584835"/>
            <a:ext cx="547089" cy="44345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应付账款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145" name="文本框 29">
            <a:extLst>
              <a:ext uri="{FF2B5EF4-FFF2-40B4-BE49-F238E27FC236}">
                <a16:creationId xmlns:a16="http://schemas.microsoft.com/office/drawing/2014/main" id="{85711208-44A9-205B-2E7E-ABBC0A63D964}"/>
              </a:ext>
            </a:extLst>
          </p:cNvPr>
          <p:cNvSpPr txBox="1"/>
          <p:nvPr/>
        </p:nvSpPr>
        <p:spPr>
          <a:xfrm>
            <a:off x="8906521" y="3542524"/>
            <a:ext cx="547089" cy="44345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付款提报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01122381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E4E541BB-9F03-1A90-AAA2-F9F75B5AE3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5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E4E541BB-9F03-1A90-AAA2-F9F75B5AE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1" name="Rectangle 7">
            <a:extLst>
              <a:ext uri="{FF2B5EF4-FFF2-40B4-BE49-F238E27FC236}">
                <a16:creationId xmlns:a16="http://schemas.microsoft.com/office/drawing/2014/main" id="{95363312-7EF3-88A9-754E-9CABB58ADB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192" y="1382251"/>
            <a:ext cx="8378032" cy="327446"/>
          </a:xfrm>
          <a:prstGeom prst="rect">
            <a:avLst/>
          </a:prstGeom>
          <a:solidFill>
            <a:srgbClr val="F2F2F2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b"/>
          <a:lstStyle/>
          <a:p>
            <a:pPr marL="0" marR="0" lvl="0" indent="0" algn="ctr" defTabSz="914400" rtl="0" eaLnBrk="1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3E9A57-CB75-5562-65AA-BBEC656EC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03430" y="6424571"/>
            <a:ext cx="585140" cy="232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FE292F-1EBE-6D4A-B339-A324D614A372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351361-B5FC-3B4C-93C7-23720EA44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zh-CN" altLang="en-US"/>
              <a:t>推广费 </a:t>
            </a:r>
            <a:r>
              <a:rPr lang="en-US" altLang="zh-CN"/>
              <a:t>– </a:t>
            </a:r>
            <a:r>
              <a:rPr lang="zh-CN" altLang="en-US"/>
              <a:t>长期核算方案：将推广费纳入</a:t>
            </a:r>
            <a:r>
              <a:rPr lang="en-US" altLang="zh-CN"/>
              <a:t>PTP</a:t>
            </a:r>
            <a:r>
              <a:rPr lang="zh-CN" altLang="en-US"/>
              <a:t>流程，与营销活动流程、各系统建设一起，共同实现推广费的闭环管理及内控风险管控</a:t>
            </a:r>
            <a:endParaRPr lang="en-US"/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083B3D6B-C374-F79C-BE1B-E2A81807DDCF}"/>
              </a:ext>
            </a:extLst>
          </p:cNvPr>
          <p:cNvGrpSpPr/>
          <p:nvPr/>
        </p:nvGrpSpPr>
        <p:grpSpPr>
          <a:xfrm>
            <a:off x="400680" y="1413149"/>
            <a:ext cx="215444" cy="1620000"/>
            <a:chOff x="400680" y="1413149"/>
            <a:chExt cx="215444" cy="1620000"/>
          </a:xfrm>
        </p:grpSpPr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3048E77B-D96D-AB3A-0DB2-A49A570E59DF}"/>
                </a:ext>
              </a:extLst>
            </p:cNvPr>
            <p:cNvCxnSpPr>
              <a:cxnSpLocks/>
            </p:cNvCxnSpPr>
            <p:nvPr/>
          </p:nvCxnSpPr>
          <p:spPr>
            <a:xfrm>
              <a:off x="508402" y="1413149"/>
              <a:ext cx="0" cy="1620000"/>
            </a:xfrm>
            <a:prstGeom prst="line">
              <a:avLst/>
            </a:prstGeom>
            <a:ln>
              <a:solidFill>
                <a:srgbClr val="005F9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3" name="TextBox 5">
              <a:extLst>
                <a:ext uri="{FF2B5EF4-FFF2-40B4-BE49-F238E27FC236}">
                  <a16:creationId xmlns:a16="http://schemas.microsoft.com/office/drawing/2014/main" id="{A4DC9235-B89B-9A12-F0FA-9A70BE03B361}"/>
                </a:ext>
              </a:extLst>
            </p:cNvPr>
            <p:cNvSpPr txBox="1"/>
            <p:nvPr/>
          </p:nvSpPr>
          <p:spPr>
            <a:xfrm>
              <a:off x="400680" y="1709497"/>
              <a:ext cx="215444" cy="1027305"/>
            </a:xfrm>
            <a:prstGeom prst="rect">
              <a:avLst/>
            </a:prstGeom>
            <a:solidFill>
              <a:schemeClr val="bg1"/>
            </a:solidFill>
          </p:spPr>
          <p:txBody>
            <a:bodyPr vert="eaVert" wrap="square" lIns="0" tIns="0" rIns="0" bIns="4572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5F9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采购到付款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9F7DE1E5-DE75-02E8-0FC8-A952EF02B333}"/>
              </a:ext>
            </a:extLst>
          </p:cNvPr>
          <p:cNvGrpSpPr/>
          <p:nvPr/>
        </p:nvGrpSpPr>
        <p:grpSpPr>
          <a:xfrm>
            <a:off x="400680" y="4844359"/>
            <a:ext cx="215444" cy="936000"/>
            <a:chOff x="400680" y="5306689"/>
            <a:chExt cx="215444" cy="936000"/>
          </a:xfrm>
        </p:grpSpPr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0442688F-1DB8-EE61-9A07-07516813128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8402" y="5306689"/>
              <a:ext cx="0" cy="936000"/>
            </a:xfrm>
            <a:prstGeom prst="line">
              <a:avLst/>
            </a:prstGeom>
            <a:ln>
              <a:solidFill>
                <a:srgbClr val="005F9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4" name="TextBox 118">
              <a:extLst>
                <a:ext uri="{FF2B5EF4-FFF2-40B4-BE49-F238E27FC236}">
                  <a16:creationId xmlns:a16="http://schemas.microsoft.com/office/drawing/2014/main" id="{3AE733C2-B542-EE4E-65D7-F9F25AE7E356}"/>
                </a:ext>
              </a:extLst>
            </p:cNvPr>
            <p:cNvSpPr txBox="1"/>
            <p:nvPr/>
          </p:nvSpPr>
          <p:spPr>
            <a:xfrm>
              <a:off x="400680" y="5478226"/>
              <a:ext cx="215444" cy="592926"/>
            </a:xfrm>
            <a:prstGeom prst="rect">
              <a:avLst/>
            </a:prstGeom>
            <a:solidFill>
              <a:schemeClr val="bg1"/>
            </a:solidFill>
          </p:spPr>
          <p:txBody>
            <a:bodyPr vert="eaVert" wrap="square" lIns="0" tIns="0" rIns="0" bIns="4572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5F9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财务流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160" name="组合 159">
            <a:extLst>
              <a:ext uri="{FF2B5EF4-FFF2-40B4-BE49-F238E27FC236}">
                <a16:creationId xmlns:a16="http://schemas.microsoft.com/office/drawing/2014/main" id="{3F3299CB-4453-7268-41B5-2E95AF1C969C}"/>
              </a:ext>
            </a:extLst>
          </p:cNvPr>
          <p:cNvGrpSpPr/>
          <p:nvPr/>
        </p:nvGrpSpPr>
        <p:grpSpPr>
          <a:xfrm>
            <a:off x="9339145" y="804097"/>
            <a:ext cx="2706623" cy="476399"/>
            <a:chOff x="9646818" y="900348"/>
            <a:chExt cx="2111789" cy="476399"/>
          </a:xfrm>
        </p:grpSpPr>
        <p:cxnSp>
          <p:nvCxnSpPr>
            <p:cNvPr id="135" name="直接连接符 134">
              <a:extLst>
                <a:ext uri="{FF2B5EF4-FFF2-40B4-BE49-F238E27FC236}">
                  <a16:creationId xmlns:a16="http://schemas.microsoft.com/office/drawing/2014/main" id="{6ED698DB-2623-7228-12FC-EB02CBEF685A}"/>
                </a:ext>
              </a:extLst>
            </p:cNvPr>
            <p:cNvCxnSpPr>
              <a:cxnSpLocks/>
            </p:cNvCxnSpPr>
            <p:nvPr/>
          </p:nvCxnSpPr>
          <p:spPr>
            <a:xfrm>
              <a:off x="9646818" y="1138547"/>
              <a:ext cx="2111789" cy="0"/>
            </a:xfrm>
            <a:prstGeom prst="line">
              <a:avLst/>
            </a:prstGeom>
            <a:ln w="19050">
              <a:solidFill>
                <a:schemeClr val="accent6"/>
              </a:solidFill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矩形 131">
              <a:extLst>
                <a:ext uri="{FF2B5EF4-FFF2-40B4-BE49-F238E27FC236}">
                  <a16:creationId xmlns:a16="http://schemas.microsoft.com/office/drawing/2014/main" id="{FA2CB8C0-FD78-5406-48E0-A1C62066A8C5}"/>
                </a:ext>
              </a:extLst>
            </p:cNvPr>
            <p:cNvSpPr/>
            <p:nvPr/>
          </p:nvSpPr>
          <p:spPr>
            <a:xfrm>
              <a:off x="10077849" y="900348"/>
              <a:ext cx="1249726" cy="4763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7FC3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现状</a:t>
              </a:r>
              <a:r>
                <a:rPr kumimoji="0" lang="en-US" altLang="zh-CN" sz="1400" b="1" i="0" u="none" strike="noStrike" kern="1200" cap="none" spc="0" normalizeH="0" baseline="0" noProof="0">
                  <a:ln>
                    <a:noFill/>
                  </a:ln>
                  <a:solidFill>
                    <a:srgbClr val="007FC3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VS</a:t>
              </a: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7FC3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变革点</a:t>
              </a:r>
            </a:p>
          </p:txBody>
        </p:sp>
      </p:grpSp>
      <p:sp>
        <p:nvSpPr>
          <p:cNvPr id="159" name="Rectangle 13">
            <a:extLst>
              <a:ext uri="{FF2B5EF4-FFF2-40B4-BE49-F238E27FC236}">
                <a16:creationId xmlns:a16="http://schemas.microsoft.com/office/drawing/2014/main" id="{0CC6C9CF-E734-B2BE-5F05-1D03CC74C94B}"/>
              </a:ext>
            </a:extLst>
          </p:cNvPr>
          <p:cNvSpPr/>
          <p:nvPr/>
        </p:nvSpPr>
        <p:spPr>
          <a:xfrm>
            <a:off x="9348339" y="3364409"/>
            <a:ext cx="2706629" cy="3221324"/>
          </a:xfrm>
          <a:prstGeom prst="rect">
            <a:avLst/>
          </a:prstGeom>
          <a:pattFill prst="ltUpDiag">
            <a:fgClr>
              <a:schemeClr val="accent6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1" i="0" u="sng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1" i="0" u="sng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1" i="0" u="sng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1" i="0" u="sng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需求管理环节：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依据营销采购计划管理采购需求</a:t>
            </a:r>
            <a:endParaRPr kumimoji="0" lang="en-US" altLang="zh-CN" sz="11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寻源与采购订单环节</a:t>
            </a:r>
            <a:r>
              <a:rPr kumimoji="0" lang="zh-CN" altLang="en-US" sz="11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：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依据营销采购申请进行合同匹配、寻源报价，生成营销采购订单（小额、零星采购可不走该环节，适用简化流程）</a:t>
            </a:r>
            <a:endParaRPr kumimoji="0" lang="en-US" altLang="zh-CN" sz="11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商品接收</a:t>
            </a:r>
            <a:r>
              <a:rPr kumimoji="0" lang="en-US" altLang="zh-CN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环节</a:t>
            </a:r>
            <a:r>
              <a:rPr kumimoji="0" lang="zh-CN" altLang="en-US" sz="11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：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根据物料签收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服务确认状态关闭物流采购订单（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PO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）行，并触发推广费核算</a:t>
            </a:r>
            <a:endParaRPr kumimoji="0" lang="en-US" altLang="zh-CN" sz="11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对账开票环节</a:t>
            </a:r>
            <a:r>
              <a:rPr kumimoji="0" lang="zh-CN" altLang="en-US" sz="11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：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在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SRM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系统中勾选推广费明细进行对账、结算</a:t>
            </a:r>
            <a:endParaRPr kumimoji="0" lang="en-US" altLang="zh-CN" sz="11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A1C35744-52BB-EB1B-1FDD-7290C05FA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192" y="4838902"/>
            <a:ext cx="8381146" cy="909981"/>
          </a:xfrm>
          <a:prstGeom prst="rect">
            <a:avLst/>
          </a:prstGeom>
          <a:solidFill>
            <a:srgbClr val="F2F2F2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b"/>
          <a:lstStyle/>
          <a:p>
            <a:pPr marL="0" marR="0" lvl="0" indent="0" algn="ctr" defTabSz="914400" rtl="0" eaLnBrk="1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业财一体化的财务处理，无缝的集成在业务流程之中</a:t>
            </a:r>
          </a:p>
        </p:txBody>
      </p:sp>
      <p:sp>
        <p:nvSpPr>
          <p:cNvPr id="26" name="Rectangle 50">
            <a:extLst>
              <a:ext uri="{FF2B5EF4-FFF2-40B4-BE49-F238E27FC236}">
                <a16:creationId xmlns:a16="http://schemas.microsoft.com/office/drawing/2014/main" id="{ACE84A0D-155F-43A8-8A57-79E56688D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38070" y="1905309"/>
            <a:ext cx="771271" cy="432000"/>
          </a:xfrm>
          <a:prstGeom prst="rect">
            <a:avLst/>
          </a:prstGeom>
          <a:solidFill>
            <a:srgbClr val="C0E9FF"/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物料签收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7" name="Rectangle 83">
            <a:extLst>
              <a:ext uri="{FF2B5EF4-FFF2-40B4-BE49-F238E27FC236}">
                <a16:creationId xmlns:a16="http://schemas.microsoft.com/office/drawing/2014/main" id="{CB513A01-C83B-5E5A-DF19-1AAA4E411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7128" y="1905309"/>
            <a:ext cx="771271" cy="432000"/>
          </a:xfrm>
          <a:prstGeom prst="rect">
            <a:avLst/>
          </a:prstGeom>
          <a:solidFill>
            <a:srgbClr val="C0E9FF"/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付款核销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6" name="Rectangle 88">
            <a:extLst>
              <a:ext uri="{FF2B5EF4-FFF2-40B4-BE49-F238E27FC236}">
                <a16:creationId xmlns:a16="http://schemas.microsoft.com/office/drawing/2014/main" id="{831180AB-11EF-29C0-44F4-A7AAB2E32B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9779" y="4896232"/>
            <a:ext cx="768096" cy="216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mpd="sng" algn="ctr">
            <a:solidFill>
              <a:srgbClr val="005F92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推广费核算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7" name="Rectangle 88">
            <a:extLst>
              <a:ext uri="{FF2B5EF4-FFF2-40B4-BE49-F238E27FC236}">
                <a16:creationId xmlns:a16="http://schemas.microsoft.com/office/drawing/2014/main" id="{80A7517B-922D-4DDA-02DD-43ECE665D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7128" y="5207969"/>
            <a:ext cx="771271" cy="216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mpd="sng" algn="ctr">
            <a:solidFill>
              <a:srgbClr val="005F92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清账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2" name="Rectangle 88">
            <a:extLst>
              <a:ext uri="{FF2B5EF4-FFF2-40B4-BE49-F238E27FC236}">
                <a16:creationId xmlns:a16="http://schemas.microsoft.com/office/drawing/2014/main" id="{78900F20-4411-2D72-C140-AC56FFC181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0704" y="4896232"/>
            <a:ext cx="771271" cy="216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mpd="sng" algn="ctr">
            <a:solidFill>
              <a:srgbClr val="005F92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付账款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6" name="Rectangle 37">
            <a:extLst>
              <a:ext uri="{FF2B5EF4-FFF2-40B4-BE49-F238E27FC236}">
                <a16:creationId xmlns:a16="http://schemas.microsoft.com/office/drawing/2014/main" id="{81173D5E-F8A0-DFD4-95B8-8C6C36792D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0704" y="1905309"/>
            <a:ext cx="771271" cy="432000"/>
          </a:xfrm>
          <a:prstGeom prst="rect">
            <a:avLst/>
          </a:prstGeom>
          <a:solidFill>
            <a:srgbClr val="C0E9FF"/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三单匹配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</p:txBody>
      </p:sp>
      <p:sp>
        <p:nvSpPr>
          <p:cNvPr id="102" name="Rectangle 30">
            <a:extLst>
              <a:ext uri="{FF2B5EF4-FFF2-40B4-BE49-F238E27FC236}">
                <a16:creationId xmlns:a16="http://schemas.microsoft.com/office/drawing/2014/main" id="{0B794F86-E8D4-00A8-E2C9-5F8E617EF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6631" y="1905309"/>
            <a:ext cx="768096" cy="432000"/>
          </a:xfrm>
          <a:prstGeom prst="rect">
            <a:avLst/>
          </a:prstGeom>
          <a:solidFill>
            <a:srgbClr val="C0E9FF"/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创建营销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采购</a:t>
            </a: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PO</a:t>
            </a:r>
          </a:p>
        </p:txBody>
      </p:sp>
      <p:sp>
        <p:nvSpPr>
          <p:cNvPr id="111" name="Rectangle 88">
            <a:extLst>
              <a:ext uri="{FF2B5EF4-FFF2-40B4-BE49-F238E27FC236}">
                <a16:creationId xmlns:a16="http://schemas.microsoft.com/office/drawing/2014/main" id="{FEB0C531-8366-A9E4-2F94-B41F2D8325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7128" y="4896232"/>
            <a:ext cx="771271" cy="216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mpd="sng" algn="ctr">
            <a:solidFill>
              <a:srgbClr val="005F92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付款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119" name="AutoShape 66">
            <a:extLst>
              <a:ext uri="{FF2B5EF4-FFF2-40B4-BE49-F238E27FC236}">
                <a16:creationId xmlns:a16="http://schemas.microsoft.com/office/drawing/2014/main" id="{9F0631AE-B6ED-E207-111B-6264437E9E5D}"/>
              </a:ext>
            </a:extLst>
          </p:cNvPr>
          <p:cNvCxnSpPr>
            <a:cxnSpLocks noChangeShapeType="1"/>
            <a:stCxn id="276" idx="0"/>
            <a:endCxn id="283" idx="2"/>
          </p:cNvCxnSpPr>
          <p:nvPr/>
        </p:nvCxnSpPr>
        <p:spPr bwMode="auto">
          <a:xfrm flipV="1">
            <a:off x="1699552" y="2337309"/>
            <a:ext cx="0" cy="1102071"/>
          </a:xfrm>
          <a:prstGeom prst="straightConnector1">
            <a:avLst/>
          </a:prstGeom>
          <a:noFill/>
          <a:ln w="12700" cmpd="sng">
            <a:solidFill>
              <a:schemeClr val="bg1">
                <a:lumMod val="50000"/>
              </a:schemeClr>
            </a:solidFill>
            <a:prstDash val="dash"/>
            <a:round/>
            <a:headEnd/>
            <a:tailEnd type="triangle" w="med" len="med"/>
          </a:ln>
        </p:spPr>
      </p:cxnSp>
      <p:cxnSp>
        <p:nvCxnSpPr>
          <p:cNvPr id="130" name="AutoShape 66">
            <a:extLst>
              <a:ext uri="{FF2B5EF4-FFF2-40B4-BE49-F238E27FC236}">
                <a16:creationId xmlns:a16="http://schemas.microsoft.com/office/drawing/2014/main" id="{0734A630-35AF-EB28-358C-55C924C61BCF}"/>
              </a:ext>
            </a:extLst>
          </p:cNvPr>
          <p:cNvCxnSpPr>
            <a:cxnSpLocks noChangeShapeType="1"/>
            <a:stCxn id="81" idx="2"/>
            <a:endCxn id="43" idx="0"/>
          </p:cNvCxnSpPr>
          <p:nvPr/>
        </p:nvCxnSpPr>
        <p:spPr bwMode="auto">
          <a:xfrm>
            <a:off x="2970525" y="3147296"/>
            <a:ext cx="0" cy="271536"/>
          </a:xfrm>
          <a:prstGeom prst="straightConnector1">
            <a:avLst/>
          </a:prstGeom>
          <a:noFill/>
          <a:ln w="12700" cmpd="sng">
            <a:solidFill>
              <a:schemeClr val="bg1">
                <a:lumMod val="50000"/>
              </a:schemeClr>
            </a:solidFill>
            <a:prstDash val="dash"/>
            <a:round/>
            <a:headEnd/>
            <a:tailEnd type="triangle" w="med" len="med"/>
          </a:ln>
        </p:spPr>
      </p:cxnSp>
      <p:sp>
        <p:nvSpPr>
          <p:cNvPr id="178" name="Rectangle 19">
            <a:extLst>
              <a:ext uri="{FF2B5EF4-FFF2-40B4-BE49-F238E27FC236}">
                <a16:creationId xmlns:a16="http://schemas.microsoft.com/office/drawing/2014/main" id="{A3CC71D8-89A6-6DF2-546B-99E32249A1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9713" y="3418832"/>
            <a:ext cx="792000" cy="39319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物料签收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</a:t>
            </a:r>
            <a:r>
              <a:rPr kumimoji="0" lang="en-US" altLang="zh-C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TCL/</a:t>
            </a: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客户签收）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96" name="Rectangle 29">
            <a:extLst>
              <a:ext uri="{FF2B5EF4-FFF2-40B4-BE49-F238E27FC236}">
                <a16:creationId xmlns:a16="http://schemas.microsoft.com/office/drawing/2014/main" id="{F737C82A-6539-3822-B58E-045179656E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7914" y="2592632"/>
            <a:ext cx="771271" cy="432000"/>
          </a:xfrm>
          <a:prstGeom prst="rect">
            <a:avLst/>
          </a:prstGeom>
          <a:solidFill>
            <a:srgbClr val="C0E9FF"/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开票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20" name="Rectangle 88">
            <a:extLst>
              <a:ext uri="{FF2B5EF4-FFF2-40B4-BE49-F238E27FC236}">
                <a16:creationId xmlns:a16="http://schemas.microsoft.com/office/drawing/2014/main" id="{F586B476-B4C2-C12F-ECE9-9C9E862D4B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0704" y="5207969"/>
            <a:ext cx="771271" cy="216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mpd="sng" algn="ctr">
            <a:solidFill>
              <a:srgbClr val="005F92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冲应付暂估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27" name="TextBox 55">
            <a:extLst>
              <a:ext uri="{FF2B5EF4-FFF2-40B4-BE49-F238E27FC236}">
                <a16:creationId xmlns:a16="http://schemas.microsoft.com/office/drawing/2014/main" id="{506914B4-2C1F-9961-A348-4F9ACB61BDE8}"/>
              </a:ext>
            </a:extLst>
          </p:cNvPr>
          <p:cNvSpPr txBox="1"/>
          <p:nvPr/>
        </p:nvSpPr>
        <p:spPr>
          <a:xfrm>
            <a:off x="1247225" y="1406005"/>
            <a:ext cx="885397" cy="27432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 anchorCtr="0">
            <a:noAutofit/>
          </a:bodyPr>
          <a:lstStyle>
            <a:defPPr>
              <a:defRPr lang="zh-CN"/>
            </a:defPPr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Times New Roman"/>
                <a:ea typeface="Microsoft YaHei"/>
                <a:cs typeface="+mn-cs"/>
              </a:rPr>
              <a:t>项目负责人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Times New Roman"/>
              <a:ea typeface="Microsoft YaHei"/>
              <a:cs typeface="+mn-cs"/>
            </a:endParaRPr>
          </a:p>
        </p:txBody>
      </p:sp>
      <p:sp>
        <p:nvSpPr>
          <p:cNvPr id="228" name="TextBox 48">
            <a:extLst>
              <a:ext uri="{FF2B5EF4-FFF2-40B4-BE49-F238E27FC236}">
                <a16:creationId xmlns:a16="http://schemas.microsoft.com/office/drawing/2014/main" id="{2777BBE0-5644-B8B6-B8F5-CBD69FF666A6}"/>
              </a:ext>
            </a:extLst>
          </p:cNvPr>
          <p:cNvSpPr txBox="1"/>
          <p:nvPr/>
        </p:nvSpPr>
        <p:spPr>
          <a:xfrm>
            <a:off x="2696491" y="1406005"/>
            <a:ext cx="1729304" cy="274320"/>
          </a:xfrm>
          <a:prstGeom prst="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Times New Roman"/>
                <a:ea typeface="Microsoft YaHei"/>
                <a:cs typeface="+mn-cs"/>
              </a:rPr>
              <a:t>营销采购岗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Times New Roman"/>
              <a:ea typeface="Microsoft YaHei"/>
              <a:cs typeface="+mn-cs"/>
            </a:endParaRPr>
          </a:p>
        </p:txBody>
      </p:sp>
      <p:sp>
        <p:nvSpPr>
          <p:cNvPr id="229" name="TextBox 50">
            <a:extLst>
              <a:ext uri="{FF2B5EF4-FFF2-40B4-BE49-F238E27FC236}">
                <a16:creationId xmlns:a16="http://schemas.microsoft.com/office/drawing/2014/main" id="{A651692B-22D9-E782-C0FA-78024A136530}"/>
              </a:ext>
            </a:extLst>
          </p:cNvPr>
          <p:cNvSpPr txBox="1"/>
          <p:nvPr/>
        </p:nvSpPr>
        <p:spPr>
          <a:xfrm>
            <a:off x="4843412" y="1406005"/>
            <a:ext cx="1042184" cy="274320"/>
          </a:xfrm>
          <a:prstGeom prst="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Times New Roman"/>
                <a:ea typeface="Microsoft YaHei"/>
                <a:cs typeface="+mn-cs"/>
              </a:rPr>
              <a:t>项目负责人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Times New Roman"/>
              <a:ea typeface="Microsoft YaHei"/>
              <a:cs typeface="+mn-cs"/>
            </a:endParaRPr>
          </a:p>
        </p:txBody>
      </p:sp>
      <p:sp>
        <p:nvSpPr>
          <p:cNvPr id="230" name="TextBox 51">
            <a:extLst>
              <a:ext uri="{FF2B5EF4-FFF2-40B4-BE49-F238E27FC236}">
                <a16:creationId xmlns:a16="http://schemas.microsoft.com/office/drawing/2014/main" id="{0B0EBCBE-44E1-0217-0802-65A457CFDA5E}"/>
              </a:ext>
            </a:extLst>
          </p:cNvPr>
          <p:cNvSpPr txBox="1"/>
          <p:nvPr/>
        </p:nvSpPr>
        <p:spPr>
          <a:xfrm>
            <a:off x="6045569" y="1406005"/>
            <a:ext cx="838808" cy="27432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 anchorCtr="0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Times New Roman"/>
                <a:ea typeface="Microsoft YaHei"/>
                <a:cs typeface="+mn-cs"/>
              </a:rPr>
              <a:t>项目负责人供应商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Times New Roman"/>
              <a:ea typeface="Microsoft YaHei"/>
              <a:cs typeface="+mn-cs"/>
            </a:endParaRPr>
          </a:p>
        </p:txBody>
      </p:sp>
      <p:sp>
        <p:nvSpPr>
          <p:cNvPr id="231" name="TextBox 52">
            <a:extLst>
              <a:ext uri="{FF2B5EF4-FFF2-40B4-BE49-F238E27FC236}">
                <a16:creationId xmlns:a16="http://schemas.microsoft.com/office/drawing/2014/main" id="{F5D48214-8027-360B-6988-0CA3CB3B2309}"/>
              </a:ext>
            </a:extLst>
          </p:cNvPr>
          <p:cNvSpPr txBox="1"/>
          <p:nvPr/>
        </p:nvSpPr>
        <p:spPr>
          <a:xfrm>
            <a:off x="7080997" y="1406005"/>
            <a:ext cx="838807" cy="274320"/>
          </a:xfrm>
          <a:prstGeom prst="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Times New Roman"/>
                <a:ea typeface="Microsoft YaHei"/>
                <a:cs typeface="+mn-cs"/>
              </a:rPr>
              <a:t>应付岗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Times New Roman"/>
              <a:ea typeface="Microsoft YaHei"/>
              <a:cs typeface="+mn-cs"/>
            </a:endParaRPr>
          </a:p>
        </p:txBody>
      </p:sp>
      <p:sp>
        <p:nvSpPr>
          <p:cNvPr id="232" name="TextBox 53">
            <a:extLst>
              <a:ext uri="{FF2B5EF4-FFF2-40B4-BE49-F238E27FC236}">
                <a16:creationId xmlns:a16="http://schemas.microsoft.com/office/drawing/2014/main" id="{CBE904E2-936B-3299-CDA3-7350FEAF7249}"/>
              </a:ext>
            </a:extLst>
          </p:cNvPr>
          <p:cNvSpPr txBox="1"/>
          <p:nvPr/>
        </p:nvSpPr>
        <p:spPr>
          <a:xfrm>
            <a:off x="8186050" y="1406005"/>
            <a:ext cx="822960" cy="274320"/>
          </a:xfrm>
          <a:prstGeom prst="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Times New Roman"/>
                <a:ea typeface="Microsoft YaHei"/>
                <a:cs typeface="+mn-cs"/>
              </a:rPr>
              <a:t>资金岗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Times New Roman"/>
              <a:ea typeface="Microsoft YaHei"/>
              <a:cs typeface="+mn-cs"/>
            </a:endParaRPr>
          </a:p>
        </p:txBody>
      </p:sp>
      <p:cxnSp>
        <p:nvCxnSpPr>
          <p:cNvPr id="239" name="AutoShape 66">
            <a:extLst>
              <a:ext uri="{FF2B5EF4-FFF2-40B4-BE49-F238E27FC236}">
                <a16:creationId xmlns:a16="http://schemas.microsoft.com/office/drawing/2014/main" id="{72419ECF-F522-BA65-4CFF-15C6CEE648E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951975" y="2091634"/>
            <a:ext cx="255153" cy="0"/>
          </a:xfrm>
          <a:prstGeom prst="straightConnector1">
            <a:avLst/>
          </a:prstGeom>
          <a:noFill/>
          <a:ln w="12700" cmpd="sng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276" name="Rectangle 18">
            <a:extLst>
              <a:ext uri="{FF2B5EF4-FFF2-40B4-BE49-F238E27FC236}">
                <a16:creationId xmlns:a16="http://schemas.microsoft.com/office/drawing/2014/main" id="{E98AE47F-F637-085E-512E-B972CD170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3916" y="3439380"/>
            <a:ext cx="771271" cy="396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营销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采购计划</a:t>
            </a:r>
          </a:p>
        </p:txBody>
      </p:sp>
      <p:sp>
        <p:nvSpPr>
          <p:cNvPr id="283" name="Rectangle 18">
            <a:extLst>
              <a:ext uri="{FF2B5EF4-FFF2-40B4-BE49-F238E27FC236}">
                <a16:creationId xmlns:a16="http://schemas.microsoft.com/office/drawing/2014/main" id="{26D281FC-FC33-BCDD-8743-5CC32398E2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3916" y="1905309"/>
            <a:ext cx="771271" cy="432000"/>
          </a:xfrm>
          <a:prstGeom prst="rect">
            <a:avLst/>
          </a:prstGeom>
          <a:solidFill>
            <a:srgbClr val="C0E9FF"/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创建采购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申请</a:t>
            </a: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PR</a:t>
            </a:r>
            <a:endParaRPr kumimoji="0" lang="zh-CN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43" name="Rectangle 30">
            <a:extLst>
              <a:ext uri="{FF2B5EF4-FFF2-40B4-BE49-F238E27FC236}">
                <a16:creationId xmlns:a16="http://schemas.microsoft.com/office/drawing/2014/main" id="{9378C579-BD54-D30F-93D2-FA83BB1C95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4889" y="3418832"/>
            <a:ext cx="771271" cy="39319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推广费测算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7" name="Rectangle 88">
            <a:extLst>
              <a:ext uri="{FF2B5EF4-FFF2-40B4-BE49-F238E27FC236}">
                <a16:creationId xmlns:a16="http://schemas.microsoft.com/office/drawing/2014/main" id="{CB5D6E97-0058-310F-F5D9-9354F5E1E6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9779" y="5207969"/>
            <a:ext cx="768096" cy="216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mpd="sng" algn="ctr">
            <a:solidFill>
              <a:srgbClr val="005F92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付暂估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2" name="Rectangle 102">
            <a:extLst>
              <a:ext uri="{FF2B5EF4-FFF2-40B4-BE49-F238E27FC236}">
                <a16:creationId xmlns:a16="http://schemas.microsoft.com/office/drawing/2014/main" id="{BFEB496C-FFF8-CFF0-224D-9F9C51E477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8610" y="1010541"/>
            <a:ext cx="2484000" cy="360000"/>
          </a:xfrm>
          <a:prstGeom prst="chevron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寻源与采购订单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3" name="Rectangle 104">
            <a:extLst>
              <a:ext uri="{FF2B5EF4-FFF2-40B4-BE49-F238E27FC236}">
                <a16:creationId xmlns:a16="http://schemas.microsoft.com/office/drawing/2014/main" id="{28A4D9D9-69FC-4012-BA3D-7BA0877A4D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7471" y="1010542"/>
            <a:ext cx="1332000" cy="360000"/>
          </a:xfrm>
          <a:prstGeom prst="chevron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商品接收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4" name="Rectangle 104">
            <a:extLst>
              <a:ext uri="{FF2B5EF4-FFF2-40B4-BE49-F238E27FC236}">
                <a16:creationId xmlns:a16="http://schemas.microsoft.com/office/drawing/2014/main" id="{2084BD8F-DD17-480D-88F0-3EAF2A59D2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8975" y="1010542"/>
            <a:ext cx="1131198" cy="360000"/>
          </a:xfrm>
          <a:prstGeom prst="chevron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发票校验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6" name="Rectangle 104">
            <a:extLst>
              <a:ext uri="{FF2B5EF4-FFF2-40B4-BE49-F238E27FC236}">
                <a16:creationId xmlns:a16="http://schemas.microsoft.com/office/drawing/2014/main" id="{FCC80859-7234-6D54-2DC6-72D2B5BFB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5086" y="1009062"/>
            <a:ext cx="1002130" cy="360000"/>
          </a:xfrm>
          <a:prstGeom prst="chevron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对账开票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9" name="箭头: 五边形 12">
            <a:extLst>
              <a:ext uri="{FF2B5EF4-FFF2-40B4-BE49-F238E27FC236}">
                <a16:creationId xmlns:a16="http://schemas.microsoft.com/office/drawing/2014/main" id="{D928951F-80D0-CB8A-D9A1-422852771CBD}"/>
              </a:ext>
            </a:extLst>
          </p:cNvPr>
          <p:cNvSpPr/>
          <p:nvPr/>
        </p:nvSpPr>
        <p:spPr>
          <a:xfrm>
            <a:off x="8031931" y="1010542"/>
            <a:ext cx="1131198" cy="360000"/>
          </a:xfrm>
          <a:prstGeom prst="chevron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付款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70" name="Rectangle 102">
            <a:extLst>
              <a:ext uri="{FF2B5EF4-FFF2-40B4-BE49-F238E27FC236}">
                <a16:creationId xmlns:a16="http://schemas.microsoft.com/office/drawing/2014/main" id="{2F845301-DE71-8FE0-D163-346E20DC7A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2995" y="1005798"/>
            <a:ext cx="1133856" cy="360000"/>
          </a:xfrm>
          <a:prstGeom prst="chevron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需求管理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74" name="Oval 510">
            <a:extLst>
              <a:ext uri="{FF2B5EF4-FFF2-40B4-BE49-F238E27FC236}">
                <a16:creationId xmlns:a16="http://schemas.microsoft.com/office/drawing/2014/main" id="{EAE27399-BCAA-BED8-A12F-AB95DF521356}"/>
              </a:ext>
            </a:extLst>
          </p:cNvPr>
          <p:cNvSpPr/>
          <p:nvPr/>
        </p:nvSpPr>
        <p:spPr>
          <a:xfrm>
            <a:off x="1073070" y="842157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1</a:t>
            </a:r>
          </a:p>
        </p:txBody>
      </p:sp>
      <p:sp>
        <p:nvSpPr>
          <p:cNvPr id="175" name="Oval 510">
            <a:extLst>
              <a:ext uri="{FF2B5EF4-FFF2-40B4-BE49-F238E27FC236}">
                <a16:creationId xmlns:a16="http://schemas.microsoft.com/office/drawing/2014/main" id="{4F95BE77-BFF0-923A-2D5B-D087ACC9877D}"/>
              </a:ext>
            </a:extLst>
          </p:cNvPr>
          <p:cNvSpPr/>
          <p:nvPr/>
        </p:nvSpPr>
        <p:spPr>
          <a:xfrm>
            <a:off x="2177453" y="842157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2</a:t>
            </a:r>
          </a:p>
        </p:txBody>
      </p:sp>
      <p:sp>
        <p:nvSpPr>
          <p:cNvPr id="176" name="Oval 510">
            <a:extLst>
              <a:ext uri="{FF2B5EF4-FFF2-40B4-BE49-F238E27FC236}">
                <a16:creationId xmlns:a16="http://schemas.microsoft.com/office/drawing/2014/main" id="{27320F3E-FEDD-9C2D-1BAA-8210BAC8EAC6}"/>
              </a:ext>
            </a:extLst>
          </p:cNvPr>
          <p:cNvSpPr/>
          <p:nvPr/>
        </p:nvSpPr>
        <p:spPr>
          <a:xfrm>
            <a:off x="4608782" y="842157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3</a:t>
            </a:r>
          </a:p>
        </p:txBody>
      </p:sp>
      <p:sp>
        <p:nvSpPr>
          <p:cNvPr id="177" name="Oval 510">
            <a:extLst>
              <a:ext uri="{FF2B5EF4-FFF2-40B4-BE49-F238E27FC236}">
                <a16:creationId xmlns:a16="http://schemas.microsoft.com/office/drawing/2014/main" id="{5DEA2221-40EA-1057-7795-8F0FA2C6BC9C}"/>
              </a:ext>
            </a:extLst>
          </p:cNvPr>
          <p:cNvSpPr/>
          <p:nvPr/>
        </p:nvSpPr>
        <p:spPr>
          <a:xfrm>
            <a:off x="5873523" y="842157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4</a:t>
            </a:r>
          </a:p>
        </p:txBody>
      </p:sp>
      <p:sp>
        <p:nvSpPr>
          <p:cNvPr id="200" name="man-with-bow_56788">
            <a:extLst>
              <a:ext uri="{FF2B5EF4-FFF2-40B4-BE49-F238E27FC236}">
                <a16:creationId xmlns:a16="http://schemas.microsoft.com/office/drawing/2014/main" id="{528CC297-6C54-0E36-DF37-105F6BB72BF4}"/>
              </a:ext>
            </a:extLst>
          </p:cNvPr>
          <p:cNvSpPr/>
          <p:nvPr/>
        </p:nvSpPr>
        <p:spPr>
          <a:xfrm>
            <a:off x="876085" y="1393944"/>
            <a:ext cx="308588" cy="298442"/>
          </a:xfrm>
          <a:custGeom>
            <a:avLst/>
            <a:gdLst>
              <a:gd name="connsiteX0" fmla="*/ 188888 w 557678"/>
              <a:gd name="connsiteY0" fmla="*/ 367011 h 607780"/>
              <a:gd name="connsiteX1" fmla="*/ 199785 w 557678"/>
              <a:gd name="connsiteY1" fmla="*/ 373977 h 607780"/>
              <a:gd name="connsiteX2" fmla="*/ 278839 w 557678"/>
              <a:gd name="connsiteY2" fmla="*/ 490974 h 607780"/>
              <a:gd name="connsiteX3" fmla="*/ 357893 w 557678"/>
              <a:gd name="connsiteY3" fmla="*/ 373977 h 607780"/>
              <a:gd name="connsiteX4" fmla="*/ 368886 w 557678"/>
              <a:gd name="connsiteY4" fmla="*/ 367011 h 607780"/>
              <a:gd name="connsiteX5" fmla="*/ 374908 w 557678"/>
              <a:gd name="connsiteY5" fmla="*/ 368729 h 607780"/>
              <a:gd name="connsiteX6" fmla="*/ 557678 w 557678"/>
              <a:gd name="connsiteY6" fmla="*/ 480572 h 607780"/>
              <a:gd name="connsiteX7" fmla="*/ 557678 w 557678"/>
              <a:gd name="connsiteY7" fmla="*/ 607780 h 607780"/>
              <a:gd name="connsiteX8" fmla="*/ 278839 w 557678"/>
              <a:gd name="connsiteY8" fmla="*/ 607780 h 607780"/>
              <a:gd name="connsiteX9" fmla="*/ 0 w 557678"/>
              <a:gd name="connsiteY9" fmla="*/ 607780 h 607780"/>
              <a:gd name="connsiteX10" fmla="*/ 0 w 557678"/>
              <a:gd name="connsiteY10" fmla="*/ 480572 h 607780"/>
              <a:gd name="connsiteX11" fmla="*/ 182770 w 557678"/>
              <a:gd name="connsiteY11" fmla="*/ 368729 h 607780"/>
              <a:gd name="connsiteX12" fmla="*/ 188888 w 557678"/>
              <a:gd name="connsiteY12" fmla="*/ 367011 h 607780"/>
              <a:gd name="connsiteX13" fmla="*/ 233347 w 557678"/>
              <a:gd name="connsiteY13" fmla="*/ 332928 h 607780"/>
              <a:gd name="connsiteX14" fmla="*/ 235832 w 557678"/>
              <a:gd name="connsiteY14" fmla="*/ 333119 h 607780"/>
              <a:gd name="connsiteX15" fmla="*/ 236501 w 557678"/>
              <a:gd name="connsiteY15" fmla="*/ 333214 h 607780"/>
              <a:gd name="connsiteX16" fmla="*/ 236692 w 557678"/>
              <a:gd name="connsiteY16" fmla="*/ 333214 h 607780"/>
              <a:gd name="connsiteX17" fmla="*/ 237934 w 557678"/>
              <a:gd name="connsiteY17" fmla="*/ 333596 h 607780"/>
              <a:gd name="connsiteX18" fmla="*/ 238508 w 557678"/>
              <a:gd name="connsiteY18" fmla="*/ 333787 h 607780"/>
              <a:gd name="connsiteX19" fmla="*/ 239177 w 557678"/>
              <a:gd name="connsiteY19" fmla="*/ 333977 h 607780"/>
              <a:gd name="connsiteX20" fmla="*/ 243478 w 557678"/>
              <a:gd name="connsiteY20" fmla="*/ 336553 h 607780"/>
              <a:gd name="connsiteX21" fmla="*/ 264981 w 557678"/>
              <a:gd name="connsiteY21" fmla="*/ 353724 h 607780"/>
              <a:gd name="connsiteX22" fmla="*/ 267657 w 557678"/>
              <a:gd name="connsiteY22" fmla="*/ 353820 h 607780"/>
              <a:gd name="connsiteX23" fmla="*/ 278839 w 557678"/>
              <a:gd name="connsiteY23" fmla="*/ 353724 h 607780"/>
              <a:gd name="connsiteX24" fmla="*/ 290021 w 557678"/>
              <a:gd name="connsiteY24" fmla="*/ 353820 h 607780"/>
              <a:gd name="connsiteX25" fmla="*/ 292792 w 557678"/>
              <a:gd name="connsiteY25" fmla="*/ 353724 h 607780"/>
              <a:gd name="connsiteX26" fmla="*/ 314200 w 557678"/>
              <a:gd name="connsiteY26" fmla="*/ 336553 h 607780"/>
              <a:gd name="connsiteX27" fmla="*/ 318596 w 557678"/>
              <a:gd name="connsiteY27" fmla="*/ 333977 h 607780"/>
              <a:gd name="connsiteX28" fmla="*/ 319265 w 557678"/>
              <a:gd name="connsiteY28" fmla="*/ 333787 h 607780"/>
              <a:gd name="connsiteX29" fmla="*/ 319743 w 557678"/>
              <a:gd name="connsiteY29" fmla="*/ 333596 h 607780"/>
              <a:gd name="connsiteX30" fmla="*/ 321081 w 557678"/>
              <a:gd name="connsiteY30" fmla="*/ 333214 h 607780"/>
              <a:gd name="connsiteX31" fmla="*/ 321272 w 557678"/>
              <a:gd name="connsiteY31" fmla="*/ 333214 h 607780"/>
              <a:gd name="connsiteX32" fmla="*/ 321846 w 557678"/>
              <a:gd name="connsiteY32" fmla="*/ 333119 h 607780"/>
              <a:gd name="connsiteX33" fmla="*/ 324426 w 557678"/>
              <a:gd name="connsiteY33" fmla="*/ 332928 h 607780"/>
              <a:gd name="connsiteX34" fmla="*/ 340195 w 557678"/>
              <a:gd name="connsiteY34" fmla="*/ 347905 h 607780"/>
              <a:gd name="connsiteX35" fmla="*/ 340195 w 557678"/>
              <a:gd name="connsiteY35" fmla="*/ 380912 h 607780"/>
              <a:gd name="connsiteX36" fmla="*/ 324426 w 557678"/>
              <a:gd name="connsiteY36" fmla="*/ 396366 h 607780"/>
              <a:gd name="connsiteX37" fmla="*/ 314869 w 557678"/>
              <a:gd name="connsiteY37" fmla="*/ 393123 h 607780"/>
              <a:gd name="connsiteX38" fmla="*/ 294417 w 557678"/>
              <a:gd name="connsiteY38" fmla="*/ 374807 h 607780"/>
              <a:gd name="connsiteX39" fmla="*/ 278839 w 557678"/>
              <a:gd name="connsiteY39" fmla="*/ 374902 h 607780"/>
              <a:gd name="connsiteX40" fmla="*/ 263261 w 557678"/>
              <a:gd name="connsiteY40" fmla="*/ 374807 h 607780"/>
              <a:gd name="connsiteX41" fmla="*/ 242809 w 557678"/>
              <a:gd name="connsiteY41" fmla="*/ 393123 h 607780"/>
              <a:gd name="connsiteX42" fmla="*/ 233347 w 557678"/>
              <a:gd name="connsiteY42" fmla="*/ 396366 h 607780"/>
              <a:gd name="connsiteX43" fmla="*/ 217482 w 557678"/>
              <a:gd name="connsiteY43" fmla="*/ 380912 h 607780"/>
              <a:gd name="connsiteX44" fmla="*/ 217482 w 557678"/>
              <a:gd name="connsiteY44" fmla="*/ 347905 h 607780"/>
              <a:gd name="connsiteX45" fmla="*/ 233347 w 557678"/>
              <a:gd name="connsiteY45" fmla="*/ 332928 h 607780"/>
              <a:gd name="connsiteX46" fmla="*/ 277214 w 557678"/>
              <a:gd name="connsiteY46" fmla="*/ 0 h 607780"/>
              <a:gd name="connsiteX47" fmla="*/ 278552 w 557678"/>
              <a:gd name="connsiteY47" fmla="*/ 0 h 607780"/>
              <a:gd name="connsiteX48" fmla="*/ 278744 w 557678"/>
              <a:gd name="connsiteY48" fmla="*/ 0 h 607780"/>
              <a:gd name="connsiteX49" fmla="*/ 278839 w 557678"/>
              <a:gd name="connsiteY49" fmla="*/ 0 h 607780"/>
              <a:gd name="connsiteX50" fmla="*/ 278935 w 557678"/>
              <a:gd name="connsiteY50" fmla="*/ 0 h 607780"/>
              <a:gd name="connsiteX51" fmla="*/ 279222 w 557678"/>
              <a:gd name="connsiteY51" fmla="*/ 0 h 607780"/>
              <a:gd name="connsiteX52" fmla="*/ 280560 w 557678"/>
              <a:gd name="connsiteY52" fmla="*/ 0 h 607780"/>
              <a:gd name="connsiteX53" fmla="*/ 404758 w 557678"/>
              <a:gd name="connsiteY53" fmla="*/ 105659 h 607780"/>
              <a:gd name="connsiteX54" fmla="*/ 396727 w 557678"/>
              <a:gd name="connsiteY54" fmla="*/ 160159 h 607780"/>
              <a:gd name="connsiteX55" fmla="*/ 408009 w 557678"/>
              <a:gd name="connsiteY55" fmla="*/ 186120 h 607780"/>
              <a:gd name="connsiteX56" fmla="*/ 379039 w 557678"/>
              <a:gd name="connsiteY56" fmla="*/ 238616 h 607780"/>
              <a:gd name="connsiteX57" fmla="*/ 317179 w 557678"/>
              <a:gd name="connsiteY57" fmla="*/ 313541 h 607780"/>
              <a:gd name="connsiteX58" fmla="*/ 278935 w 557678"/>
              <a:gd name="connsiteY58" fmla="*/ 322131 h 607780"/>
              <a:gd name="connsiteX59" fmla="*/ 278839 w 557678"/>
              <a:gd name="connsiteY59" fmla="*/ 322131 h 607780"/>
              <a:gd name="connsiteX60" fmla="*/ 278744 w 557678"/>
              <a:gd name="connsiteY60" fmla="*/ 322131 h 607780"/>
              <a:gd name="connsiteX61" fmla="*/ 240499 w 557678"/>
              <a:gd name="connsiteY61" fmla="*/ 313541 h 607780"/>
              <a:gd name="connsiteX62" fmla="*/ 178734 w 557678"/>
              <a:gd name="connsiteY62" fmla="*/ 238616 h 607780"/>
              <a:gd name="connsiteX63" fmla="*/ 149669 w 557678"/>
              <a:gd name="connsiteY63" fmla="*/ 186120 h 607780"/>
              <a:gd name="connsiteX64" fmla="*/ 161046 w 557678"/>
              <a:gd name="connsiteY64" fmla="*/ 160159 h 607780"/>
              <a:gd name="connsiteX65" fmla="*/ 153015 w 557678"/>
              <a:gd name="connsiteY65" fmla="*/ 105659 h 607780"/>
              <a:gd name="connsiteX66" fmla="*/ 277214 w 557678"/>
              <a:gd name="connsiteY66" fmla="*/ 0 h 607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557678" h="607780">
                <a:moveTo>
                  <a:pt x="188888" y="367011"/>
                </a:moveTo>
                <a:cubicBezTo>
                  <a:pt x="193667" y="367011"/>
                  <a:pt x="197873" y="369874"/>
                  <a:pt x="199785" y="373977"/>
                </a:cubicBezTo>
                <a:cubicBezTo>
                  <a:pt x="218808" y="405851"/>
                  <a:pt x="254177" y="489256"/>
                  <a:pt x="278839" y="490974"/>
                </a:cubicBezTo>
                <a:cubicBezTo>
                  <a:pt x="303502" y="489256"/>
                  <a:pt x="338870" y="405851"/>
                  <a:pt x="357893" y="373977"/>
                </a:cubicBezTo>
                <a:cubicBezTo>
                  <a:pt x="359900" y="369874"/>
                  <a:pt x="364011" y="367011"/>
                  <a:pt x="368886" y="367011"/>
                </a:cubicBezTo>
                <a:cubicBezTo>
                  <a:pt x="371085" y="367011"/>
                  <a:pt x="372996" y="367870"/>
                  <a:pt x="374908" y="368729"/>
                </a:cubicBezTo>
                <a:cubicBezTo>
                  <a:pt x="382269" y="371878"/>
                  <a:pt x="557678" y="427132"/>
                  <a:pt x="557678" y="480572"/>
                </a:cubicBezTo>
                <a:lnTo>
                  <a:pt x="557678" y="607780"/>
                </a:lnTo>
                <a:lnTo>
                  <a:pt x="278839" y="607780"/>
                </a:lnTo>
                <a:lnTo>
                  <a:pt x="0" y="607780"/>
                </a:lnTo>
                <a:lnTo>
                  <a:pt x="0" y="480572"/>
                </a:lnTo>
                <a:cubicBezTo>
                  <a:pt x="0" y="421120"/>
                  <a:pt x="175314" y="371687"/>
                  <a:pt x="182770" y="368729"/>
                </a:cubicBezTo>
                <a:cubicBezTo>
                  <a:pt x="184682" y="367870"/>
                  <a:pt x="186593" y="367011"/>
                  <a:pt x="188888" y="367011"/>
                </a:cubicBezTo>
                <a:close/>
                <a:moveTo>
                  <a:pt x="233347" y="332928"/>
                </a:moveTo>
                <a:cubicBezTo>
                  <a:pt x="234207" y="332928"/>
                  <a:pt x="235067" y="332928"/>
                  <a:pt x="235832" y="333119"/>
                </a:cubicBezTo>
                <a:cubicBezTo>
                  <a:pt x="236023" y="333119"/>
                  <a:pt x="236310" y="333119"/>
                  <a:pt x="236501" y="333214"/>
                </a:cubicBezTo>
                <a:cubicBezTo>
                  <a:pt x="236501" y="333214"/>
                  <a:pt x="236596" y="333214"/>
                  <a:pt x="236692" y="333214"/>
                </a:cubicBezTo>
                <a:cubicBezTo>
                  <a:pt x="237074" y="333310"/>
                  <a:pt x="237552" y="333405"/>
                  <a:pt x="237934" y="333596"/>
                </a:cubicBezTo>
                <a:cubicBezTo>
                  <a:pt x="238126" y="333596"/>
                  <a:pt x="238317" y="333691"/>
                  <a:pt x="238508" y="333787"/>
                </a:cubicBezTo>
                <a:cubicBezTo>
                  <a:pt x="238699" y="333787"/>
                  <a:pt x="238890" y="333882"/>
                  <a:pt x="239177" y="333977"/>
                </a:cubicBezTo>
                <a:cubicBezTo>
                  <a:pt x="240706" y="334645"/>
                  <a:pt x="242140" y="335504"/>
                  <a:pt x="243478" y="336553"/>
                </a:cubicBezTo>
                <a:cubicBezTo>
                  <a:pt x="250836" y="342372"/>
                  <a:pt x="255615" y="353056"/>
                  <a:pt x="264981" y="353724"/>
                </a:cubicBezTo>
                <a:cubicBezTo>
                  <a:pt x="265841" y="353820"/>
                  <a:pt x="266797" y="353820"/>
                  <a:pt x="267657" y="353820"/>
                </a:cubicBezTo>
                <a:cubicBezTo>
                  <a:pt x="268517" y="353820"/>
                  <a:pt x="274060" y="353724"/>
                  <a:pt x="278839" y="353724"/>
                </a:cubicBezTo>
                <a:cubicBezTo>
                  <a:pt x="283617" y="353724"/>
                  <a:pt x="289256" y="353820"/>
                  <a:pt x="290021" y="353820"/>
                </a:cubicBezTo>
                <a:cubicBezTo>
                  <a:pt x="290976" y="353820"/>
                  <a:pt x="291836" y="353820"/>
                  <a:pt x="292792" y="353724"/>
                </a:cubicBezTo>
                <a:cubicBezTo>
                  <a:pt x="302158" y="353056"/>
                  <a:pt x="306841" y="342372"/>
                  <a:pt x="314200" y="336553"/>
                </a:cubicBezTo>
                <a:cubicBezTo>
                  <a:pt x="315538" y="335504"/>
                  <a:pt x="316972" y="334645"/>
                  <a:pt x="318596" y="333977"/>
                </a:cubicBezTo>
                <a:cubicBezTo>
                  <a:pt x="318787" y="333882"/>
                  <a:pt x="318979" y="333787"/>
                  <a:pt x="319265" y="333787"/>
                </a:cubicBezTo>
                <a:cubicBezTo>
                  <a:pt x="319456" y="333691"/>
                  <a:pt x="319648" y="333596"/>
                  <a:pt x="319743" y="333596"/>
                </a:cubicBezTo>
                <a:cubicBezTo>
                  <a:pt x="320221" y="333405"/>
                  <a:pt x="320603" y="333310"/>
                  <a:pt x="321081" y="333214"/>
                </a:cubicBezTo>
                <a:cubicBezTo>
                  <a:pt x="321081" y="333214"/>
                  <a:pt x="321177" y="333214"/>
                  <a:pt x="321272" y="333214"/>
                </a:cubicBezTo>
                <a:cubicBezTo>
                  <a:pt x="321463" y="333119"/>
                  <a:pt x="321654" y="333119"/>
                  <a:pt x="321846" y="333119"/>
                </a:cubicBezTo>
                <a:cubicBezTo>
                  <a:pt x="322706" y="332928"/>
                  <a:pt x="323566" y="332928"/>
                  <a:pt x="324426" y="332928"/>
                </a:cubicBezTo>
                <a:cubicBezTo>
                  <a:pt x="332836" y="332928"/>
                  <a:pt x="339813" y="339510"/>
                  <a:pt x="340195" y="347905"/>
                </a:cubicBezTo>
                <a:lnTo>
                  <a:pt x="340195" y="380912"/>
                </a:lnTo>
                <a:cubicBezTo>
                  <a:pt x="340004" y="389498"/>
                  <a:pt x="333027" y="396366"/>
                  <a:pt x="324426" y="396366"/>
                </a:cubicBezTo>
                <a:cubicBezTo>
                  <a:pt x="320794" y="396366"/>
                  <a:pt x="317545" y="395126"/>
                  <a:pt x="314869" y="393123"/>
                </a:cubicBezTo>
                <a:cubicBezTo>
                  <a:pt x="305885" y="387208"/>
                  <a:pt x="299864" y="374997"/>
                  <a:pt x="294417" y="374807"/>
                </a:cubicBezTo>
                <a:lnTo>
                  <a:pt x="278839" y="374902"/>
                </a:lnTo>
                <a:lnTo>
                  <a:pt x="263261" y="374807"/>
                </a:lnTo>
                <a:cubicBezTo>
                  <a:pt x="257813" y="374997"/>
                  <a:pt x="251792" y="387208"/>
                  <a:pt x="242809" y="393123"/>
                </a:cubicBezTo>
                <a:cubicBezTo>
                  <a:pt x="240228" y="395126"/>
                  <a:pt x="236883" y="396366"/>
                  <a:pt x="233347" y="396366"/>
                </a:cubicBezTo>
                <a:cubicBezTo>
                  <a:pt x="224746" y="396366"/>
                  <a:pt x="217769" y="389498"/>
                  <a:pt x="217482" y="380912"/>
                </a:cubicBezTo>
                <a:lnTo>
                  <a:pt x="217482" y="347905"/>
                </a:lnTo>
                <a:cubicBezTo>
                  <a:pt x="217960" y="339510"/>
                  <a:pt x="224841" y="332928"/>
                  <a:pt x="233347" y="332928"/>
                </a:cubicBezTo>
                <a:close/>
                <a:moveTo>
                  <a:pt x="277214" y="0"/>
                </a:moveTo>
                <a:cubicBezTo>
                  <a:pt x="277596" y="0"/>
                  <a:pt x="278074" y="0"/>
                  <a:pt x="278552" y="0"/>
                </a:cubicBezTo>
                <a:cubicBezTo>
                  <a:pt x="278648" y="0"/>
                  <a:pt x="278648" y="0"/>
                  <a:pt x="278744" y="0"/>
                </a:cubicBezTo>
                <a:cubicBezTo>
                  <a:pt x="278744" y="0"/>
                  <a:pt x="278839" y="0"/>
                  <a:pt x="278839" y="0"/>
                </a:cubicBezTo>
                <a:cubicBezTo>
                  <a:pt x="278935" y="0"/>
                  <a:pt x="278935" y="0"/>
                  <a:pt x="278935" y="0"/>
                </a:cubicBezTo>
                <a:cubicBezTo>
                  <a:pt x="279030" y="0"/>
                  <a:pt x="279126" y="0"/>
                  <a:pt x="279222" y="0"/>
                </a:cubicBezTo>
                <a:cubicBezTo>
                  <a:pt x="279604" y="0"/>
                  <a:pt x="280082" y="0"/>
                  <a:pt x="280560" y="0"/>
                </a:cubicBezTo>
                <a:cubicBezTo>
                  <a:pt x="387453" y="0"/>
                  <a:pt x="407531" y="76166"/>
                  <a:pt x="404758" y="105659"/>
                </a:cubicBezTo>
                <a:cubicBezTo>
                  <a:pt x="402464" y="129330"/>
                  <a:pt x="396727" y="160159"/>
                  <a:pt x="396727" y="160159"/>
                </a:cubicBezTo>
                <a:cubicBezTo>
                  <a:pt x="396727" y="160159"/>
                  <a:pt x="408009" y="165313"/>
                  <a:pt x="408009" y="186120"/>
                </a:cubicBezTo>
                <a:cubicBezTo>
                  <a:pt x="404089" y="238234"/>
                  <a:pt x="383246" y="215708"/>
                  <a:pt x="379039" y="238616"/>
                </a:cubicBezTo>
                <a:cubicBezTo>
                  <a:pt x="371868" y="276603"/>
                  <a:pt x="338213" y="304092"/>
                  <a:pt x="317179" y="313541"/>
                </a:cubicBezTo>
                <a:cubicBezTo>
                  <a:pt x="304941" y="319077"/>
                  <a:pt x="292225" y="321845"/>
                  <a:pt x="278935" y="322131"/>
                </a:cubicBezTo>
                <a:cubicBezTo>
                  <a:pt x="278935" y="322131"/>
                  <a:pt x="278935" y="322131"/>
                  <a:pt x="278839" y="322131"/>
                </a:cubicBezTo>
                <a:cubicBezTo>
                  <a:pt x="278839" y="322131"/>
                  <a:pt x="278744" y="322131"/>
                  <a:pt x="278744" y="322131"/>
                </a:cubicBezTo>
                <a:cubicBezTo>
                  <a:pt x="265454" y="321845"/>
                  <a:pt x="252738" y="319077"/>
                  <a:pt x="240499" y="313541"/>
                </a:cubicBezTo>
                <a:cubicBezTo>
                  <a:pt x="219561" y="304092"/>
                  <a:pt x="185810" y="276603"/>
                  <a:pt x="178734" y="238616"/>
                </a:cubicBezTo>
                <a:cubicBezTo>
                  <a:pt x="174432" y="215708"/>
                  <a:pt x="153684" y="238234"/>
                  <a:pt x="149669" y="186120"/>
                </a:cubicBezTo>
                <a:cubicBezTo>
                  <a:pt x="149669" y="165313"/>
                  <a:pt x="161046" y="160159"/>
                  <a:pt x="161046" y="160159"/>
                </a:cubicBezTo>
                <a:cubicBezTo>
                  <a:pt x="161046" y="160159"/>
                  <a:pt x="155214" y="129330"/>
                  <a:pt x="153015" y="105659"/>
                </a:cubicBezTo>
                <a:cubicBezTo>
                  <a:pt x="150147" y="76166"/>
                  <a:pt x="170225" y="0"/>
                  <a:pt x="277214" y="0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cs"/>
            </a:endParaRPr>
          </a:p>
        </p:txBody>
      </p:sp>
      <p:sp>
        <p:nvSpPr>
          <p:cNvPr id="205" name="Rectangle 13">
            <a:extLst>
              <a:ext uri="{FF2B5EF4-FFF2-40B4-BE49-F238E27FC236}">
                <a16:creationId xmlns:a16="http://schemas.microsoft.com/office/drawing/2014/main" id="{0E81DDB7-DAAE-D1A1-3715-115244617B61}"/>
              </a:ext>
            </a:extLst>
          </p:cNvPr>
          <p:cNvSpPr/>
          <p:nvPr/>
        </p:nvSpPr>
        <p:spPr>
          <a:xfrm>
            <a:off x="9312650" y="1283428"/>
            <a:ext cx="2706629" cy="1954761"/>
          </a:xfrm>
          <a:prstGeom prst="rect">
            <a:avLst/>
          </a:prstGeom>
          <a:pattFill prst="ltUpDiag">
            <a:fgClr>
              <a:schemeClr val="accent6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①</a:t>
            </a: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流程</a:t>
            </a:r>
            <a:r>
              <a:rPr kumimoji="0" lang="en-US" altLang="zh-CN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wner</a:t>
            </a: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：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缺乏实业层面统一行管部门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推动推广费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PTP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流程管理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②</a:t>
            </a: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计提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：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立项后即计提费用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，未在物料签收</a:t>
            </a: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环节确认费用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③</a:t>
            </a: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对账结算：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依据供应商提供的发票、数据进行对账结算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，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数据准确性无法验证，且无法对差异进行过程管控</a:t>
            </a:r>
            <a:endParaRPr kumimoji="0" lang="en-US" altLang="zh-CN" sz="11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77EA313E-2474-E65A-1146-619B631C02E4}"/>
              </a:ext>
            </a:extLst>
          </p:cNvPr>
          <p:cNvSpPr/>
          <p:nvPr/>
        </p:nvSpPr>
        <p:spPr>
          <a:xfrm>
            <a:off x="9312651" y="1283429"/>
            <a:ext cx="1214378" cy="256648"/>
          </a:xfrm>
          <a:prstGeom prst="rect">
            <a:avLst/>
          </a:prstGeom>
          <a:solidFill>
            <a:srgbClr val="005F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现状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4985BE58-54F3-F322-A187-C8DE25A2532B}"/>
              </a:ext>
            </a:extLst>
          </p:cNvPr>
          <p:cNvSpPr/>
          <p:nvPr/>
        </p:nvSpPr>
        <p:spPr>
          <a:xfrm>
            <a:off x="9348339" y="3373267"/>
            <a:ext cx="1214378" cy="256648"/>
          </a:xfrm>
          <a:prstGeom prst="rect">
            <a:avLst/>
          </a:prstGeom>
          <a:solidFill>
            <a:srgbClr val="005F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变革点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41" name="Oval 510">
            <a:extLst>
              <a:ext uri="{FF2B5EF4-FFF2-40B4-BE49-F238E27FC236}">
                <a16:creationId xmlns:a16="http://schemas.microsoft.com/office/drawing/2014/main" id="{2920B1C1-850C-6A14-DBDD-97EFE8F2F00D}"/>
              </a:ext>
            </a:extLst>
          </p:cNvPr>
          <p:cNvSpPr/>
          <p:nvPr/>
        </p:nvSpPr>
        <p:spPr>
          <a:xfrm>
            <a:off x="9151880" y="4255623"/>
            <a:ext cx="253316" cy="253316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1</a:t>
            </a:r>
          </a:p>
        </p:txBody>
      </p:sp>
      <p:sp>
        <p:nvSpPr>
          <p:cNvPr id="155" name="Oval 510">
            <a:extLst>
              <a:ext uri="{FF2B5EF4-FFF2-40B4-BE49-F238E27FC236}">
                <a16:creationId xmlns:a16="http://schemas.microsoft.com/office/drawing/2014/main" id="{AB3E17FE-2BEF-56F8-340D-F06A2D12C1E1}"/>
              </a:ext>
            </a:extLst>
          </p:cNvPr>
          <p:cNvSpPr/>
          <p:nvPr/>
        </p:nvSpPr>
        <p:spPr>
          <a:xfrm>
            <a:off x="9151880" y="4707998"/>
            <a:ext cx="253316" cy="253316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2</a:t>
            </a:r>
          </a:p>
        </p:txBody>
      </p:sp>
      <p:sp>
        <p:nvSpPr>
          <p:cNvPr id="156" name="Oval 510">
            <a:extLst>
              <a:ext uri="{FF2B5EF4-FFF2-40B4-BE49-F238E27FC236}">
                <a16:creationId xmlns:a16="http://schemas.microsoft.com/office/drawing/2014/main" id="{06241092-88D4-E6AE-8533-E36BC80F030A}"/>
              </a:ext>
            </a:extLst>
          </p:cNvPr>
          <p:cNvSpPr/>
          <p:nvPr/>
        </p:nvSpPr>
        <p:spPr>
          <a:xfrm>
            <a:off x="9151880" y="5584385"/>
            <a:ext cx="253316" cy="253316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3</a:t>
            </a:r>
          </a:p>
        </p:txBody>
      </p:sp>
      <p:sp>
        <p:nvSpPr>
          <p:cNvPr id="157" name="Oval 510">
            <a:extLst>
              <a:ext uri="{FF2B5EF4-FFF2-40B4-BE49-F238E27FC236}">
                <a16:creationId xmlns:a16="http://schemas.microsoft.com/office/drawing/2014/main" id="{2001A8B5-AB32-261C-27D4-1636A013F110}"/>
              </a:ext>
            </a:extLst>
          </p:cNvPr>
          <p:cNvSpPr/>
          <p:nvPr/>
        </p:nvSpPr>
        <p:spPr>
          <a:xfrm>
            <a:off x="9151880" y="6249831"/>
            <a:ext cx="253316" cy="253316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4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FF07F57-E21C-DEAE-8231-51BC8033B0C6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9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18" name="Rectangle 29">
            <a:extLst>
              <a:ext uri="{FF2B5EF4-FFF2-40B4-BE49-F238E27FC236}">
                <a16:creationId xmlns:a16="http://schemas.microsoft.com/office/drawing/2014/main" id="{3B79F1FC-1BD9-97DB-8B75-686FD6095A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7914" y="1905309"/>
            <a:ext cx="771271" cy="432000"/>
          </a:xfrm>
          <a:prstGeom prst="rect">
            <a:avLst/>
          </a:prstGeom>
          <a:solidFill>
            <a:srgbClr val="C0E9FF"/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结算单对账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E88E734F-63A4-07A6-84D0-0494FC1531D2}"/>
              </a:ext>
            </a:extLst>
          </p:cNvPr>
          <p:cNvGrpSpPr/>
          <p:nvPr/>
        </p:nvGrpSpPr>
        <p:grpSpPr>
          <a:xfrm>
            <a:off x="400680" y="3241255"/>
            <a:ext cx="215444" cy="1404000"/>
            <a:chOff x="400680" y="3338551"/>
            <a:chExt cx="215444" cy="1492812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CA92F1C3-CEF7-6203-88E8-CCBC76D362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8402" y="3338551"/>
              <a:ext cx="0" cy="1492812"/>
            </a:xfrm>
            <a:prstGeom prst="line">
              <a:avLst/>
            </a:prstGeom>
            <a:ln>
              <a:solidFill>
                <a:srgbClr val="005F9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9B9C4A95-538E-308A-5892-88609D9627D5}"/>
                </a:ext>
              </a:extLst>
            </p:cNvPr>
            <p:cNvSpPr txBox="1"/>
            <p:nvPr/>
          </p:nvSpPr>
          <p:spPr>
            <a:xfrm>
              <a:off x="400680" y="3484570"/>
              <a:ext cx="215444" cy="1200775"/>
            </a:xfrm>
            <a:prstGeom prst="rect">
              <a:avLst/>
            </a:prstGeom>
            <a:solidFill>
              <a:schemeClr val="bg1"/>
            </a:solidFill>
          </p:spPr>
          <p:txBody>
            <a:bodyPr vert="eaVert" wrap="square" lIns="0" tIns="0" rIns="0" bIns="4572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5F9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营销活动相关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0" name="Rectangle 47">
            <a:extLst>
              <a:ext uri="{FF2B5EF4-FFF2-40B4-BE49-F238E27FC236}">
                <a16:creationId xmlns:a16="http://schemas.microsoft.com/office/drawing/2014/main" id="{98590933-3958-448B-BBE2-32FB466733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3916" y="4002147"/>
            <a:ext cx="771271" cy="396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营销立项</a:t>
            </a: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3C518EFE-6809-9F74-3CF0-2DBEB2AB87A1}"/>
              </a:ext>
            </a:extLst>
          </p:cNvPr>
          <p:cNvCxnSpPr>
            <a:cxnSpLocks/>
            <a:stCxn id="43" idx="3"/>
            <a:endCxn id="102" idx="2"/>
          </p:cNvCxnSpPr>
          <p:nvPr/>
        </p:nvCxnSpPr>
        <p:spPr>
          <a:xfrm flipV="1">
            <a:off x="3356160" y="2337309"/>
            <a:ext cx="714519" cy="1278119"/>
          </a:xfrm>
          <a:prstGeom prst="bentConnector2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">
            <a:extLst>
              <a:ext uri="{FF2B5EF4-FFF2-40B4-BE49-F238E27FC236}">
                <a16:creationId xmlns:a16="http://schemas.microsoft.com/office/drawing/2014/main" id="{8C65CD46-D7D9-C502-BAE1-6D8E82901E32}"/>
              </a:ext>
            </a:extLst>
          </p:cNvPr>
          <p:cNvCxnSpPr>
            <a:cxnSpLocks/>
          </p:cNvCxnSpPr>
          <p:nvPr/>
        </p:nvCxnSpPr>
        <p:spPr>
          <a:xfrm>
            <a:off x="774193" y="3267800"/>
            <a:ext cx="8375904" cy="0"/>
          </a:xfrm>
          <a:prstGeom prst="line">
            <a:avLst/>
          </a:prstGeom>
          <a:ln w="28575">
            <a:solidFill>
              <a:srgbClr val="005F9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">
            <a:extLst>
              <a:ext uri="{FF2B5EF4-FFF2-40B4-BE49-F238E27FC236}">
                <a16:creationId xmlns:a16="http://schemas.microsoft.com/office/drawing/2014/main" id="{C49DC415-85A1-C313-B8CB-67451585280A}"/>
              </a:ext>
            </a:extLst>
          </p:cNvPr>
          <p:cNvCxnSpPr>
            <a:cxnSpLocks/>
          </p:cNvCxnSpPr>
          <p:nvPr/>
        </p:nvCxnSpPr>
        <p:spPr>
          <a:xfrm>
            <a:off x="774193" y="4644872"/>
            <a:ext cx="8375904" cy="0"/>
          </a:xfrm>
          <a:prstGeom prst="line">
            <a:avLst/>
          </a:prstGeom>
          <a:ln w="28575">
            <a:solidFill>
              <a:srgbClr val="005F9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Arrow: Down 164">
            <a:extLst>
              <a:ext uri="{FF2B5EF4-FFF2-40B4-BE49-F238E27FC236}">
                <a16:creationId xmlns:a16="http://schemas.microsoft.com/office/drawing/2014/main" id="{727750AC-5030-AF63-ABD6-A84BFF894C02}"/>
              </a:ext>
            </a:extLst>
          </p:cNvPr>
          <p:cNvSpPr/>
          <p:nvPr/>
        </p:nvSpPr>
        <p:spPr>
          <a:xfrm>
            <a:off x="2228082" y="4526861"/>
            <a:ext cx="257090" cy="216000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52" name="Arrow: Down 164">
            <a:extLst>
              <a:ext uri="{FF2B5EF4-FFF2-40B4-BE49-F238E27FC236}">
                <a16:creationId xmlns:a16="http://schemas.microsoft.com/office/drawing/2014/main" id="{48710A27-6718-E1DA-D098-FD4C31B43D1E}"/>
              </a:ext>
            </a:extLst>
          </p:cNvPr>
          <p:cNvSpPr/>
          <p:nvPr/>
        </p:nvSpPr>
        <p:spPr>
          <a:xfrm>
            <a:off x="3524622" y="4504478"/>
            <a:ext cx="257090" cy="216000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5" name="Arrow: Down 164">
            <a:extLst>
              <a:ext uri="{FF2B5EF4-FFF2-40B4-BE49-F238E27FC236}">
                <a16:creationId xmlns:a16="http://schemas.microsoft.com/office/drawing/2014/main" id="{175FE143-651E-FE06-D5B4-2C531B28FF5A}"/>
              </a:ext>
            </a:extLst>
          </p:cNvPr>
          <p:cNvSpPr/>
          <p:nvPr/>
        </p:nvSpPr>
        <p:spPr>
          <a:xfrm>
            <a:off x="5298979" y="4526861"/>
            <a:ext cx="257090" cy="216000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7" name="Arrow: Down 164">
            <a:extLst>
              <a:ext uri="{FF2B5EF4-FFF2-40B4-BE49-F238E27FC236}">
                <a16:creationId xmlns:a16="http://schemas.microsoft.com/office/drawing/2014/main" id="{69887E60-BE34-4E1F-32E6-91FED55C07D3}"/>
              </a:ext>
            </a:extLst>
          </p:cNvPr>
          <p:cNvSpPr/>
          <p:nvPr/>
        </p:nvSpPr>
        <p:spPr>
          <a:xfrm>
            <a:off x="7437794" y="4526861"/>
            <a:ext cx="257090" cy="216000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8" name="Arrow: Down 164">
            <a:extLst>
              <a:ext uri="{FF2B5EF4-FFF2-40B4-BE49-F238E27FC236}">
                <a16:creationId xmlns:a16="http://schemas.microsoft.com/office/drawing/2014/main" id="{DC6E7CFC-0B30-68AD-0EC3-7C63F706266C}"/>
              </a:ext>
            </a:extLst>
          </p:cNvPr>
          <p:cNvSpPr/>
          <p:nvPr/>
        </p:nvSpPr>
        <p:spPr>
          <a:xfrm>
            <a:off x="8464218" y="4526861"/>
            <a:ext cx="257090" cy="216000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EE303A0F-6DD9-7D90-F6C3-BCFB26E5D309}"/>
              </a:ext>
            </a:extLst>
          </p:cNvPr>
          <p:cNvCxnSpPr>
            <a:stCxn id="10" idx="0"/>
            <a:endCxn id="276" idx="2"/>
          </p:cNvCxnSpPr>
          <p:nvPr/>
        </p:nvCxnSpPr>
        <p:spPr>
          <a:xfrm flipV="1">
            <a:off x="1699552" y="3835380"/>
            <a:ext cx="0" cy="166767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85B07F54-7C6D-DF31-9D14-AD6DEB794AA1}"/>
              </a:ext>
            </a:extLst>
          </p:cNvPr>
          <p:cNvCxnSpPr>
            <a:cxnSpLocks/>
            <a:stCxn id="29" idx="0"/>
          </p:cNvCxnSpPr>
          <p:nvPr/>
        </p:nvCxnSpPr>
        <p:spPr>
          <a:xfrm flipH="1" flipV="1">
            <a:off x="5375075" y="2337309"/>
            <a:ext cx="12459" cy="994424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79B4DC59-233B-E751-4238-64AA3958FAEE}"/>
              </a:ext>
            </a:extLst>
          </p:cNvPr>
          <p:cNvCxnSpPr>
            <a:cxnSpLocks/>
          </p:cNvCxnSpPr>
          <p:nvPr/>
        </p:nvCxnSpPr>
        <p:spPr>
          <a:xfrm rot="16200000" flipH="1">
            <a:off x="3921573" y="2810479"/>
            <a:ext cx="1460310" cy="540000"/>
          </a:xfrm>
          <a:prstGeom prst="bentConnector2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798D4F0B-BB75-C590-30A3-CB615FB7641D}"/>
              </a:ext>
            </a:extLst>
          </p:cNvPr>
          <p:cNvCxnSpPr>
            <a:cxnSpLocks/>
          </p:cNvCxnSpPr>
          <p:nvPr/>
        </p:nvCxnSpPr>
        <p:spPr>
          <a:xfrm>
            <a:off x="5719615" y="2091634"/>
            <a:ext cx="468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E66DFD6E-9433-592A-D2C4-CF01C4043068}"/>
              </a:ext>
            </a:extLst>
          </p:cNvPr>
          <p:cNvCxnSpPr>
            <a:stCxn id="18" idx="2"/>
            <a:endCxn id="196" idx="0"/>
          </p:cNvCxnSpPr>
          <p:nvPr/>
        </p:nvCxnSpPr>
        <p:spPr>
          <a:xfrm>
            <a:off x="6553550" y="2337309"/>
            <a:ext cx="0" cy="2553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8B5465C6-F7EE-5323-C36F-64826B106510}"/>
              </a:ext>
            </a:extLst>
          </p:cNvPr>
          <p:cNvCxnSpPr>
            <a:stCxn id="196" idx="3"/>
            <a:endCxn id="76" idx="2"/>
          </p:cNvCxnSpPr>
          <p:nvPr/>
        </p:nvCxnSpPr>
        <p:spPr>
          <a:xfrm flipV="1">
            <a:off x="6939185" y="2337309"/>
            <a:ext cx="627155" cy="471323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53">
            <a:extLst>
              <a:ext uri="{FF2B5EF4-FFF2-40B4-BE49-F238E27FC236}">
                <a16:creationId xmlns:a16="http://schemas.microsoft.com/office/drawing/2014/main" id="{39E8C6EB-9ED0-1F90-56F7-4F61AAA3C16B}"/>
              </a:ext>
            </a:extLst>
          </p:cNvPr>
          <p:cNvSpPr txBox="1"/>
          <p:nvPr/>
        </p:nvSpPr>
        <p:spPr>
          <a:xfrm>
            <a:off x="748385" y="5106810"/>
            <a:ext cx="3747935" cy="327446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>
            <a:noAutofit/>
          </a:bodyPr>
          <a:lstStyle/>
          <a:p>
            <a:pPr marL="117475" marR="0" lvl="0" indent="-117475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1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一次核算到项目、产品、渠道、区域（视管理需求）</a:t>
            </a:r>
            <a:endParaRPr kumimoji="0" lang="en-US" altLang="zh-CN" sz="1100" b="1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7DD052BE-42F2-CD5B-CF31-7370C89BE217}"/>
              </a:ext>
            </a:extLst>
          </p:cNvPr>
          <p:cNvGrpSpPr/>
          <p:nvPr/>
        </p:nvGrpSpPr>
        <p:grpSpPr>
          <a:xfrm>
            <a:off x="2502415" y="1785122"/>
            <a:ext cx="936219" cy="1362174"/>
            <a:chOff x="2594513" y="1754225"/>
            <a:chExt cx="936219" cy="1362174"/>
          </a:xfrm>
        </p:grpSpPr>
        <p:sp>
          <p:nvSpPr>
            <p:cNvPr id="78" name="Rectangle 17">
              <a:extLst>
                <a:ext uri="{FF2B5EF4-FFF2-40B4-BE49-F238E27FC236}">
                  <a16:creationId xmlns:a16="http://schemas.microsoft.com/office/drawing/2014/main" id="{B7F378ED-DC22-CDAD-E359-7B2AD5C7AB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8071" y="2329700"/>
              <a:ext cx="771271" cy="29117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 cmpd="sng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询报价管理</a:t>
              </a:r>
              <a:endPara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79" name="Rectangle 30">
              <a:extLst>
                <a:ext uri="{FF2B5EF4-FFF2-40B4-BE49-F238E27FC236}">
                  <a16:creationId xmlns:a16="http://schemas.microsoft.com/office/drawing/2014/main" id="{3F0B43DB-3BA2-2AE4-1446-037CCDC4A0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8071" y="1905928"/>
              <a:ext cx="771271" cy="32180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 cmpd="sng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供应商管理</a:t>
              </a:r>
              <a:endPara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80" name="Rectangle 30">
              <a:extLst>
                <a:ext uri="{FF2B5EF4-FFF2-40B4-BE49-F238E27FC236}">
                  <a16:creationId xmlns:a16="http://schemas.microsoft.com/office/drawing/2014/main" id="{4EB17844-2081-1215-FAE5-72EE2C2612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8071" y="2697367"/>
              <a:ext cx="771271" cy="26219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 cmpd="sng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合同管理</a:t>
              </a:r>
              <a:endPara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81" name="Rectangle 47">
              <a:extLst>
                <a:ext uri="{FF2B5EF4-FFF2-40B4-BE49-F238E27FC236}">
                  <a16:creationId xmlns:a16="http://schemas.microsoft.com/office/drawing/2014/main" id="{A128E26B-8C17-BF47-05F8-BAF08D472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4513" y="1754225"/>
              <a:ext cx="936219" cy="1362174"/>
            </a:xfrm>
            <a:prstGeom prst="rect">
              <a:avLst/>
            </a:prstGeom>
            <a:noFill/>
            <a:ln w="12700" cmpd="sng" algn="ctr">
              <a:solidFill>
                <a:schemeClr val="tx1"/>
              </a:solidFill>
              <a:prstDash val="dash"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</p:grp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30AB3503-FA47-38D3-6F99-D6926E0224E3}"/>
              </a:ext>
            </a:extLst>
          </p:cNvPr>
          <p:cNvCxnSpPr>
            <a:cxnSpLocks/>
          </p:cNvCxnSpPr>
          <p:nvPr/>
        </p:nvCxnSpPr>
        <p:spPr>
          <a:xfrm flipV="1">
            <a:off x="2085187" y="2091634"/>
            <a:ext cx="41722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83">
            <a:extLst>
              <a:ext uri="{FF2B5EF4-FFF2-40B4-BE49-F238E27FC236}">
                <a16:creationId xmlns:a16="http://schemas.microsoft.com/office/drawing/2014/main" id="{2F3735DB-AF78-8FF9-9B05-B839D3089004}"/>
              </a:ext>
            </a:extLst>
          </p:cNvPr>
          <p:cNvCxnSpPr>
            <a:cxnSpLocks/>
          </p:cNvCxnSpPr>
          <p:nvPr/>
        </p:nvCxnSpPr>
        <p:spPr>
          <a:xfrm>
            <a:off x="3438634" y="2091634"/>
            <a:ext cx="252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83">
            <a:extLst>
              <a:ext uri="{FF2B5EF4-FFF2-40B4-BE49-F238E27FC236}">
                <a16:creationId xmlns:a16="http://schemas.microsoft.com/office/drawing/2014/main" id="{0292C364-8F17-CFC4-AB29-8DCE1C8ACA6C}"/>
              </a:ext>
            </a:extLst>
          </p:cNvPr>
          <p:cNvCxnSpPr>
            <a:cxnSpLocks/>
          </p:cNvCxnSpPr>
          <p:nvPr/>
        </p:nvCxnSpPr>
        <p:spPr>
          <a:xfrm>
            <a:off x="4455376" y="2091634"/>
            <a:ext cx="504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3">
            <a:extLst>
              <a:ext uri="{FF2B5EF4-FFF2-40B4-BE49-F238E27FC236}">
                <a16:creationId xmlns:a16="http://schemas.microsoft.com/office/drawing/2014/main" id="{3E19F302-81F8-3EDA-5BFA-0CD7FFC431BC}"/>
              </a:ext>
            </a:extLst>
          </p:cNvPr>
          <p:cNvSpPr/>
          <p:nvPr/>
        </p:nvSpPr>
        <p:spPr>
          <a:xfrm>
            <a:off x="9426321" y="3683406"/>
            <a:ext cx="2484000" cy="458486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流程</a:t>
            </a:r>
            <a:r>
              <a:rPr kumimoji="0" lang="en-US" altLang="zh-CN" sz="12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wner</a:t>
            </a:r>
            <a:r>
              <a:rPr kumimoji="0" lang="zh-CN" altLang="en-US" sz="12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：</a:t>
            </a: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实业层面明确推广费推动</a:t>
            </a: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PTP</a:t>
            </a: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的行管部门</a:t>
            </a:r>
            <a:endParaRPr kumimoji="0" lang="en-US" altLang="zh-CN" sz="12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5" name="Rectangle 19">
            <a:extLst>
              <a:ext uri="{FF2B5EF4-FFF2-40B4-BE49-F238E27FC236}">
                <a16:creationId xmlns:a16="http://schemas.microsoft.com/office/drawing/2014/main" id="{8F1EC283-E8D2-DD67-601C-8EBFDE398A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9714" y="3932861"/>
            <a:ext cx="771271" cy="39319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按月确认）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9" name="Rectangle 19">
            <a:extLst>
              <a:ext uri="{FF2B5EF4-FFF2-40B4-BE49-F238E27FC236}">
                <a16:creationId xmlns:a16="http://schemas.microsoft.com/office/drawing/2014/main" id="{3D936C3F-CBEC-D59F-8EF7-4D0BFEAC41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1545" y="3331733"/>
            <a:ext cx="971978" cy="1116000"/>
          </a:xfrm>
          <a:prstGeom prst="rect">
            <a:avLst/>
          </a:prstGeom>
          <a:noFill/>
          <a:ln w="12700" cmpd="sng" algn="ctr">
            <a:solidFill>
              <a:schemeClr val="bg1">
                <a:lumMod val="50000"/>
              </a:schemeClr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" name="矩形 252">
            <a:extLst>
              <a:ext uri="{FF2B5EF4-FFF2-40B4-BE49-F238E27FC236}">
                <a16:creationId xmlns:a16="http://schemas.microsoft.com/office/drawing/2014/main" id="{F316BE03-930C-07F8-EF48-3EC78750A455}"/>
              </a:ext>
            </a:extLst>
          </p:cNvPr>
          <p:cNvSpPr/>
          <p:nvPr/>
        </p:nvSpPr>
        <p:spPr>
          <a:xfrm>
            <a:off x="6190537" y="3483970"/>
            <a:ext cx="2601518" cy="912226"/>
          </a:xfrm>
          <a:prstGeom prst="rect">
            <a:avLst/>
          </a:prstGeom>
          <a:noFill/>
          <a:ln w="1905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在营销立项时点进行推广费预算余额的校验与占用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预算执行与控制应贯穿项目过程至最终付款环节</a:t>
            </a:r>
          </a:p>
        </p:txBody>
      </p:sp>
      <p:sp>
        <p:nvSpPr>
          <p:cNvPr id="4" name="TextBox 53">
            <a:extLst>
              <a:ext uri="{FF2B5EF4-FFF2-40B4-BE49-F238E27FC236}">
                <a16:creationId xmlns:a16="http://schemas.microsoft.com/office/drawing/2014/main" id="{38321701-CEC2-4493-3E2D-82B980438C46}"/>
              </a:ext>
            </a:extLst>
          </p:cNvPr>
          <p:cNvSpPr txBox="1"/>
          <p:nvPr/>
        </p:nvSpPr>
        <p:spPr>
          <a:xfrm>
            <a:off x="748385" y="5852202"/>
            <a:ext cx="8381146" cy="82560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lIns="54610" tIns="54610" rIns="54610" bIns="5461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适用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的场景：</a:t>
            </a: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①询报价采购；②框架合同，如：零星采购，一次招投标确认供应商，后续采购环节在供应商资源池消耗，如：赠品类物料采购、标准件物料采购，无需每次采购均走采购寻源报价环节；</a:t>
            </a:r>
            <a:endParaRPr kumimoji="0" lang="en-US" altLang="zh-CN" sz="10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沿用现有报销流程的场景：</a:t>
            </a: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①根据集团招标制度要求，金额未达到一定标准（如：</a:t>
            </a:r>
            <a:r>
              <a:rPr kumimoji="0" lang="en-US" altLang="zh-CN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2</a:t>
            </a: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万），无需进行招投标的推广费，如：小额费用个人垫付后报销；</a:t>
            </a:r>
            <a:r>
              <a:rPr kumimoji="0" lang="zh-CN" altLang="en-US" sz="1000" b="1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②线上店铺类推广活动；</a:t>
            </a:r>
            <a:endParaRPr kumimoji="0" lang="en-US" altLang="zh-CN" sz="1000" b="1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sp>
        <p:nvSpPr>
          <p:cNvPr id="13" name="TextBox 53">
            <a:extLst>
              <a:ext uri="{FF2B5EF4-FFF2-40B4-BE49-F238E27FC236}">
                <a16:creationId xmlns:a16="http://schemas.microsoft.com/office/drawing/2014/main" id="{00000000-0008-0000-0700-000006000000}"/>
              </a:ext>
            </a:extLst>
          </p:cNvPr>
          <p:cNvSpPr txBox="1"/>
          <p:nvPr/>
        </p:nvSpPr>
        <p:spPr>
          <a:xfrm>
            <a:off x="12272117" y="0"/>
            <a:ext cx="3013311" cy="22587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6"/>
            </a:solidFill>
          </a:ln>
        </p:spPr>
        <p:txBody>
          <a:bodyPr wrap="square" lIns="54610" tIns="54610" rIns="54610" bIns="5461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CBG</a:t>
            </a:r>
            <a:r>
              <a:rPr kumimoji="0" lang="zh-CN" altLang="en-US" sz="1100" b="1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电商：</a:t>
            </a:r>
            <a:endParaRPr kumimoji="0" lang="en-US" altLang="zh-CN" sz="1100" b="1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①线上店铺（</a:t>
            </a:r>
            <a:r>
              <a:rPr kumimoji="0" lang="en-US" altLang="zh-CN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95%</a:t>
            </a:r>
            <a:r>
              <a:rPr kumimoji="0" lang="zh-CN" altLang="en-US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）</a:t>
            </a:r>
            <a:r>
              <a:rPr kumimoji="0" lang="en-US" altLang="zh-CN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-</a:t>
            </a:r>
            <a:r>
              <a:rPr kumimoji="0" lang="zh-CN" altLang="en-US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如：京东，先充值，在店铺后台，固定投向；</a:t>
            </a:r>
            <a:endParaRPr kumimoji="0" lang="en-US" altLang="zh-CN" sz="11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无需进行寻源报价、无需签合同；</a:t>
            </a:r>
            <a:endParaRPr kumimoji="0" lang="en-US" altLang="zh-CN" sz="11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对账、开票在对方系统，目前走报销系统；</a:t>
            </a:r>
            <a:endParaRPr kumimoji="0" lang="en-US" altLang="zh-CN" sz="11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②服务类采购，如短视频：</a:t>
            </a:r>
            <a:r>
              <a:rPr kumimoji="0" lang="en-US" altLang="zh-CN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OA</a:t>
            </a:r>
            <a:r>
              <a:rPr kumimoji="0" lang="zh-CN" altLang="en-US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立项</a:t>
            </a:r>
            <a:r>
              <a:rPr kumimoji="0" lang="en-US" altLang="zh-CN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-&gt;</a:t>
            </a:r>
            <a:r>
              <a:rPr kumimoji="0" lang="zh-CN" altLang="en-US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确定供应商</a:t>
            </a:r>
            <a:r>
              <a:rPr kumimoji="0" lang="en-US" altLang="zh-CN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-&gt;</a:t>
            </a:r>
            <a:r>
              <a:rPr kumimoji="0" lang="zh-CN" altLang="en-US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季度结算，聚采系统</a:t>
            </a:r>
            <a:endParaRPr kumimoji="0" lang="en-US" altLang="zh-CN" sz="11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内容：一年一次招投标，年框合同，确认费用总包</a:t>
            </a:r>
            <a:endParaRPr kumimoji="0" lang="en-US" altLang="zh-CN" sz="11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③零星小额报销</a:t>
            </a:r>
            <a:endParaRPr kumimoji="0" lang="en-US" altLang="zh-CN" sz="11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036900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3E4EC-AED0-0D54-8686-5C70E4547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长期系统方案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AB591D-F4E5-600E-C93C-E7C59A7E6A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35</a:t>
            </a:fld>
            <a:endParaRPr kumimoji="1" lang="zh-CN" altLang="en-US"/>
          </a:p>
        </p:txBody>
      </p:sp>
      <p:sp>
        <p:nvSpPr>
          <p:cNvPr id="4" name="矩形 189">
            <a:extLst>
              <a:ext uri="{FF2B5EF4-FFF2-40B4-BE49-F238E27FC236}">
                <a16:creationId xmlns:a16="http://schemas.microsoft.com/office/drawing/2014/main" id="{8FADB6F4-CC43-460D-7341-8DD3AE0765CC}"/>
              </a:ext>
            </a:extLst>
          </p:cNvPr>
          <p:cNvSpPr/>
          <p:nvPr/>
        </p:nvSpPr>
        <p:spPr>
          <a:xfrm>
            <a:off x="9124475" y="1028631"/>
            <a:ext cx="2828766" cy="5256647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050" b="1">
                <a:latin typeface="+mj-ea"/>
                <a:ea typeface="+mj-ea"/>
              </a:rPr>
              <a:t>BPC</a:t>
            </a:r>
            <a:r>
              <a:rPr lang="zh-CN" altLang="en-US" sz="1050" b="1">
                <a:latin typeface="+mj-ea"/>
                <a:ea typeface="+mj-ea"/>
              </a:rPr>
              <a:t>系统：</a:t>
            </a:r>
            <a:r>
              <a:rPr lang="zh-CN" altLang="en-US" sz="1050" b="1">
                <a:solidFill>
                  <a:schemeClr val="accent1"/>
                </a:solidFill>
                <a:latin typeface="+mj-ea"/>
                <a:ea typeface="+mj-ea"/>
              </a:rPr>
              <a:t>推广费预算编制</a:t>
            </a:r>
            <a:r>
              <a:rPr lang="zh-CN" altLang="en-US" sz="1050">
                <a:latin typeface="+mj-ea"/>
                <a:ea typeface="+mj-ea"/>
              </a:rPr>
              <a:t>并下达至费用中心</a:t>
            </a:r>
            <a:endParaRPr lang="en-US" altLang="zh-CN" sz="1050">
              <a:latin typeface="+mj-ea"/>
              <a:ea typeface="+mj-ea"/>
            </a:endParaRPr>
          </a:p>
          <a:p>
            <a:pPr marL="228600" indent="-228600">
              <a:lnSpc>
                <a:spcPct val="150000"/>
              </a:lnSpc>
              <a:buClr>
                <a:schemeClr val="tx1"/>
              </a:buClr>
              <a:buSzPct val="130000"/>
              <a:buFont typeface="+mj-ea"/>
              <a:buAutoNum type="circleNumDbPlain"/>
              <a:defRPr/>
            </a:pPr>
            <a:r>
              <a:rPr lang="zh-CN" altLang="en-US" sz="1050" b="1">
                <a:latin typeface="+mj-ea"/>
                <a:ea typeface="+mj-ea"/>
              </a:rPr>
              <a:t>费用中心：</a:t>
            </a:r>
            <a:r>
              <a:rPr lang="zh-CN" altLang="en-US" sz="1050" b="1">
                <a:solidFill>
                  <a:schemeClr val="accent1"/>
                </a:solidFill>
                <a:latin typeface="+mj-ea"/>
                <a:ea typeface="+mj-ea"/>
              </a:rPr>
              <a:t>统一预算管理平台与业务系统对接方式</a:t>
            </a:r>
            <a:r>
              <a:rPr lang="zh-CN" altLang="en-US" sz="1050">
                <a:latin typeface="+mj-ea"/>
                <a:ea typeface="+mj-ea"/>
              </a:rPr>
              <a:t>，业务系统在立项、执行等环境调用预算额度形成预占、实占，并回传各环节单据信息，</a:t>
            </a:r>
            <a:r>
              <a:rPr lang="zh-CN" altLang="en-US" sz="1050" b="1">
                <a:solidFill>
                  <a:schemeClr val="accent1"/>
                </a:solidFill>
                <a:latin typeface="+mj-ea"/>
                <a:ea typeface="+mj-ea"/>
              </a:rPr>
              <a:t>实施监控预算执行情况</a:t>
            </a:r>
            <a:endParaRPr lang="en-US" altLang="zh-CN" sz="1050" b="1">
              <a:solidFill>
                <a:schemeClr val="accent1"/>
              </a:solidFill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050" b="1">
                <a:latin typeface="+mj-ea"/>
                <a:ea typeface="+mj-ea"/>
              </a:rPr>
              <a:t>MPM</a:t>
            </a:r>
            <a:r>
              <a:rPr lang="zh-CN" altLang="en-US" sz="1050" b="1">
                <a:latin typeface="+mj-ea"/>
                <a:ea typeface="+mj-ea"/>
              </a:rPr>
              <a:t>系统：</a:t>
            </a:r>
            <a:r>
              <a:rPr lang="zh-CN" altLang="en-US" sz="1050">
                <a:latin typeface="+mj-ea"/>
                <a:ea typeface="+mj-ea"/>
              </a:rPr>
              <a:t>定位</a:t>
            </a:r>
            <a:r>
              <a:rPr lang="en-US" altLang="zh-CN" sz="1050">
                <a:latin typeface="+mj-ea"/>
                <a:ea typeface="+mj-ea"/>
              </a:rPr>
              <a:t>MPM</a:t>
            </a:r>
            <a:r>
              <a:rPr lang="zh-CN" altLang="en-US" sz="1050">
                <a:latin typeface="+mj-ea"/>
                <a:ea typeface="+mj-ea"/>
              </a:rPr>
              <a:t>系统为集团</a:t>
            </a:r>
            <a:r>
              <a:rPr lang="zh-CN" altLang="en-US" sz="1050" b="1">
                <a:solidFill>
                  <a:srgbClr val="FF0000"/>
                </a:solidFill>
                <a:latin typeface="+mj-ea"/>
                <a:ea typeface="+mj-ea"/>
              </a:rPr>
              <a:t>推广费项目管理系统</a:t>
            </a:r>
            <a:r>
              <a:rPr lang="zh-CN" altLang="en-US" sz="1050">
                <a:latin typeface="+mj-ea"/>
                <a:ea typeface="+mj-ea"/>
              </a:rPr>
              <a:t>，通过费用中心承接推广费项目预算，对项目进行全生命周期管理</a:t>
            </a:r>
            <a:endParaRPr lang="en-US" altLang="zh-CN" sz="105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050" b="1">
                <a:latin typeface="+mj-ea"/>
                <a:ea typeface="+mj-ea"/>
              </a:rPr>
              <a:t>SRM</a:t>
            </a:r>
            <a:r>
              <a:rPr lang="zh-CN" altLang="en-US" sz="1050" b="1">
                <a:latin typeface="+mj-ea"/>
                <a:ea typeface="+mj-ea"/>
              </a:rPr>
              <a:t>系统：</a:t>
            </a:r>
            <a:r>
              <a:rPr lang="zh-CN" altLang="en-US" sz="1050">
                <a:latin typeface="+mj-ea"/>
                <a:ea typeface="+mj-ea"/>
              </a:rPr>
              <a:t>接收</a:t>
            </a:r>
            <a:r>
              <a:rPr lang="en-US" altLang="zh-CN" sz="1050">
                <a:latin typeface="+mj-ea"/>
                <a:ea typeface="+mj-ea"/>
              </a:rPr>
              <a:t>MPM</a:t>
            </a:r>
            <a:r>
              <a:rPr lang="zh-CN" altLang="en-US" sz="1050">
                <a:latin typeface="+mj-ea"/>
                <a:ea typeface="+mj-ea"/>
              </a:rPr>
              <a:t>系统项目立项信息，发起采购申请，</a:t>
            </a:r>
            <a:r>
              <a:rPr lang="en-US" altLang="zh-CN" sz="1050">
                <a:latin typeface="+mj-ea"/>
                <a:ea typeface="+mj-ea"/>
              </a:rPr>
              <a:t>·</a:t>
            </a:r>
            <a:r>
              <a:rPr lang="zh-CN" altLang="en-US" sz="1050">
                <a:latin typeface="+mj-ea"/>
                <a:ea typeface="+mj-ea"/>
              </a:rPr>
              <a:t>搭建推广业务</a:t>
            </a:r>
            <a:r>
              <a:rPr lang="zh-CN" altLang="en-US" sz="1050" b="1">
                <a:solidFill>
                  <a:srgbClr val="FF0000"/>
                </a:solidFill>
                <a:latin typeface="+mj-ea"/>
                <a:ea typeface="+mj-ea"/>
              </a:rPr>
              <a:t>供应商、寻源报价、采购合同、订单履行、对账等功能</a:t>
            </a:r>
            <a:r>
              <a:rPr lang="zh-CN" altLang="en-US" sz="1050">
                <a:latin typeface="+mj-ea"/>
                <a:ea typeface="+mj-ea"/>
              </a:rPr>
              <a:t>；</a:t>
            </a:r>
            <a:endParaRPr lang="en-US" altLang="zh-CN" sz="105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050" b="1">
                <a:latin typeface="+mj-ea"/>
                <a:ea typeface="+mj-ea"/>
              </a:rPr>
              <a:t>SAP</a:t>
            </a:r>
            <a:r>
              <a:rPr lang="zh-CN" altLang="en-US" sz="1050" b="1">
                <a:latin typeface="+mj-ea"/>
                <a:ea typeface="+mj-ea"/>
              </a:rPr>
              <a:t>系统：</a:t>
            </a:r>
            <a:r>
              <a:rPr lang="zh-CN" altLang="en-US" sz="1050">
                <a:latin typeface="+mj-ea"/>
                <a:ea typeface="+mj-ea"/>
              </a:rPr>
              <a:t>承接各系统业务执行结果，实现多维度推广费核算；</a:t>
            </a:r>
            <a:endParaRPr lang="en-US" altLang="zh-CN" sz="105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050" b="1">
                <a:latin typeface="+mj-ea"/>
                <a:ea typeface="+mj-ea"/>
              </a:rPr>
              <a:t>FSSC</a:t>
            </a:r>
            <a:r>
              <a:rPr lang="zh-CN" altLang="en-US" sz="1050" b="1">
                <a:latin typeface="+mj-ea"/>
                <a:ea typeface="+mj-ea"/>
              </a:rPr>
              <a:t>系统</a:t>
            </a:r>
            <a:r>
              <a:rPr lang="zh-CN" altLang="en-US" sz="1050">
                <a:latin typeface="+mj-ea"/>
                <a:ea typeface="+mj-ea"/>
              </a:rPr>
              <a:t>：对于</a:t>
            </a:r>
            <a:r>
              <a:rPr lang="zh-CN" altLang="en-US" sz="1050" b="1">
                <a:solidFill>
                  <a:schemeClr val="accent1"/>
                </a:solidFill>
                <a:latin typeface="+mj-ea"/>
                <a:ea typeface="+mj-ea"/>
              </a:rPr>
              <a:t>小额零星与不适用</a:t>
            </a:r>
            <a:r>
              <a:rPr lang="en-US" altLang="zh-CN" sz="1050" b="1">
                <a:solidFill>
                  <a:schemeClr val="accent1"/>
                </a:solidFill>
                <a:latin typeface="+mj-ea"/>
                <a:ea typeface="+mj-ea"/>
              </a:rPr>
              <a:t>PTP</a:t>
            </a:r>
            <a:r>
              <a:rPr lang="zh-CN" altLang="en-US" sz="1050" b="1">
                <a:solidFill>
                  <a:schemeClr val="accent1"/>
                </a:solidFill>
                <a:latin typeface="+mj-ea"/>
                <a:ea typeface="+mj-ea"/>
              </a:rPr>
              <a:t>流程</a:t>
            </a:r>
            <a:r>
              <a:rPr lang="zh-CN" altLang="en-US" sz="1050">
                <a:latin typeface="+mj-ea"/>
                <a:ea typeface="+mj-ea"/>
              </a:rPr>
              <a:t>的采购直接发起报销</a:t>
            </a:r>
            <a:endParaRPr lang="en-US" altLang="zh-CN" sz="1050">
              <a:latin typeface="+mj-ea"/>
              <a:ea typeface="+mj-ea"/>
            </a:endParaRPr>
          </a:p>
          <a:p>
            <a:pPr marL="228600" indent="-228600">
              <a:lnSpc>
                <a:spcPct val="150000"/>
              </a:lnSpc>
              <a:buClr>
                <a:schemeClr val="tx1"/>
              </a:buClr>
              <a:buSzPct val="130000"/>
              <a:buFont typeface="+mj-ea"/>
              <a:buAutoNum type="circleNumDbPlain"/>
              <a:defRPr/>
            </a:pPr>
            <a:r>
              <a:rPr lang="zh-CN" altLang="en-US" sz="1050" b="1">
                <a:latin typeface="+mj-ea"/>
                <a:ea typeface="+mj-ea"/>
              </a:rPr>
              <a:t>推广费系统：</a:t>
            </a:r>
            <a:r>
              <a:rPr lang="zh-CN" altLang="en-US" sz="1050">
                <a:latin typeface="+mj-ea"/>
                <a:ea typeface="+mj-ea"/>
              </a:rPr>
              <a:t>从功能上来说与</a:t>
            </a:r>
            <a:r>
              <a:rPr lang="en-US" altLang="zh-CN" sz="1050">
                <a:latin typeface="+mj-ea"/>
                <a:ea typeface="+mj-ea"/>
              </a:rPr>
              <a:t>MPM</a:t>
            </a:r>
            <a:r>
              <a:rPr lang="zh-CN" altLang="en-US" sz="1050">
                <a:latin typeface="+mj-ea"/>
                <a:ea typeface="+mj-ea"/>
              </a:rPr>
              <a:t>定位重叠，建议未来由</a:t>
            </a:r>
            <a:r>
              <a:rPr lang="en-US" altLang="zh-CN" sz="1050" b="1">
                <a:solidFill>
                  <a:srgbClr val="FF0000"/>
                </a:solidFill>
                <a:latin typeface="+mj-ea"/>
                <a:ea typeface="+mj-ea"/>
              </a:rPr>
              <a:t>MPM</a:t>
            </a:r>
            <a:r>
              <a:rPr lang="zh-CN" altLang="en-US" sz="1050" b="1">
                <a:solidFill>
                  <a:srgbClr val="FF0000"/>
                </a:solidFill>
                <a:latin typeface="+mj-ea"/>
                <a:ea typeface="+mj-ea"/>
              </a:rPr>
              <a:t>与</a:t>
            </a:r>
            <a:r>
              <a:rPr lang="en-US" altLang="zh-CN" sz="1050" b="1">
                <a:solidFill>
                  <a:srgbClr val="FF0000"/>
                </a:solidFill>
                <a:latin typeface="+mj-ea"/>
                <a:ea typeface="+mj-ea"/>
              </a:rPr>
              <a:t>SRM</a:t>
            </a:r>
            <a:r>
              <a:rPr lang="zh-CN" altLang="en-US" sz="1050" b="1">
                <a:solidFill>
                  <a:srgbClr val="FF0000"/>
                </a:solidFill>
                <a:latin typeface="+mj-ea"/>
                <a:ea typeface="+mj-ea"/>
              </a:rPr>
              <a:t>系统承接目前推广费系统对应功能</a:t>
            </a:r>
            <a:r>
              <a:rPr lang="en-US" altLang="zh-CN" sz="1050" b="1">
                <a:solidFill>
                  <a:srgbClr val="FF0000"/>
                </a:solidFill>
                <a:latin typeface="+mj-ea"/>
                <a:ea typeface="+mj-ea"/>
              </a:rPr>
              <a:t>(</a:t>
            </a:r>
            <a:r>
              <a:rPr lang="zh-CN" altLang="en-US" sz="1050" b="1">
                <a:solidFill>
                  <a:srgbClr val="FF0000"/>
                </a:solidFill>
                <a:latin typeface="+mj-ea"/>
                <a:ea typeface="+mj-ea"/>
              </a:rPr>
              <a:t>需与</a:t>
            </a:r>
            <a:r>
              <a:rPr lang="en-US" altLang="zh-CN" sz="1050" b="1">
                <a:solidFill>
                  <a:srgbClr val="FF0000"/>
                </a:solidFill>
                <a:latin typeface="+mj-ea"/>
                <a:ea typeface="+mj-ea"/>
              </a:rPr>
              <a:t>CBG</a:t>
            </a:r>
            <a:r>
              <a:rPr lang="zh-CN" altLang="en-US" sz="1050" b="1">
                <a:solidFill>
                  <a:srgbClr val="FF0000"/>
                </a:solidFill>
                <a:latin typeface="+mj-ea"/>
                <a:ea typeface="+mj-ea"/>
              </a:rPr>
              <a:t>架构拉通</a:t>
            </a:r>
            <a:r>
              <a:rPr lang="en-US" altLang="zh-CN" sz="1050" b="1">
                <a:solidFill>
                  <a:srgbClr val="FF0000"/>
                </a:solidFill>
                <a:latin typeface="+mj-ea"/>
                <a:ea typeface="+mj-ea"/>
              </a:rPr>
              <a:t>)</a:t>
            </a:r>
            <a:r>
              <a:rPr lang="zh-CN" altLang="en-US" sz="1050">
                <a:latin typeface="+mj-ea"/>
                <a:ea typeface="+mj-ea"/>
              </a:rPr>
              <a:t>。</a:t>
            </a:r>
            <a:endParaRPr lang="en-US" altLang="zh-CN" sz="1050">
              <a:latin typeface="+mj-ea"/>
              <a:ea typeface="+mj-ea"/>
            </a:endParaRPr>
          </a:p>
        </p:txBody>
      </p:sp>
      <p:sp>
        <p:nvSpPr>
          <p:cNvPr id="6" name="Rectangle 18">
            <a:extLst>
              <a:ext uri="{FF2B5EF4-FFF2-40B4-BE49-F238E27FC236}">
                <a16:creationId xmlns:a16="http://schemas.microsoft.com/office/drawing/2014/main" id="{2594C9E7-83BF-279B-34E7-08FF03081A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243" y="2091254"/>
            <a:ext cx="929768" cy="1817555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BP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7" name="Rectangle 84">
            <a:extLst>
              <a:ext uri="{FF2B5EF4-FFF2-40B4-BE49-F238E27FC236}">
                <a16:creationId xmlns:a16="http://schemas.microsoft.com/office/drawing/2014/main" id="{BAAE1793-05DB-A15A-C0AD-3C724C730B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555" y="2462763"/>
            <a:ext cx="682053" cy="177208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业务计划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" name="Rectangle 84">
            <a:extLst>
              <a:ext uri="{FF2B5EF4-FFF2-40B4-BE49-F238E27FC236}">
                <a16:creationId xmlns:a16="http://schemas.microsoft.com/office/drawing/2014/main" id="{3B3AA360-D587-C25D-742E-2F50DA0076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555" y="3017853"/>
            <a:ext cx="682053" cy="177208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财务预算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9" name="Rectangle 84">
            <a:extLst>
              <a:ext uri="{FF2B5EF4-FFF2-40B4-BE49-F238E27FC236}">
                <a16:creationId xmlns:a16="http://schemas.microsoft.com/office/drawing/2014/main" id="{8B48A04E-4FD8-D9C4-06B4-7540E2F1BE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100" y="3572943"/>
            <a:ext cx="682053" cy="177208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滚动预测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" name="Rectangle 18">
            <a:extLst>
              <a:ext uri="{FF2B5EF4-FFF2-40B4-BE49-F238E27FC236}">
                <a16:creationId xmlns:a16="http://schemas.microsoft.com/office/drawing/2014/main" id="{EB7E21D7-1AF1-84E6-5190-D592B7EF52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6124" y="2091253"/>
            <a:ext cx="929768" cy="1817555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费用中心</a:t>
            </a:r>
          </a:p>
        </p:txBody>
      </p:sp>
      <p:sp>
        <p:nvSpPr>
          <p:cNvPr id="11" name="Rectangle 84">
            <a:extLst>
              <a:ext uri="{FF2B5EF4-FFF2-40B4-BE49-F238E27FC236}">
                <a16:creationId xmlns:a16="http://schemas.microsoft.com/office/drawing/2014/main" id="{B2B05E70-671F-D780-D59E-4A8D16E02E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2811" y="2462763"/>
            <a:ext cx="682053" cy="177208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拆解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" name="Rectangle 84">
            <a:extLst>
              <a:ext uri="{FF2B5EF4-FFF2-40B4-BE49-F238E27FC236}">
                <a16:creationId xmlns:a16="http://schemas.microsoft.com/office/drawing/2014/main" id="{2E14C837-0BA1-B5D0-1DCE-1AC2812AA6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2811" y="2731828"/>
            <a:ext cx="682053" cy="177208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调整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3" name="Rectangle 84">
            <a:extLst>
              <a:ext uri="{FF2B5EF4-FFF2-40B4-BE49-F238E27FC236}">
                <a16:creationId xmlns:a16="http://schemas.microsoft.com/office/drawing/2014/main" id="{0FECB321-8057-30DB-6DC6-EFB70A3A2F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8082" y="3025605"/>
            <a:ext cx="682053" cy="177208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控制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4" name="文本框 29">
            <a:extLst>
              <a:ext uri="{FF2B5EF4-FFF2-40B4-BE49-F238E27FC236}">
                <a16:creationId xmlns:a16="http://schemas.microsoft.com/office/drawing/2014/main" id="{996BF54D-159E-65D0-28E9-48826A5EC716}"/>
              </a:ext>
            </a:extLst>
          </p:cNvPr>
          <p:cNvSpPr txBox="1"/>
          <p:nvPr/>
        </p:nvSpPr>
        <p:spPr>
          <a:xfrm>
            <a:off x="1433742" y="3231761"/>
            <a:ext cx="533897" cy="3944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推广费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预算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cxnSp>
        <p:nvCxnSpPr>
          <p:cNvPr id="15" name="直接箭头连接符 205">
            <a:extLst>
              <a:ext uri="{FF2B5EF4-FFF2-40B4-BE49-F238E27FC236}">
                <a16:creationId xmlns:a16="http://schemas.microsoft.com/office/drawing/2014/main" id="{CB7F3839-1794-DDF4-08F8-90C64A587570}"/>
              </a:ext>
            </a:extLst>
          </p:cNvPr>
          <p:cNvCxnSpPr>
            <a:cxnSpLocks/>
          </p:cNvCxnSpPr>
          <p:nvPr/>
        </p:nvCxnSpPr>
        <p:spPr>
          <a:xfrm flipV="1">
            <a:off x="1521432" y="3105377"/>
            <a:ext cx="462271" cy="108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8">
            <a:extLst>
              <a:ext uri="{FF2B5EF4-FFF2-40B4-BE49-F238E27FC236}">
                <a16:creationId xmlns:a16="http://schemas.microsoft.com/office/drawing/2014/main" id="{5DDD79B3-0E77-03C7-D22B-EA74991865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7815" y="2091254"/>
            <a:ext cx="833418" cy="1817554"/>
          </a:xfrm>
          <a:prstGeom prst="rect">
            <a:avLst/>
          </a:prstGeom>
          <a:solidFill>
            <a:srgbClr val="F2F2F2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MP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8" name="文本框 29">
            <a:extLst>
              <a:ext uri="{FF2B5EF4-FFF2-40B4-BE49-F238E27FC236}">
                <a16:creationId xmlns:a16="http://schemas.microsoft.com/office/drawing/2014/main" id="{DFA0C832-C5FC-2036-9185-D8465086846B}"/>
              </a:ext>
            </a:extLst>
          </p:cNvPr>
          <p:cNvSpPr txBox="1"/>
          <p:nvPr/>
        </p:nvSpPr>
        <p:spPr>
          <a:xfrm>
            <a:off x="2895714" y="3235944"/>
            <a:ext cx="908392" cy="325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900">
                <a:solidFill>
                  <a:srgbClr val="005F92"/>
                </a:solidFill>
                <a:latin typeface="+mj-ea"/>
                <a:ea typeface="+mj-ea"/>
              </a:rPr>
              <a:t>预算调用</a:t>
            </a:r>
            <a:endParaRPr lang="en-US" altLang="zh-CN" sz="900">
              <a:solidFill>
                <a:srgbClr val="005F92"/>
              </a:solidFill>
              <a:latin typeface="+mj-ea"/>
              <a:ea typeface="+mj-ea"/>
            </a:endParaRPr>
          </a:p>
          <a:p>
            <a:pPr algn="l"/>
            <a:r>
              <a:rPr lang="zh-CN" altLang="en-US" sz="900">
                <a:solidFill>
                  <a:srgbClr val="005F92"/>
                </a:solidFill>
                <a:latin typeface="+mj-ea"/>
                <a:ea typeface="+mj-ea"/>
              </a:rPr>
              <a:t>立项信息回传</a:t>
            </a:r>
            <a:endParaRPr lang="en-US" altLang="zh-CN" sz="90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19" name="Rectangle 30">
            <a:extLst>
              <a:ext uri="{FF2B5EF4-FFF2-40B4-BE49-F238E27FC236}">
                <a16:creationId xmlns:a16="http://schemas.microsoft.com/office/drawing/2014/main" id="{F5044EFB-5538-C894-EF42-78B90A150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2236" y="2505851"/>
            <a:ext cx="684480" cy="242754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项目立项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0" name="Rectangle 30">
            <a:extLst>
              <a:ext uri="{FF2B5EF4-FFF2-40B4-BE49-F238E27FC236}">
                <a16:creationId xmlns:a16="http://schemas.microsoft.com/office/drawing/2014/main" id="{90FF40B4-118E-2982-E848-39A8D02D46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2236" y="3017853"/>
            <a:ext cx="684480" cy="242754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项目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1" name="Rectangle 30">
            <a:extLst>
              <a:ext uri="{FF2B5EF4-FFF2-40B4-BE49-F238E27FC236}">
                <a16:creationId xmlns:a16="http://schemas.microsoft.com/office/drawing/2014/main" id="{20AA5F53-651B-3D82-55DF-6B3EFCA96E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2236" y="3540170"/>
            <a:ext cx="684480" cy="242754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项目结项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5" name="Rectangle 18">
            <a:extLst>
              <a:ext uri="{FF2B5EF4-FFF2-40B4-BE49-F238E27FC236}">
                <a16:creationId xmlns:a16="http://schemas.microsoft.com/office/drawing/2014/main" id="{12345D4E-E7A2-C143-3F7F-7E525CEA64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5884" y="1397813"/>
            <a:ext cx="1022714" cy="592346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R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26" name="Rectangle 84">
            <a:extLst>
              <a:ext uri="{FF2B5EF4-FFF2-40B4-BE49-F238E27FC236}">
                <a16:creationId xmlns:a16="http://schemas.microsoft.com/office/drawing/2014/main" id="{BE5F890C-8C2D-86DC-333C-F04E164B07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2717" y="1633556"/>
            <a:ext cx="812651" cy="30220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73B9BB0-4820-04E2-522E-9651F5657A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2097" y="1419477"/>
            <a:ext cx="926602" cy="551441"/>
          </a:xfrm>
          <a:prstGeom prst="rect">
            <a:avLst/>
          </a:prstGeom>
          <a:solidFill>
            <a:srgbClr val="C0E9FF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AP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28" name="文本框 126">
            <a:extLst>
              <a:ext uri="{FF2B5EF4-FFF2-40B4-BE49-F238E27FC236}">
                <a16:creationId xmlns:a16="http://schemas.microsoft.com/office/drawing/2014/main" id="{6AC117AE-4133-7991-F40B-5549F9AAE8A0}"/>
              </a:ext>
            </a:extLst>
          </p:cNvPr>
          <p:cNvSpPr txBox="1"/>
          <p:nvPr/>
        </p:nvSpPr>
        <p:spPr>
          <a:xfrm>
            <a:off x="6531492" y="1632194"/>
            <a:ext cx="726023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费用计提</a:t>
            </a:r>
            <a:endParaRPr lang="en-US" altLang="zh-CN" sz="1200" kern="1200">
              <a:solidFill>
                <a:schemeClr val="tx1"/>
              </a:solidFill>
              <a:cs typeface="+mn-ea"/>
              <a:sym typeface="+mn-lt"/>
            </a:endParaRPr>
          </a:p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应付账款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BDBDD1C3-816C-D92F-B3DB-C5CEB16EAC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2679" y="1439797"/>
            <a:ext cx="921734" cy="632555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30" name="Rectangle 85">
            <a:extLst>
              <a:ext uri="{FF2B5EF4-FFF2-40B4-BE49-F238E27FC236}">
                <a16:creationId xmlns:a16="http://schemas.microsoft.com/office/drawing/2014/main" id="{1BE96431-B663-E896-887C-3947DE054C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63055" y="1703940"/>
            <a:ext cx="718128" cy="33751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付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1" name="Rectangle 18">
            <a:extLst>
              <a:ext uri="{FF2B5EF4-FFF2-40B4-BE49-F238E27FC236}">
                <a16:creationId xmlns:a16="http://schemas.microsoft.com/office/drawing/2014/main" id="{7D343F90-5081-ADD0-42DC-28A2C1661A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8878" y="2551366"/>
            <a:ext cx="3027904" cy="592346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32" name="Rectangle 84">
            <a:extLst>
              <a:ext uri="{FF2B5EF4-FFF2-40B4-BE49-F238E27FC236}">
                <a16:creationId xmlns:a16="http://schemas.microsoft.com/office/drawing/2014/main" id="{E3922008-B6AF-35F4-0713-FCA2E754B7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48" y="2812498"/>
            <a:ext cx="848420" cy="29552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3" name="Rectangle 84">
            <a:extLst>
              <a:ext uri="{FF2B5EF4-FFF2-40B4-BE49-F238E27FC236}">
                <a16:creationId xmlns:a16="http://schemas.microsoft.com/office/drawing/2014/main" id="{A4A43542-5F36-DA10-6057-A279CF3843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05150" y="2807379"/>
            <a:ext cx="867057" cy="29552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报销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4" name="Rectangle 84">
            <a:extLst>
              <a:ext uri="{FF2B5EF4-FFF2-40B4-BE49-F238E27FC236}">
                <a16:creationId xmlns:a16="http://schemas.microsoft.com/office/drawing/2014/main" id="{8430F147-AA99-8A41-8647-B7BD279853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3503" y="2807379"/>
            <a:ext cx="867057" cy="29552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付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7" name="Rectangle 18">
            <a:extLst>
              <a:ext uri="{FF2B5EF4-FFF2-40B4-BE49-F238E27FC236}">
                <a16:creationId xmlns:a16="http://schemas.microsoft.com/office/drawing/2014/main" id="{51C8D150-5A9E-2A7C-D5B7-C25453BBB4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8881" y="3737528"/>
            <a:ext cx="3027904" cy="592346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38" name="Rectangle 84">
            <a:extLst>
              <a:ext uri="{FF2B5EF4-FFF2-40B4-BE49-F238E27FC236}">
                <a16:creationId xmlns:a16="http://schemas.microsoft.com/office/drawing/2014/main" id="{E897103C-3EBD-5789-2823-9BAC9EB8A8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6028" y="3985253"/>
            <a:ext cx="848420" cy="29552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付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9" name="Rectangle 84">
            <a:extLst>
              <a:ext uri="{FF2B5EF4-FFF2-40B4-BE49-F238E27FC236}">
                <a16:creationId xmlns:a16="http://schemas.microsoft.com/office/drawing/2014/main" id="{D993C0DA-5A46-E8DE-42DC-049EC6FF8D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2196" y="3985253"/>
            <a:ext cx="848420" cy="29552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付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2" name="Rectangle 84">
            <a:extLst>
              <a:ext uri="{FF2B5EF4-FFF2-40B4-BE49-F238E27FC236}">
                <a16:creationId xmlns:a16="http://schemas.microsoft.com/office/drawing/2014/main" id="{4055D2E4-BD8C-4247-4A67-E0F821FD9A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3506" y="3985253"/>
            <a:ext cx="848420" cy="29552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到票报销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46" name="直接箭头连接符 205">
            <a:extLst>
              <a:ext uri="{FF2B5EF4-FFF2-40B4-BE49-F238E27FC236}">
                <a16:creationId xmlns:a16="http://schemas.microsoft.com/office/drawing/2014/main" id="{8941ABEC-C83F-00AA-80E6-3AE5E8ADD7E0}"/>
              </a:ext>
            </a:extLst>
          </p:cNvPr>
          <p:cNvCxnSpPr>
            <a:cxnSpLocks/>
          </p:cNvCxnSpPr>
          <p:nvPr/>
        </p:nvCxnSpPr>
        <p:spPr>
          <a:xfrm>
            <a:off x="6036809" y="1739498"/>
            <a:ext cx="403499" cy="1212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箭头连接符 205">
            <a:extLst>
              <a:ext uri="{FF2B5EF4-FFF2-40B4-BE49-F238E27FC236}">
                <a16:creationId xmlns:a16="http://schemas.microsoft.com/office/drawing/2014/main" id="{FD90AB8E-4646-1A5A-1D96-BE96E083E934}"/>
              </a:ext>
            </a:extLst>
          </p:cNvPr>
          <p:cNvCxnSpPr>
            <a:cxnSpLocks/>
          </p:cNvCxnSpPr>
          <p:nvPr/>
        </p:nvCxnSpPr>
        <p:spPr>
          <a:xfrm>
            <a:off x="7384717" y="1736079"/>
            <a:ext cx="403499" cy="1212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3D69778-4EAD-8D88-B7C9-682024073047}"/>
              </a:ext>
            </a:extLst>
          </p:cNvPr>
          <p:cNvCxnSpPr>
            <a:cxnSpLocks/>
          </p:cNvCxnSpPr>
          <p:nvPr/>
        </p:nvCxnSpPr>
        <p:spPr>
          <a:xfrm>
            <a:off x="2955892" y="3114989"/>
            <a:ext cx="591176" cy="0"/>
          </a:xfrm>
          <a:prstGeom prst="straightConnector1">
            <a:avLst/>
          </a:prstGeom>
          <a:ln w="28575"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BED02295-8927-C572-8850-7707C4AEADD1}"/>
              </a:ext>
            </a:extLst>
          </p:cNvPr>
          <p:cNvSpPr txBox="1"/>
          <p:nvPr/>
        </p:nvSpPr>
        <p:spPr>
          <a:xfrm>
            <a:off x="2912258" y="2337449"/>
            <a:ext cx="5916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/>
              <a:t>预算冻结</a:t>
            </a:r>
            <a:endParaRPr lang="en-US" sz="80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81BE535-DBCA-B695-D712-D8A232A2D008}"/>
              </a:ext>
            </a:extLst>
          </p:cNvPr>
          <p:cNvSpPr txBox="1"/>
          <p:nvPr/>
        </p:nvSpPr>
        <p:spPr>
          <a:xfrm>
            <a:off x="2515875" y="1286013"/>
            <a:ext cx="5916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/>
              <a:t>预算占用</a:t>
            </a:r>
            <a:endParaRPr lang="en-US" sz="80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10336FE-1364-D1E0-7BD0-733ACD29D252}"/>
              </a:ext>
            </a:extLst>
          </p:cNvPr>
          <p:cNvSpPr txBox="1"/>
          <p:nvPr/>
        </p:nvSpPr>
        <p:spPr>
          <a:xfrm>
            <a:off x="2927223" y="2652665"/>
            <a:ext cx="5916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/>
              <a:t>预算占用</a:t>
            </a:r>
            <a:endParaRPr lang="en-US" sz="800"/>
          </a:p>
        </p:txBody>
      </p:sp>
      <p:cxnSp>
        <p:nvCxnSpPr>
          <p:cNvPr id="60" name="直接箭头连接符 205">
            <a:extLst>
              <a:ext uri="{FF2B5EF4-FFF2-40B4-BE49-F238E27FC236}">
                <a16:creationId xmlns:a16="http://schemas.microsoft.com/office/drawing/2014/main" id="{7F127CC2-0246-86EA-3DC5-2115695374B8}"/>
              </a:ext>
            </a:extLst>
          </p:cNvPr>
          <p:cNvCxnSpPr>
            <a:cxnSpLocks/>
          </p:cNvCxnSpPr>
          <p:nvPr/>
        </p:nvCxnSpPr>
        <p:spPr>
          <a:xfrm>
            <a:off x="4445292" y="2982383"/>
            <a:ext cx="1061950" cy="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连接符: 肘形 69">
            <a:extLst>
              <a:ext uri="{FF2B5EF4-FFF2-40B4-BE49-F238E27FC236}">
                <a16:creationId xmlns:a16="http://schemas.microsoft.com/office/drawing/2014/main" id="{F21900D4-A6DD-83EC-0954-F18A0E92B1FC}"/>
              </a:ext>
            </a:extLst>
          </p:cNvPr>
          <p:cNvCxnSpPr>
            <a:cxnSpLocks/>
            <a:stCxn id="16" idx="0"/>
          </p:cNvCxnSpPr>
          <p:nvPr/>
        </p:nvCxnSpPr>
        <p:spPr>
          <a:xfrm rot="5400000" flipH="1" flipV="1">
            <a:off x="4312165" y="1407535"/>
            <a:ext cx="366079" cy="1001360"/>
          </a:xfrm>
          <a:prstGeom prst="bentConnector2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连接符: 肘形 69">
            <a:extLst>
              <a:ext uri="{FF2B5EF4-FFF2-40B4-BE49-F238E27FC236}">
                <a16:creationId xmlns:a16="http://schemas.microsoft.com/office/drawing/2014/main" id="{9763B8C8-0AB6-FC57-5D94-DC4275D9EE2B}"/>
              </a:ext>
            </a:extLst>
          </p:cNvPr>
          <p:cNvCxnSpPr>
            <a:cxnSpLocks/>
            <a:stCxn id="16" idx="2"/>
            <a:endCxn id="37" idx="1"/>
          </p:cNvCxnSpPr>
          <p:nvPr/>
        </p:nvCxnSpPr>
        <p:spPr>
          <a:xfrm rot="16200000" flipH="1">
            <a:off x="4744256" y="3159075"/>
            <a:ext cx="124893" cy="1624357"/>
          </a:xfrm>
          <a:prstGeom prst="bentConnector2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A0174D71-916A-3D19-37A4-E96D64EB2776}"/>
              </a:ext>
            </a:extLst>
          </p:cNvPr>
          <p:cNvSpPr txBox="1"/>
          <p:nvPr/>
        </p:nvSpPr>
        <p:spPr>
          <a:xfrm>
            <a:off x="2468540" y="4290493"/>
            <a:ext cx="5916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/>
              <a:t>预算占用</a:t>
            </a:r>
            <a:endParaRPr lang="en-US" sz="80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C63C9C8-EE42-2866-5DAF-B29D1C06F079}"/>
              </a:ext>
            </a:extLst>
          </p:cNvPr>
          <p:cNvSpPr txBox="1"/>
          <p:nvPr/>
        </p:nvSpPr>
        <p:spPr>
          <a:xfrm>
            <a:off x="2993163" y="3496675"/>
            <a:ext cx="5916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/>
              <a:t>预算释放</a:t>
            </a:r>
            <a:endParaRPr lang="en-US" sz="800"/>
          </a:p>
        </p:txBody>
      </p:sp>
      <p:sp>
        <p:nvSpPr>
          <p:cNvPr id="76" name="TextBox 53">
            <a:extLst>
              <a:ext uri="{FF2B5EF4-FFF2-40B4-BE49-F238E27FC236}">
                <a16:creationId xmlns:a16="http://schemas.microsoft.com/office/drawing/2014/main" id="{829A16CE-E0D2-AD81-1A39-5BCE8E0983E6}"/>
              </a:ext>
            </a:extLst>
          </p:cNvPr>
          <p:cNvSpPr txBox="1"/>
          <p:nvPr/>
        </p:nvSpPr>
        <p:spPr>
          <a:xfrm>
            <a:off x="527243" y="4995034"/>
            <a:ext cx="1992858" cy="825606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场景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1 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：经过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MPM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立项的推广费项目，适用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</a:t>
            </a:r>
            <a:endParaRPr kumimoji="0" lang="en-US" altLang="zh-CN" sz="10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chemeClr val="accent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>
              <a:defRPr/>
            </a:pPr>
            <a:r>
              <a:rPr kumimoji="0" lang="en-US" altLang="zh-CN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管控的推广费（做重） ：大宗商品采购、服务类采购；</a:t>
            </a: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82B8215-C061-DBF3-8BBF-7674787DADA2}"/>
              </a:ext>
            </a:extLst>
          </p:cNvPr>
          <p:cNvSpPr txBox="1"/>
          <p:nvPr/>
        </p:nvSpPr>
        <p:spPr>
          <a:xfrm>
            <a:off x="3357331" y="4974716"/>
            <a:ext cx="2056289" cy="12234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场景</a:t>
            </a:r>
            <a:r>
              <a:rPr kumimoji="0" lang="en-US" altLang="zh-CN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2</a:t>
            </a: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：经过</a:t>
            </a:r>
            <a:r>
              <a:rPr kumimoji="0" lang="en-US" altLang="zh-CN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MPM</a:t>
            </a: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立项的推广费项目，不适用</a:t>
            </a:r>
            <a:r>
              <a:rPr kumimoji="0" lang="en-US" altLang="zh-CN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</a:t>
            </a:r>
            <a:endParaRPr kumimoji="0" lang="en-US" altLang="zh-CN" sz="105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chemeClr val="accent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zh-CN" altLang="en-US" sz="105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保持现有报销流程的推广费（做轻） ：小额、零星采购；</a:t>
            </a:r>
            <a:endParaRPr kumimoji="0" lang="en-US" altLang="zh-CN" sz="105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>
              <a:defRPr/>
            </a:pPr>
            <a:r>
              <a:rPr lang="zh-CN" altLang="en-US" sz="1050" kern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各产业对小额零星管理，可走报销的标准定义不一致，有待进一步拉通</a:t>
            </a:r>
            <a:endParaRPr kumimoji="0" lang="en-US" altLang="zh-CN" sz="105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sp>
        <p:nvSpPr>
          <p:cNvPr id="78" name="TextBox 53">
            <a:extLst>
              <a:ext uri="{FF2B5EF4-FFF2-40B4-BE49-F238E27FC236}">
                <a16:creationId xmlns:a16="http://schemas.microsoft.com/office/drawing/2014/main" id="{98B422C9-02C3-8D22-1AD2-26CEB0050A23}"/>
              </a:ext>
            </a:extLst>
          </p:cNvPr>
          <p:cNvSpPr txBox="1"/>
          <p:nvPr/>
        </p:nvSpPr>
        <p:spPr>
          <a:xfrm>
            <a:off x="6304379" y="4966036"/>
            <a:ext cx="2342403" cy="1053368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>
              <a:defRPr/>
            </a:pP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>
              <a:defRPr/>
            </a:pP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场景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3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：经过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MPM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立项的大包管理推广费项目，不适用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</a:t>
            </a:r>
            <a:endParaRPr kumimoji="0" lang="en-US" altLang="zh-CN" sz="10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chemeClr val="accent6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>
              <a:defRPr/>
            </a:pP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线上店铺类推广费，如发放京东平台优惠券，无合同，采取预充值后报销的方式，对账、结算均在对方系统；</a:t>
            </a: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en-US" altLang="zh-CN" sz="10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sp>
        <p:nvSpPr>
          <p:cNvPr id="83" name="文本框 29">
            <a:extLst>
              <a:ext uri="{FF2B5EF4-FFF2-40B4-BE49-F238E27FC236}">
                <a16:creationId xmlns:a16="http://schemas.microsoft.com/office/drawing/2014/main" id="{6C432EF8-FE3D-4635-1575-5E3D6A2F0AC3}"/>
              </a:ext>
            </a:extLst>
          </p:cNvPr>
          <p:cNvSpPr txBox="1"/>
          <p:nvPr/>
        </p:nvSpPr>
        <p:spPr>
          <a:xfrm>
            <a:off x="7209979" y="1349292"/>
            <a:ext cx="736481" cy="3937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付款计划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84" name="文本框 29">
            <a:extLst>
              <a:ext uri="{FF2B5EF4-FFF2-40B4-BE49-F238E27FC236}">
                <a16:creationId xmlns:a16="http://schemas.microsoft.com/office/drawing/2014/main" id="{6820DFA9-7561-F871-2BC7-EB7E2AF3A073}"/>
              </a:ext>
            </a:extLst>
          </p:cNvPr>
          <p:cNvSpPr txBox="1"/>
          <p:nvPr/>
        </p:nvSpPr>
        <p:spPr>
          <a:xfrm>
            <a:off x="4220986" y="1309917"/>
            <a:ext cx="736481" cy="39370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立项信息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85" name="文本框 29">
            <a:extLst>
              <a:ext uri="{FF2B5EF4-FFF2-40B4-BE49-F238E27FC236}">
                <a16:creationId xmlns:a16="http://schemas.microsoft.com/office/drawing/2014/main" id="{9B124A04-352F-CC9C-0BF8-08C875AE40F6}"/>
              </a:ext>
            </a:extLst>
          </p:cNvPr>
          <p:cNvSpPr txBox="1"/>
          <p:nvPr/>
        </p:nvSpPr>
        <p:spPr>
          <a:xfrm>
            <a:off x="4589226" y="2958175"/>
            <a:ext cx="736481" cy="3937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立项信息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86" name="文本框 29">
            <a:extLst>
              <a:ext uri="{FF2B5EF4-FFF2-40B4-BE49-F238E27FC236}">
                <a16:creationId xmlns:a16="http://schemas.microsoft.com/office/drawing/2014/main" id="{AD58D262-667C-1828-FDAE-D931274EC454}"/>
              </a:ext>
            </a:extLst>
          </p:cNvPr>
          <p:cNvSpPr txBox="1"/>
          <p:nvPr/>
        </p:nvSpPr>
        <p:spPr>
          <a:xfrm>
            <a:off x="4612548" y="4100366"/>
            <a:ext cx="736481" cy="39370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立项信息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grpSp>
        <p:nvGrpSpPr>
          <p:cNvPr id="87" name="组合 79">
            <a:extLst>
              <a:ext uri="{FF2B5EF4-FFF2-40B4-BE49-F238E27FC236}">
                <a16:creationId xmlns:a16="http://schemas.microsoft.com/office/drawing/2014/main" id="{C8B246A5-F320-D654-EE83-0DFA37243217}"/>
              </a:ext>
            </a:extLst>
          </p:cNvPr>
          <p:cNvGrpSpPr/>
          <p:nvPr/>
        </p:nvGrpSpPr>
        <p:grpSpPr>
          <a:xfrm>
            <a:off x="311500" y="817182"/>
            <a:ext cx="8701872" cy="315458"/>
            <a:chOff x="197325" y="1071756"/>
            <a:chExt cx="8151545" cy="307776"/>
          </a:xfrm>
        </p:grpSpPr>
        <p:cxnSp>
          <p:nvCxnSpPr>
            <p:cNvPr id="88" name="Straight Connector 38">
              <a:extLst>
                <a:ext uri="{FF2B5EF4-FFF2-40B4-BE49-F238E27FC236}">
                  <a16:creationId xmlns:a16="http://schemas.microsoft.com/office/drawing/2014/main" id="{2114A5EB-BAFB-22BB-44D4-A0210025BF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7325" y="1218242"/>
              <a:ext cx="8151545" cy="27766"/>
            </a:xfrm>
            <a:prstGeom prst="line">
              <a:avLst/>
            </a:prstGeom>
            <a:noFill/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diamond"/>
              <a:tailEnd type="diamond"/>
            </a:ln>
            <a:effectLst/>
          </p:spPr>
        </p:cxnSp>
        <p:sp>
          <p:nvSpPr>
            <p:cNvPr id="89" name="Rectangle 24">
              <a:extLst>
                <a:ext uri="{FF2B5EF4-FFF2-40B4-BE49-F238E27FC236}">
                  <a16:creationId xmlns:a16="http://schemas.microsoft.com/office/drawing/2014/main" id="{915BAA2E-DEE3-34B5-CC34-BF05579EC206}"/>
                </a:ext>
              </a:extLst>
            </p:cNvPr>
            <p:cNvSpPr/>
            <p:nvPr/>
          </p:nvSpPr>
          <p:spPr>
            <a:xfrm>
              <a:off x="3546889" y="1071756"/>
              <a:ext cx="2103120" cy="307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r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400" b="1">
                  <a:latin typeface="Microsoft YaHei"/>
                  <a:ea typeface="Microsoft YaHei"/>
                  <a:cs typeface="Arial" panose="020B0604020202020204" pitchFamily="34" charset="0"/>
                </a:rPr>
                <a:t>推广费长</a:t>
              </a:r>
              <a:r>
                <a:rPr kumimoji="1" lang="zh-CN" altLang="en-US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YaHei"/>
                  <a:ea typeface="Microsoft YaHei"/>
                  <a:cs typeface="Arial" panose="020B0604020202020204" pitchFamily="34" charset="0"/>
                </a:rPr>
                <a:t>期系统方案</a:t>
              </a:r>
              <a:endParaRPr kumimoji="1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Arial" panose="020B0604020202020204" pitchFamily="34" charset="0"/>
              </a:endParaRPr>
            </a:p>
          </p:txBody>
        </p:sp>
        <p:grpSp>
          <p:nvGrpSpPr>
            <p:cNvPr id="90" name="Group 55">
              <a:extLst>
                <a:ext uri="{FF2B5EF4-FFF2-40B4-BE49-F238E27FC236}">
                  <a16:creationId xmlns:a16="http://schemas.microsoft.com/office/drawing/2014/main" id="{1B1E145B-E77E-F3BD-A59A-DEE2DD3D73BE}"/>
                </a:ext>
              </a:extLst>
            </p:cNvPr>
            <p:cNvGrpSpPr/>
            <p:nvPr/>
          </p:nvGrpSpPr>
          <p:grpSpPr>
            <a:xfrm>
              <a:off x="3432303" y="1071757"/>
              <a:ext cx="431104" cy="307775"/>
              <a:chOff x="3126173" y="1114361"/>
              <a:chExt cx="431104" cy="307775"/>
            </a:xfrm>
          </p:grpSpPr>
          <p:sp>
            <p:nvSpPr>
              <p:cNvPr id="91" name="Rectangle 49">
                <a:extLst>
                  <a:ext uri="{FF2B5EF4-FFF2-40B4-BE49-F238E27FC236}">
                    <a16:creationId xmlns:a16="http://schemas.microsoft.com/office/drawing/2014/main" id="{366027C5-2FB7-6FEA-EE07-CD7078E202BD}"/>
                  </a:ext>
                </a:extLst>
              </p:cNvPr>
              <p:cNvSpPr/>
              <p:nvPr/>
            </p:nvSpPr>
            <p:spPr>
              <a:xfrm>
                <a:off x="3126173" y="1114361"/>
                <a:ext cx="431104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92" name="Graphic 44">
                <a:extLst>
                  <a:ext uri="{FF2B5EF4-FFF2-40B4-BE49-F238E27FC236}">
                    <a16:creationId xmlns:a16="http://schemas.microsoft.com/office/drawing/2014/main" id="{38415AE4-454A-B906-3573-EFBCCCB034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204565" y="1122751"/>
                <a:ext cx="274320" cy="252882"/>
              </a:xfrm>
              <a:prstGeom prst="rect">
                <a:avLst/>
              </a:prstGeom>
            </p:spPr>
          </p:pic>
        </p:grpSp>
      </p:grpSp>
      <p:sp>
        <p:nvSpPr>
          <p:cNvPr id="96" name="TextBox 95">
            <a:extLst>
              <a:ext uri="{FF2B5EF4-FFF2-40B4-BE49-F238E27FC236}">
                <a16:creationId xmlns:a16="http://schemas.microsoft.com/office/drawing/2014/main" id="{1979AC65-8764-76A6-1A47-CE18C0FC5223}"/>
              </a:ext>
            </a:extLst>
          </p:cNvPr>
          <p:cNvSpPr txBox="1"/>
          <p:nvPr/>
        </p:nvSpPr>
        <p:spPr>
          <a:xfrm>
            <a:off x="8350160" y="1151060"/>
            <a:ext cx="8649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zh-CN" altLang="en-US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场景</a:t>
            </a:r>
            <a:r>
              <a:rPr kumimoji="0" lang="en-US" altLang="zh-CN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1</a:t>
            </a:r>
            <a:endParaRPr lang="en-US" sz="1100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9268D9CE-D104-6375-4A8E-E962F285951A}"/>
              </a:ext>
            </a:extLst>
          </p:cNvPr>
          <p:cNvSpPr txBox="1"/>
          <p:nvPr/>
        </p:nvSpPr>
        <p:spPr>
          <a:xfrm>
            <a:off x="8330701" y="2278980"/>
            <a:ext cx="8649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zh-CN" altLang="en-US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场景</a:t>
            </a:r>
            <a:r>
              <a:rPr lang="en-US" altLang="zh-CN" sz="1100" b="1" u="sng" kern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2</a:t>
            </a:r>
            <a:endParaRPr lang="en-US" sz="1100">
              <a:solidFill>
                <a:schemeClr val="accent1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583062DA-E3AF-BBAB-A26E-E19C1606CCA2}"/>
              </a:ext>
            </a:extLst>
          </p:cNvPr>
          <p:cNvSpPr txBox="1"/>
          <p:nvPr/>
        </p:nvSpPr>
        <p:spPr>
          <a:xfrm>
            <a:off x="8310979" y="3517015"/>
            <a:ext cx="8649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zh-CN" altLang="en-US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场景</a:t>
            </a:r>
            <a:r>
              <a:rPr kumimoji="0" lang="en-US" altLang="zh-CN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3</a:t>
            </a:r>
            <a:endParaRPr lang="en-US" sz="1100">
              <a:solidFill>
                <a:schemeClr val="accent6"/>
              </a:solidFill>
            </a:endParaRPr>
          </a:p>
        </p:txBody>
      </p:sp>
      <p:sp>
        <p:nvSpPr>
          <p:cNvPr id="100" name="矩形 189">
            <a:extLst>
              <a:ext uri="{FF2B5EF4-FFF2-40B4-BE49-F238E27FC236}">
                <a16:creationId xmlns:a16="http://schemas.microsoft.com/office/drawing/2014/main" id="{4052DAB5-33DA-128E-823E-DF5E6A18DED1}"/>
              </a:ext>
            </a:extLst>
          </p:cNvPr>
          <p:cNvSpPr/>
          <p:nvPr/>
        </p:nvSpPr>
        <p:spPr>
          <a:xfrm>
            <a:off x="311500" y="1147521"/>
            <a:ext cx="8701872" cy="5137757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81323"/>
              </a:buClr>
              <a:buSzPct val="130000"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ea"/>
              <a:sym typeface="+mn-lt"/>
            </a:endParaRPr>
          </a:p>
        </p:txBody>
      </p:sp>
      <p:cxnSp>
        <p:nvCxnSpPr>
          <p:cNvPr id="101" name="Straight Connector 4">
            <a:extLst>
              <a:ext uri="{FF2B5EF4-FFF2-40B4-BE49-F238E27FC236}">
                <a16:creationId xmlns:a16="http://schemas.microsoft.com/office/drawing/2014/main" id="{CFA29472-F754-9FEB-A256-62271AE25C27}"/>
              </a:ext>
            </a:extLst>
          </p:cNvPr>
          <p:cNvCxnSpPr>
            <a:cxnSpLocks/>
          </p:cNvCxnSpPr>
          <p:nvPr/>
        </p:nvCxnSpPr>
        <p:spPr>
          <a:xfrm>
            <a:off x="339541" y="4628602"/>
            <a:ext cx="8673831" cy="0"/>
          </a:xfrm>
          <a:prstGeom prst="line">
            <a:avLst/>
          </a:prstGeom>
          <a:ln w="28575">
            <a:solidFill>
              <a:srgbClr val="005F9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21CABF43-C19F-1130-E69E-9BAD0168606D}"/>
              </a:ext>
            </a:extLst>
          </p:cNvPr>
          <p:cNvCxnSpPr>
            <a:cxnSpLocks/>
            <a:stCxn id="25" idx="0"/>
            <a:endCxn id="10" idx="0"/>
          </p:cNvCxnSpPr>
          <p:nvPr/>
        </p:nvCxnSpPr>
        <p:spPr>
          <a:xfrm rot="16200000" flipH="1" flipV="1">
            <a:off x="3652405" y="236416"/>
            <a:ext cx="693440" cy="3016233"/>
          </a:xfrm>
          <a:prstGeom prst="bentConnector3">
            <a:avLst>
              <a:gd name="adj1" fmla="val -21373"/>
            </a:avLst>
          </a:prstGeom>
          <a:ln>
            <a:prstDash val="dash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FA4D04ED-E84E-95C0-FD57-C9A8A9E3BB0F}"/>
              </a:ext>
            </a:extLst>
          </p:cNvPr>
          <p:cNvCxnSpPr>
            <a:cxnSpLocks/>
          </p:cNvCxnSpPr>
          <p:nvPr/>
        </p:nvCxnSpPr>
        <p:spPr>
          <a:xfrm flipH="1">
            <a:off x="2955892" y="2862902"/>
            <a:ext cx="2485572" cy="16107"/>
          </a:xfrm>
          <a:prstGeom prst="straightConnector1">
            <a:avLst/>
          </a:prstGeom>
          <a:ln w="12700">
            <a:solidFill>
              <a:schemeClr val="accent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10F38E3D-6DB4-3FFD-8DA8-E91B37092D25}"/>
              </a:ext>
            </a:extLst>
          </p:cNvPr>
          <p:cNvCxnSpPr>
            <a:cxnSpLocks/>
            <a:endCxn id="10" idx="2"/>
          </p:cNvCxnSpPr>
          <p:nvPr/>
        </p:nvCxnSpPr>
        <p:spPr>
          <a:xfrm rot="5400000" flipH="1">
            <a:off x="4107682" y="2292135"/>
            <a:ext cx="450728" cy="3684075"/>
          </a:xfrm>
          <a:prstGeom prst="bentConnector3">
            <a:avLst>
              <a:gd name="adj1" fmla="val -35113"/>
            </a:avLst>
          </a:prstGeom>
          <a:ln>
            <a:prstDash val="dash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47A040FA-A30C-49D9-0E6F-B200A488E7B0}"/>
              </a:ext>
            </a:extLst>
          </p:cNvPr>
          <p:cNvCxnSpPr/>
          <p:nvPr/>
        </p:nvCxnSpPr>
        <p:spPr>
          <a:xfrm flipH="1" flipV="1">
            <a:off x="2964690" y="2559426"/>
            <a:ext cx="554171" cy="6619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4702100-4C74-D840-42A2-F0B1D0586C2E}"/>
              </a:ext>
            </a:extLst>
          </p:cNvPr>
          <p:cNvCxnSpPr>
            <a:cxnSpLocks/>
          </p:cNvCxnSpPr>
          <p:nvPr/>
        </p:nvCxnSpPr>
        <p:spPr>
          <a:xfrm flipH="1">
            <a:off x="2935728" y="3702337"/>
            <a:ext cx="604816" cy="14923"/>
          </a:xfrm>
          <a:prstGeom prst="straightConnector1">
            <a:avLst/>
          </a:prstGeom>
          <a:ln w="12700">
            <a:solidFill>
              <a:schemeClr val="accent6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84">
            <a:extLst>
              <a:ext uri="{FF2B5EF4-FFF2-40B4-BE49-F238E27FC236}">
                <a16:creationId xmlns:a16="http://schemas.microsoft.com/office/drawing/2014/main" id="{92B31CFE-CA06-7631-34EA-0DEBD04031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8081" y="3305251"/>
            <a:ext cx="682053" cy="177208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看板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2" name="Rectangle 84">
            <a:extLst>
              <a:ext uri="{FF2B5EF4-FFF2-40B4-BE49-F238E27FC236}">
                <a16:creationId xmlns:a16="http://schemas.microsoft.com/office/drawing/2014/main" id="{9EB9EAD0-5001-5E58-89EC-B66B9D28AF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61573" y="3589472"/>
            <a:ext cx="682053" cy="177208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监控分析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9446833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351361-B5FC-3B4C-93C7-23720EA4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10282312" cy="706293"/>
          </a:xfrm>
        </p:spPr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长期系统方案</a:t>
            </a:r>
            <a:endParaRPr lang="en-US"/>
          </a:p>
        </p:txBody>
      </p:sp>
      <p:cxnSp>
        <p:nvCxnSpPr>
          <p:cNvPr id="81" name="Straight Connector 38">
            <a:extLst>
              <a:ext uri="{FF2B5EF4-FFF2-40B4-BE49-F238E27FC236}">
                <a16:creationId xmlns:a16="http://schemas.microsoft.com/office/drawing/2014/main" id="{A2F57F02-A4EE-079F-E620-EC487EA988C6}"/>
              </a:ext>
            </a:extLst>
          </p:cNvPr>
          <p:cNvCxnSpPr>
            <a:cxnSpLocks/>
          </p:cNvCxnSpPr>
          <p:nvPr/>
        </p:nvCxnSpPr>
        <p:spPr>
          <a:xfrm flipV="1">
            <a:off x="62948" y="903070"/>
            <a:ext cx="11814204" cy="6013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diamond"/>
            <a:tailEnd type="diamond"/>
          </a:ln>
          <a:effectLst/>
        </p:spPr>
      </p:cxnSp>
      <p:sp>
        <p:nvSpPr>
          <p:cNvPr id="82" name="Rectangle 24">
            <a:extLst>
              <a:ext uri="{FF2B5EF4-FFF2-40B4-BE49-F238E27FC236}">
                <a16:creationId xmlns:a16="http://schemas.microsoft.com/office/drawing/2014/main" id="{161D99B6-FF3E-1D66-D890-AD0BA723250A}"/>
              </a:ext>
            </a:extLst>
          </p:cNvPr>
          <p:cNvSpPr/>
          <p:nvPr/>
        </p:nvSpPr>
        <p:spPr>
          <a:xfrm>
            <a:off x="4691908" y="734331"/>
            <a:ext cx="312337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91440" r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Arial" panose="020B0604020202020204" pitchFamily="34" charset="0"/>
              </a:rPr>
              <a:t>推广费长期系统流程方案</a:t>
            </a:r>
            <a:endParaRPr kumimoji="1" lang="en-US" altLang="zh-CN" sz="14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icrosoft YaHei"/>
              <a:ea typeface="Microsoft YaHei"/>
              <a:cs typeface="Arial" panose="020B0604020202020204" pitchFamily="34" charset="0"/>
            </a:endParaRPr>
          </a:p>
        </p:txBody>
      </p:sp>
      <p:grpSp>
        <p:nvGrpSpPr>
          <p:cNvPr id="83" name="Group 55">
            <a:extLst>
              <a:ext uri="{FF2B5EF4-FFF2-40B4-BE49-F238E27FC236}">
                <a16:creationId xmlns:a16="http://schemas.microsoft.com/office/drawing/2014/main" id="{748F363F-598A-5DBE-07A4-E7706396C922}"/>
              </a:ext>
            </a:extLst>
          </p:cNvPr>
          <p:cNvGrpSpPr/>
          <p:nvPr/>
        </p:nvGrpSpPr>
        <p:grpSpPr>
          <a:xfrm>
            <a:off x="4534198" y="813981"/>
            <a:ext cx="640239" cy="250003"/>
            <a:chOff x="3126173" y="1114361"/>
            <a:chExt cx="431104" cy="307775"/>
          </a:xfrm>
        </p:grpSpPr>
        <p:sp>
          <p:nvSpPr>
            <p:cNvPr id="85" name="Rectangle 49">
              <a:extLst>
                <a:ext uri="{FF2B5EF4-FFF2-40B4-BE49-F238E27FC236}">
                  <a16:creationId xmlns:a16="http://schemas.microsoft.com/office/drawing/2014/main" id="{41959D13-B337-0497-F283-252FB5609711}"/>
                </a:ext>
              </a:extLst>
            </p:cNvPr>
            <p:cNvSpPr/>
            <p:nvPr/>
          </p:nvSpPr>
          <p:spPr>
            <a:xfrm>
              <a:off x="3126173" y="1114361"/>
              <a:ext cx="431104" cy="3077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4950" indent="-234950" algn="l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endParaRPr lang="en-US" sz="140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pic>
          <p:nvPicPr>
            <p:cNvPr id="86" name="Graphic 44">
              <a:extLst>
                <a:ext uri="{FF2B5EF4-FFF2-40B4-BE49-F238E27FC236}">
                  <a16:creationId xmlns:a16="http://schemas.microsoft.com/office/drawing/2014/main" id="{7DBEA2AB-F8B5-08BD-1641-5CCA8D47DC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04565" y="1122751"/>
              <a:ext cx="274320" cy="252882"/>
            </a:xfrm>
            <a:prstGeom prst="rect">
              <a:avLst/>
            </a:prstGeom>
          </p:spPr>
        </p:pic>
      </p:grpSp>
      <p:sp>
        <p:nvSpPr>
          <p:cNvPr id="68" name="Rectangle 5">
            <a:extLst>
              <a:ext uri="{FF2B5EF4-FFF2-40B4-BE49-F238E27FC236}">
                <a16:creationId xmlns:a16="http://schemas.microsoft.com/office/drawing/2014/main" id="{F4278DE9-3955-53EB-9783-BF9CF760E40D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6" name="TextBox 53">
            <a:extLst>
              <a:ext uri="{FF2B5EF4-FFF2-40B4-BE49-F238E27FC236}">
                <a16:creationId xmlns:a16="http://schemas.microsoft.com/office/drawing/2014/main" id="{934D64DD-EC0F-2EE3-8EAD-D36C9DFCC3E5}"/>
              </a:ext>
            </a:extLst>
          </p:cNvPr>
          <p:cNvSpPr txBox="1"/>
          <p:nvPr/>
        </p:nvSpPr>
        <p:spPr>
          <a:xfrm>
            <a:off x="1956475" y="1284085"/>
            <a:ext cx="3680688" cy="825606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不适用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，仍需沿用现有报销流程的场景：</a:t>
            </a:r>
            <a:endParaRPr kumimoji="0" lang="en-US" altLang="zh-CN" sz="10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①根据集团招投标制度要求，金额未达到一定标准（如：</a:t>
            </a:r>
            <a:r>
              <a:rPr kumimoji="0" lang="en-US" altLang="zh-CN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2</a:t>
            </a: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万），无需进行招投标且由个人垫付后报销的费用；</a:t>
            </a: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②线上店铺类推广费，如发放京东平台优惠券，无合同，采取预充值后报销的方式，对账、结算均在对方系统；</a:t>
            </a: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sp>
        <p:nvSpPr>
          <p:cNvPr id="51" name="Rectangle 18">
            <a:extLst>
              <a:ext uri="{FF2B5EF4-FFF2-40B4-BE49-F238E27FC236}">
                <a16:creationId xmlns:a16="http://schemas.microsoft.com/office/drawing/2014/main" id="{8DBB75D3-2D90-63E9-E13D-4397879785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5857" y="4238888"/>
            <a:ext cx="1159099" cy="2097030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43" name="Rectangle 84">
            <a:extLst>
              <a:ext uri="{FF2B5EF4-FFF2-40B4-BE49-F238E27FC236}">
                <a16:creationId xmlns:a16="http://schemas.microsoft.com/office/drawing/2014/main" id="{30AD533E-FA70-40D2-81CC-EB53DD8F6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6531" y="5293725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提出付款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4" name="Rectangle 85">
            <a:extLst>
              <a:ext uri="{FF2B5EF4-FFF2-40B4-BE49-F238E27FC236}">
                <a16:creationId xmlns:a16="http://schemas.microsoft.com/office/drawing/2014/main" id="{C855D536-4B3D-9F56-1D17-BC449D3AD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2769" y="4736674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通知银行付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5" name="Rectangle 85">
            <a:extLst>
              <a:ext uri="{FF2B5EF4-FFF2-40B4-BE49-F238E27FC236}">
                <a16:creationId xmlns:a16="http://schemas.microsoft.com/office/drawing/2014/main" id="{B3BB6D75-6FD4-1602-1D5E-39E6BA4FB6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6531" y="5797182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付款确认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9" name="Rectangle 18">
            <a:extLst>
              <a:ext uri="{FF2B5EF4-FFF2-40B4-BE49-F238E27FC236}">
                <a16:creationId xmlns:a16="http://schemas.microsoft.com/office/drawing/2014/main" id="{BBEA09AB-9FFD-8471-EBB9-D8A7F04B4F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0264" y="2640104"/>
            <a:ext cx="1313997" cy="1068371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57" name="Rectangle 84">
            <a:extLst>
              <a:ext uri="{FF2B5EF4-FFF2-40B4-BE49-F238E27FC236}">
                <a16:creationId xmlns:a16="http://schemas.microsoft.com/office/drawing/2014/main" id="{89EF44AC-7B48-90A8-9A5A-1025FC58B2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48858" y="2948513"/>
            <a:ext cx="1071549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8" name="Rectangle 84">
            <a:extLst>
              <a:ext uri="{FF2B5EF4-FFF2-40B4-BE49-F238E27FC236}">
                <a16:creationId xmlns:a16="http://schemas.microsoft.com/office/drawing/2014/main" id="{DBEE11FC-52B3-5876-54AA-6D03FE44DB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48858" y="3340090"/>
            <a:ext cx="1071549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报销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3094475-3710-5415-88B4-4EA9F56109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82507" y="2613585"/>
            <a:ext cx="1273993" cy="1309672"/>
          </a:xfrm>
          <a:prstGeom prst="rect">
            <a:avLst/>
          </a:prstGeom>
          <a:solidFill>
            <a:srgbClr val="C0E9FF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AP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61" name="文本框 126">
            <a:extLst>
              <a:ext uri="{FF2B5EF4-FFF2-40B4-BE49-F238E27FC236}">
                <a16:creationId xmlns:a16="http://schemas.microsoft.com/office/drawing/2014/main" id="{FDA9E700-EA22-BC6D-FA0E-43504A451A8F}"/>
              </a:ext>
            </a:extLst>
          </p:cNvPr>
          <p:cNvSpPr txBox="1"/>
          <p:nvPr/>
        </p:nvSpPr>
        <p:spPr>
          <a:xfrm>
            <a:off x="4322164" y="3015357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预提凭证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62" name="文本框 126">
            <a:extLst>
              <a:ext uri="{FF2B5EF4-FFF2-40B4-BE49-F238E27FC236}">
                <a16:creationId xmlns:a16="http://schemas.microsoft.com/office/drawing/2014/main" id="{8591DBC2-8410-C830-1D3E-593BA70AA6D3}"/>
              </a:ext>
            </a:extLst>
          </p:cNvPr>
          <p:cNvSpPr txBox="1"/>
          <p:nvPr/>
        </p:nvSpPr>
        <p:spPr>
          <a:xfrm>
            <a:off x="4322164" y="3457131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应付账款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63" name="直接箭头连接符 205">
            <a:extLst>
              <a:ext uri="{FF2B5EF4-FFF2-40B4-BE49-F238E27FC236}">
                <a16:creationId xmlns:a16="http://schemas.microsoft.com/office/drawing/2014/main" id="{F2256C99-49C3-2178-9368-9AF4A12D320C}"/>
              </a:ext>
            </a:extLst>
          </p:cNvPr>
          <p:cNvCxnSpPr>
            <a:cxnSpLocks/>
          </p:cNvCxnSpPr>
          <p:nvPr/>
        </p:nvCxnSpPr>
        <p:spPr>
          <a:xfrm>
            <a:off x="3446585" y="3204890"/>
            <a:ext cx="432532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文本框 29">
            <a:extLst>
              <a:ext uri="{FF2B5EF4-FFF2-40B4-BE49-F238E27FC236}">
                <a16:creationId xmlns:a16="http://schemas.microsoft.com/office/drawing/2014/main" id="{83112C6D-68DB-C11C-8025-CF77FE302B35}"/>
              </a:ext>
            </a:extLst>
          </p:cNvPr>
          <p:cNvSpPr txBox="1"/>
          <p:nvPr/>
        </p:nvSpPr>
        <p:spPr>
          <a:xfrm>
            <a:off x="3403918" y="3576785"/>
            <a:ext cx="570785" cy="33669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凭证报文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cxnSp>
        <p:nvCxnSpPr>
          <p:cNvPr id="93" name="直接箭头连接符 205">
            <a:extLst>
              <a:ext uri="{FF2B5EF4-FFF2-40B4-BE49-F238E27FC236}">
                <a16:creationId xmlns:a16="http://schemas.microsoft.com/office/drawing/2014/main" id="{0031F788-28C3-E00D-80C9-4BC1EF24B43D}"/>
              </a:ext>
            </a:extLst>
          </p:cNvPr>
          <p:cNvCxnSpPr>
            <a:cxnSpLocks/>
          </p:cNvCxnSpPr>
          <p:nvPr/>
        </p:nvCxnSpPr>
        <p:spPr>
          <a:xfrm flipH="1">
            <a:off x="3424684" y="3429000"/>
            <a:ext cx="454433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文本框 29">
            <a:extLst>
              <a:ext uri="{FF2B5EF4-FFF2-40B4-BE49-F238E27FC236}">
                <a16:creationId xmlns:a16="http://schemas.microsoft.com/office/drawing/2014/main" id="{8AF0F561-3D19-A028-5928-0CBB3BE41668}"/>
              </a:ext>
            </a:extLst>
          </p:cNvPr>
          <p:cNvSpPr txBox="1"/>
          <p:nvPr/>
        </p:nvSpPr>
        <p:spPr>
          <a:xfrm>
            <a:off x="3362855" y="2661249"/>
            <a:ext cx="547089" cy="44345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付款计划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pic>
        <p:nvPicPr>
          <p:cNvPr id="7" name="Picture 6" descr="Graphical user interface&#10;&#10;Description automatically generated">
            <a:extLst>
              <a:ext uri="{FF2B5EF4-FFF2-40B4-BE49-F238E27FC236}">
                <a16:creationId xmlns:a16="http://schemas.microsoft.com/office/drawing/2014/main" id="{C1AFD0BB-372C-6D3D-A511-6F09392DA4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32" y="391526"/>
            <a:ext cx="10282312" cy="5551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39136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3E0AD-2D05-1046-34F4-1E6D365C37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长期系统方案：及时自动核算多维度推广费核算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7DF0E8-317A-1C98-DAEE-55D0B37902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37</a:t>
            </a:fld>
            <a:endParaRPr kumimoji="1" lang="zh-CN" altLang="en-US"/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ADB6354F-E34F-5360-206E-195A83C38E98}"/>
              </a:ext>
            </a:extLst>
          </p:cNvPr>
          <p:cNvGrpSpPr/>
          <p:nvPr/>
        </p:nvGrpSpPr>
        <p:grpSpPr>
          <a:xfrm>
            <a:off x="933243" y="620040"/>
            <a:ext cx="1170689" cy="817277"/>
            <a:chOff x="923248" y="675562"/>
            <a:chExt cx="1106586" cy="1074570"/>
          </a:xfrm>
        </p:grpSpPr>
        <p:sp>
          <p:nvSpPr>
            <p:cNvPr id="5" name="Rectangle 18">
              <a:extLst>
                <a:ext uri="{FF2B5EF4-FFF2-40B4-BE49-F238E27FC236}">
                  <a16:creationId xmlns:a16="http://schemas.microsoft.com/office/drawing/2014/main" id="{74299109-8086-CB06-B139-3EC43A077B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248" y="675562"/>
              <a:ext cx="1106586" cy="1074570"/>
            </a:xfrm>
            <a:prstGeom prst="rect">
              <a:avLst/>
            </a:prstGeom>
            <a:solidFill>
              <a:srgbClr val="E8EDF8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PBF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6" name="Rectangle 84">
              <a:extLst>
                <a:ext uri="{FF2B5EF4-FFF2-40B4-BE49-F238E27FC236}">
                  <a16:creationId xmlns:a16="http://schemas.microsoft.com/office/drawing/2014/main" id="{B7D11026-FB33-1F3B-C5C8-8E85CEA3CF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4736" y="947604"/>
              <a:ext cx="900000" cy="252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预算编制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7" name="Rectangle 84">
              <a:extLst>
                <a:ext uri="{FF2B5EF4-FFF2-40B4-BE49-F238E27FC236}">
                  <a16:creationId xmlns:a16="http://schemas.microsoft.com/office/drawing/2014/main" id="{896C714A-2EAF-7F96-CFCF-6A16C7EFC8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6768" y="1324676"/>
              <a:ext cx="900000" cy="252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预算下达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B381DBD-6E1C-3382-6DE2-582732151818}"/>
              </a:ext>
            </a:extLst>
          </p:cNvPr>
          <p:cNvCxnSpPr>
            <a:cxnSpLocks/>
          </p:cNvCxnSpPr>
          <p:nvPr/>
        </p:nvCxnSpPr>
        <p:spPr>
          <a:xfrm>
            <a:off x="335250" y="989887"/>
            <a:ext cx="0" cy="3077288"/>
          </a:xfrm>
          <a:prstGeom prst="line">
            <a:avLst/>
          </a:prstGeom>
          <a:ln>
            <a:solidFill>
              <a:srgbClr val="005F9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">
            <a:extLst>
              <a:ext uri="{FF2B5EF4-FFF2-40B4-BE49-F238E27FC236}">
                <a16:creationId xmlns:a16="http://schemas.microsoft.com/office/drawing/2014/main" id="{DEA26D50-338F-983D-63E3-A070CDB2F6F6}"/>
              </a:ext>
            </a:extLst>
          </p:cNvPr>
          <p:cNvSpPr txBox="1"/>
          <p:nvPr/>
        </p:nvSpPr>
        <p:spPr>
          <a:xfrm>
            <a:off x="221822" y="1891001"/>
            <a:ext cx="215444" cy="1802842"/>
          </a:xfrm>
          <a:prstGeom prst="rect">
            <a:avLst/>
          </a:prstGeom>
          <a:solidFill>
            <a:schemeClr val="bg1"/>
          </a:solidFill>
        </p:spPr>
        <p:txBody>
          <a:bodyPr vert="eaVert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TP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流程管理项目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12" name="Straight Connector 4">
            <a:extLst>
              <a:ext uri="{FF2B5EF4-FFF2-40B4-BE49-F238E27FC236}">
                <a16:creationId xmlns:a16="http://schemas.microsoft.com/office/drawing/2014/main" id="{28D651AD-FDBD-037A-5235-5E5FAAB3034E}"/>
              </a:ext>
            </a:extLst>
          </p:cNvPr>
          <p:cNvCxnSpPr>
            <a:cxnSpLocks/>
          </p:cNvCxnSpPr>
          <p:nvPr/>
        </p:nvCxnSpPr>
        <p:spPr>
          <a:xfrm>
            <a:off x="599318" y="3480749"/>
            <a:ext cx="7944607" cy="28601"/>
          </a:xfrm>
          <a:prstGeom prst="line">
            <a:avLst/>
          </a:prstGeom>
          <a:ln w="28575">
            <a:solidFill>
              <a:srgbClr val="005F9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8E53E9-B1D7-3453-FA9F-CED1908A15B1}"/>
              </a:ext>
            </a:extLst>
          </p:cNvPr>
          <p:cNvCxnSpPr>
            <a:cxnSpLocks/>
          </p:cNvCxnSpPr>
          <p:nvPr/>
        </p:nvCxnSpPr>
        <p:spPr>
          <a:xfrm>
            <a:off x="335250" y="4189676"/>
            <a:ext cx="0" cy="2334949"/>
          </a:xfrm>
          <a:prstGeom prst="line">
            <a:avLst/>
          </a:prstGeom>
          <a:ln>
            <a:solidFill>
              <a:srgbClr val="005F9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">
            <a:extLst>
              <a:ext uri="{FF2B5EF4-FFF2-40B4-BE49-F238E27FC236}">
                <a16:creationId xmlns:a16="http://schemas.microsoft.com/office/drawing/2014/main" id="{C903F40E-99AD-9743-77E1-F374B77552A3}"/>
              </a:ext>
            </a:extLst>
          </p:cNvPr>
          <p:cNvSpPr txBox="1"/>
          <p:nvPr/>
        </p:nvSpPr>
        <p:spPr>
          <a:xfrm>
            <a:off x="221822" y="4455729"/>
            <a:ext cx="215444" cy="1802842"/>
          </a:xfrm>
          <a:prstGeom prst="rect">
            <a:avLst/>
          </a:prstGeom>
          <a:solidFill>
            <a:schemeClr val="bg1"/>
          </a:solidFill>
        </p:spPr>
        <p:txBody>
          <a:bodyPr vert="eaVert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直接报销项目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D8EC5F95-0F50-8AE3-0213-AAC9B51724DD}"/>
              </a:ext>
            </a:extLst>
          </p:cNvPr>
          <p:cNvGrpSpPr/>
          <p:nvPr/>
        </p:nvGrpSpPr>
        <p:grpSpPr>
          <a:xfrm>
            <a:off x="932548" y="1494701"/>
            <a:ext cx="1170690" cy="1887586"/>
            <a:chOff x="923249" y="1922010"/>
            <a:chExt cx="1106586" cy="1898569"/>
          </a:xfrm>
        </p:grpSpPr>
        <p:sp>
          <p:nvSpPr>
            <p:cNvPr id="17" name="Rectangle 18">
              <a:extLst>
                <a:ext uri="{FF2B5EF4-FFF2-40B4-BE49-F238E27FC236}">
                  <a16:creationId xmlns:a16="http://schemas.microsoft.com/office/drawing/2014/main" id="{2D6BC97A-9AD6-3C94-9AE2-772E431007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249" y="1922010"/>
              <a:ext cx="1106586" cy="1898569"/>
            </a:xfrm>
            <a:prstGeom prst="rect">
              <a:avLst/>
            </a:prstGeom>
            <a:solidFill>
              <a:srgbClr val="F2F2F2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MPM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18" name="Rectangle 50">
              <a:extLst>
                <a:ext uri="{FF2B5EF4-FFF2-40B4-BE49-F238E27FC236}">
                  <a16:creationId xmlns:a16="http://schemas.microsoft.com/office/drawing/2014/main" id="{9F6FC5B7-CAE5-FD95-CB9F-CAFE10063F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6541" y="3369934"/>
              <a:ext cx="900000" cy="288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结项复盘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19" name="Rectangle 30">
              <a:extLst>
                <a:ext uri="{FF2B5EF4-FFF2-40B4-BE49-F238E27FC236}">
                  <a16:creationId xmlns:a16="http://schemas.microsoft.com/office/drawing/2014/main" id="{764686C1-EA13-6FF7-EF0F-746FF94B05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4736" y="2199140"/>
              <a:ext cx="900000" cy="288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立项管理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20" name="Rectangle 17">
              <a:extLst>
                <a:ext uri="{FF2B5EF4-FFF2-40B4-BE49-F238E27FC236}">
                  <a16:creationId xmlns:a16="http://schemas.microsoft.com/office/drawing/2014/main" id="{56EE0A0B-E73F-33A1-328A-8145C94CAC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4736" y="2617003"/>
              <a:ext cx="900000" cy="288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预算拆解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1" name="Rectangle 50">
              <a:extLst>
                <a:ext uri="{FF2B5EF4-FFF2-40B4-BE49-F238E27FC236}">
                  <a16:creationId xmlns:a16="http://schemas.microsoft.com/office/drawing/2014/main" id="{3DDDDC3A-F28A-8374-ECAF-99F8A75546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6541" y="3009015"/>
              <a:ext cx="900000" cy="288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费用管理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A5D483F1-8283-7EBA-854A-2D22439068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7646" y="613477"/>
            <a:ext cx="2866250" cy="2768810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R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1E9D018-E598-F54B-FF0B-81FAC00FC4BB}"/>
              </a:ext>
            </a:extLst>
          </p:cNvPr>
          <p:cNvGrpSpPr/>
          <p:nvPr/>
        </p:nvGrpSpPr>
        <p:grpSpPr>
          <a:xfrm>
            <a:off x="4065288" y="822199"/>
            <a:ext cx="1327731" cy="992178"/>
            <a:chOff x="4084339" y="984124"/>
            <a:chExt cx="1259736" cy="1167428"/>
          </a:xfrm>
        </p:grpSpPr>
        <p:sp>
          <p:nvSpPr>
            <p:cNvPr id="31" name="Rectangle 18">
              <a:extLst>
                <a:ext uri="{FF2B5EF4-FFF2-40B4-BE49-F238E27FC236}">
                  <a16:creationId xmlns:a16="http://schemas.microsoft.com/office/drawing/2014/main" id="{3C054AF7-331C-30BA-FE56-22A2B102F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4339" y="984124"/>
              <a:ext cx="1259736" cy="1167428"/>
            </a:xfrm>
            <a:prstGeom prst="rect">
              <a:avLst/>
            </a:prstGeom>
            <a:solidFill>
              <a:srgbClr val="C5D3ED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供应商管理</a:t>
              </a:r>
            </a:p>
          </p:txBody>
        </p:sp>
        <p:sp>
          <p:nvSpPr>
            <p:cNvPr id="32" name="Rectangle 18">
              <a:extLst>
                <a:ext uri="{FF2B5EF4-FFF2-40B4-BE49-F238E27FC236}">
                  <a16:creationId xmlns:a16="http://schemas.microsoft.com/office/drawing/2014/main" id="{F2B804C3-F756-4C54-1657-E8F003C230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9549" y="1227243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供应商准入</a:t>
              </a:r>
            </a:p>
          </p:txBody>
        </p:sp>
        <p:sp>
          <p:nvSpPr>
            <p:cNvPr id="33" name="Rectangle 30">
              <a:extLst>
                <a:ext uri="{FF2B5EF4-FFF2-40B4-BE49-F238E27FC236}">
                  <a16:creationId xmlns:a16="http://schemas.microsoft.com/office/drawing/2014/main" id="{14313F00-A39A-7132-D030-EA5B9E8B71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9549" y="1545278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供应商主数据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7" name="Rectangle 18">
              <a:extLst>
                <a:ext uri="{FF2B5EF4-FFF2-40B4-BE49-F238E27FC236}">
                  <a16:creationId xmlns:a16="http://schemas.microsoft.com/office/drawing/2014/main" id="{E4932F23-7523-53B5-299F-D3FEA1287E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9549" y="1844166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绩效考核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3BC8C4B7-0047-1732-A0D2-5833C3C0E4AB}"/>
              </a:ext>
            </a:extLst>
          </p:cNvPr>
          <p:cNvGrpSpPr/>
          <p:nvPr/>
        </p:nvGrpSpPr>
        <p:grpSpPr>
          <a:xfrm>
            <a:off x="2759073" y="825689"/>
            <a:ext cx="1259736" cy="996594"/>
            <a:chOff x="2778123" y="987614"/>
            <a:chExt cx="1259735" cy="1167428"/>
          </a:xfrm>
        </p:grpSpPr>
        <p:sp>
          <p:nvSpPr>
            <p:cNvPr id="34" name="Rectangle 18">
              <a:extLst>
                <a:ext uri="{FF2B5EF4-FFF2-40B4-BE49-F238E27FC236}">
                  <a16:creationId xmlns:a16="http://schemas.microsoft.com/office/drawing/2014/main" id="{B004F9C6-84AA-3285-3C3B-1632DF05FC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8123" y="987614"/>
              <a:ext cx="1259735" cy="1167428"/>
            </a:xfrm>
            <a:prstGeom prst="rect">
              <a:avLst/>
            </a:prstGeom>
            <a:solidFill>
              <a:srgbClr val="C5D3ED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寻源协同</a:t>
              </a:r>
            </a:p>
          </p:txBody>
        </p:sp>
        <p:sp>
          <p:nvSpPr>
            <p:cNvPr id="35" name="Rectangle 17">
              <a:extLst>
                <a:ext uri="{FF2B5EF4-FFF2-40B4-BE49-F238E27FC236}">
                  <a16:creationId xmlns:a16="http://schemas.microsoft.com/office/drawing/2014/main" id="{B9AA8244-5BBD-FBC1-EA11-DF201735C7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0242" y="1231134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询报价管理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6" name="Rectangle 17">
              <a:extLst>
                <a:ext uri="{FF2B5EF4-FFF2-40B4-BE49-F238E27FC236}">
                  <a16:creationId xmlns:a16="http://schemas.microsoft.com/office/drawing/2014/main" id="{ED88D577-3FD7-9D9D-434F-B55885DD93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0242" y="1535704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竞价管理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8" name="Rectangle 17">
              <a:extLst>
                <a:ext uri="{FF2B5EF4-FFF2-40B4-BE49-F238E27FC236}">
                  <a16:creationId xmlns:a16="http://schemas.microsoft.com/office/drawing/2014/main" id="{50CFAB0F-9B88-F4E5-03FB-65AF902549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0242" y="1848586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招投标管理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43AE6B49-CBFC-81B5-7626-6254FD1C8D04}"/>
              </a:ext>
            </a:extLst>
          </p:cNvPr>
          <p:cNvGrpSpPr/>
          <p:nvPr/>
        </p:nvGrpSpPr>
        <p:grpSpPr>
          <a:xfrm>
            <a:off x="2767299" y="1937882"/>
            <a:ext cx="2572725" cy="409423"/>
            <a:chOff x="2778123" y="2394671"/>
            <a:chExt cx="2572725" cy="409423"/>
          </a:xfrm>
        </p:grpSpPr>
        <p:sp>
          <p:nvSpPr>
            <p:cNvPr id="39" name="Rectangle 18">
              <a:extLst>
                <a:ext uri="{FF2B5EF4-FFF2-40B4-BE49-F238E27FC236}">
                  <a16:creationId xmlns:a16="http://schemas.microsoft.com/office/drawing/2014/main" id="{C78F4FC7-4801-DEE1-8213-26E4769580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8123" y="2394671"/>
              <a:ext cx="2572725" cy="409423"/>
            </a:xfrm>
            <a:prstGeom prst="rect">
              <a:avLst/>
            </a:prstGeom>
            <a:solidFill>
              <a:srgbClr val="C5D3ED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 anchorCtr="0"/>
            <a:lstStyle/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合同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管理</a:t>
              </a:r>
            </a:p>
          </p:txBody>
        </p:sp>
        <p:sp>
          <p:nvSpPr>
            <p:cNvPr id="40" name="Rectangle 17">
              <a:extLst>
                <a:ext uri="{FF2B5EF4-FFF2-40B4-BE49-F238E27FC236}">
                  <a16:creationId xmlns:a16="http://schemas.microsoft.com/office/drawing/2014/main" id="{F61F0C1B-88CE-6A48-04DE-F2B93F5629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6345" y="2492109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年框合同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41" name="Rectangle 17">
              <a:extLst>
                <a:ext uri="{FF2B5EF4-FFF2-40B4-BE49-F238E27FC236}">
                  <a16:creationId xmlns:a16="http://schemas.microsoft.com/office/drawing/2014/main" id="{5482D927-5327-5817-795D-E70C9D91C0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9931" y="2492109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采购合同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42" name="箭头: 右 107">
            <a:extLst>
              <a:ext uri="{FF2B5EF4-FFF2-40B4-BE49-F238E27FC236}">
                <a16:creationId xmlns:a16="http://schemas.microsoft.com/office/drawing/2014/main" id="{8BA36783-96F4-7599-D669-5C5D817F3CBA}"/>
              </a:ext>
            </a:extLst>
          </p:cNvPr>
          <p:cNvSpPr/>
          <p:nvPr/>
        </p:nvSpPr>
        <p:spPr>
          <a:xfrm rot="5400000">
            <a:off x="3954559" y="1731718"/>
            <a:ext cx="238831" cy="278761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0F6B7230-41C9-AB7A-5C65-AA8ED3EB3356}"/>
              </a:ext>
            </a:extLst>
          </p:cNvPr>
          <p:cNvGrpSpPr/>
          <p:nvPr/>
        </p:nvGrpSpPr>
        <p:grpSpPr>
          <a:xfrm>
            <a:off x="2772769" y="2955568"/>
            <a:ext cx="2559866" cy="411017"/>
            <a:chOff x="2763961" y="3403206"/>
            <a:chExt cx="2559866" cy="411017"/>
          </a:xfrm>
        </p:grpSpPr>
        <p:sp>
          <p:nvSpPr>
            <p:cNvPr id="44" name="Rectangle 18">
              <a:extLst>
                <a:ext uri="{FF2B5EF4-FFF2-40B4-BE49-F238E27FC236}">
                  <a16:creationId xmlns:a16="http://schemas.microsoft.com/office/drawing/2014/main" id="{3D379139-526D-07A8-42E8-F9798D5E2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3961" y="3403206"/>
              <a:ext cx="2559866" cy="411017"/>
            </a:xfrm>
            <a:prstGeom prst="rect">
              <a:avLst/>
            </a:prstGeom>
            <a:solidFill>
              <a:srgbClr val="C5D3ED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 anchorCtr="0"/>
            <a:lstStyle/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财务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协同</a:t>
              </a:r>
            </a:p>
          </p:txBody>
        </p:sp>
        <p:sp>
          <p:nvSpPr>
            <p:cNvPr id="45" name="Rectangle 17">
              <a:extLst>
                <a:ext uri="{FF2B5EF4-FFF2-40B4-BE49-F238E27FC236}">
                  <a16:creationId xmlns:a16="http://schemas.microsoft.com/office/drawing/2014/main" id="{74276787-A78C-EDED-B80D-B4ADF02002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2498" y="3487140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结算单对账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46" name="Rectangle 17">
              <a:extLst>
                <a:ext uri="{FF2B5EF4-FFF2-40B4-BE49-F238E27FC236}">
                  <a16:creationId xmlns:a16="http://schemas.microsoft.com/office/drawing/2014/main" id="{CD4C1104-DF81-CBED-E00C-AA861A02DA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9658" y="3487492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发票上传</a:t>
              </a:r>
              <a:r>
                <a: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/</a:t>
              </a: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审核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6ED4AC4-4868-98C9-22E2-8F709D55D38B}"/>
              </a:ext>
            </a:extLst>
          </p:cNvPr>
          <p:cNvGrpSpPr/>
          <p:nvPr/>
        </p:nvGrpSpPr>
        <p:grpSpPr>
          <a:xfrm>
            <a:off x="2760105" y="2431036"/>
            <a:ext cx="2572725" cy="430310"/>
            <a:chOff x="2771350" y="2980142"/>
            <a:chExt cx="2572725" cy="430310"/>
          </a:xfrm>
        </p:grpSpPr>
        <p:sp>
          <p:nvSpPr>
            <p:cNvPr id="43" name="Rectangle 18">
              <a:extLst>
                <a:ext uri="{FF2B5EF4-FFF2-40B4-BE49-F238E27FC236}">
                  <a16:creationId xmlns:a16="http://schemas.microsoft.com/office/drawing/2014/main" id="{E16B5BD5-7CEA-A9E7-52F1-16F7F7000C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1350" y="2980142"/>
              <a:ext cx="2572725" cy="430310"/>
            </a:xfrm>
            <a:prstGeom prst="rect">
              <a:avLst/>
            </a:prstGeom>
            <a:solidFill>
              <a:srgbClr val="C5D3ED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 anchorCtr="0"/>
            <a:lstStyle/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订单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履行</a:t>
              </a:r>
            </a:p>
          </p:txBody>
        </p:sp>
        <p:sp>
          <p:nvSpPr>
            <p:cNvPr id="47" name="Rectangle 17">
              <a:extLst>
                <a:ext uri="{FF2B5EF4-FFF2-40B4-BE49-F238E27FC236}">
                  <a16:creationId xmlns:a16="http://schemas.microsoft.com/office/drawing/2014/main" id="{2FF456E8-A82F-5421-DA53-983D84A8F0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5357" y="3076714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采购订单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48" name="Rectangle 17">
              <a:extLst>
                <a:ext uri="{FF2B5EF4-FFF2-40B4-BE49-F238E27FC236}">
                  <a16:creationId xmlns:a16="http://schemas.microsoft.com/office/drawing/2014/main" id="{6228E9B3-F4BB-6C51-4A23-4A494C9640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5151" y="3076714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服务确认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49" name="箭头: 右 107">
            <a:extLst>
              <a:ext uri="{FF2B5EF4-FFF2-40B4-BE49-F238E27FC236}">
                <a16:creationId xmlns:a16="http://schemas.microsoft.com/office/drawing/2014/main" id="{A37AF763-C9EF-945E-F7B1-26ABC5905947}"/>
              </a:ext>
            </a:extLst>
          </p:cNvPr>
          <p:cNvSpPr/>
          <p:nvPr/>
        </p:nvSpPr>
        <p:spPr>
          <a:xfrm rot="5400000">
            <a:off x="1400519" y="1326416"/>
            <a:ext cx="152042" cy="235773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箭头: 右 107">
            <a:extLst>
              <a:ext uri="{FF2B5EF4-FFF2-40B4-BE49-F238E27FC236}">
                <a16:creationId xmlns:a16="http://schemas.microsoft.com/office/drawing/2014/main" id="{010FDE6E-8DFB-62C4-8C2C-456773715A56}"/>
              </a:ext>
            </a:extLst>
          </p:cNvPr>
          <p:cNvSpPr/>
          <p:nvPr/>
        </p:nvSpPr>
        <p:spPr>
          <a:xfrm rot="5400000">
            <a:off x="3980469" y="2239865"/>
            <a:ext cx="187011" cy="278761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箭头: 右 107">
            <a:extLst>
              <a:ext uri="{FF2B5EF4-FFF2-40B4-BE49-F238E27FC236}">
                <a16:creationId xmlns:a16="http://schemas.microsoft.com/office/drawing/2014/main" id="{44217B78-A93C-3DF6-BE00-A462FC346D61}"/>
              </a:ext>
            </a:extLst>
          </p:cNvPr>
          <p:cNvSpPr/>
          <p:nvPr/>
        </p:nvSpPr>
        <p:spPr>
          <a:xfrm rot="5400000">
            <a:off x="3976420" y="2829344"/>
            <a:ext cx="187011" cy="278761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42F913C0-F089-D3ED-EED2-FC56B8EEC1C0}"/>
              </a:ext>
            </a:extLst>
          </p:cNvPr>
          <p:cNvGrpSpPr/>
          <p:nvPr/>
        </p:nvGrpSpPr>
        <p:grpSpPr>
          <a:xfrm>
            <a:off x="2184179" y="4301889"/>
            <a:ext cx="1317967" cy="2247893"/>
            <a:chOff x="2481354" y="4276731"/>
            <a:chExt cx="1317967" cy="2247893"/>
          </a:xfrm>
        </p:grpSpPr>
        <p:sp>
          <p:nvSpPr>
            <p:cNvPr id="52" name="Rectangle 18">
              <a:extLst>
                <a:ext uri="{FF2B5EF4-FFF2-40B4-BE49-F238E27FC236}">
                  <a16:creationId xmlns:a16="http://schemas.microsoft.com/office/drawing/2014/main" id="{22A07A88-E44B-2C33-6CCD-050CA1089D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1354" y="4276731"/>
              <a:ext cx="1317967" cy="2247893"/>
            </a:xfrm>
            <a:prstGeom prst="rect">
              <a:avLst/>
            </a:prstGeom>
            <a:solidFill>
              <a:srgbClr val="E8EDF8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FSSC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53" name="Rectangle 84">
              <a:extLst>
                <a:ext uri="{FF2B5EF4-FFF2-40B4-BE49-F238E27FC236}">
                  <a16:creationId xmlns:a16="http://schemas.microsoft.com/office/drawing/2014/main" id="{68592AD0-2500-FEEB-CD26-214AC68614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3248" y="5726386"/>
              <a:ext cx="1008000" cy="288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提出付款申请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54" name="Rectangle 85">
              <a:extLst>
                <a:ext uri="{FF2B5EF4-FFF2-40B4-BE49-F238E27FC236}">
                  <a16:creationId xmlns:a16="http://schemas.microsoft.com/office/drawing/2014/main" id="{1B05EBCF-FA63-68CC-750A-1A028B2B6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3248" y="5293244"/>
              <a:ext cx="1008000" cy="288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通知银行付款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（银企直连）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55" name="Rectangle 85">
              <a:extLst>
                <a:ext uri="{FF2B5EF4-FFF2-40B4-BE49-F238E27FC236}">
                  <a16:creationId xmlns:a16="http://schemas.microsoft.com/office/drawing/2014/main" id="{9DB89681-AA89-BDD1-8F93-CCD9A3B593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3248" y="6147282"/>
              <a:ext cx="1008000" cy="288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银行付款确认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（银企直连）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56" name="Rectangle 84">
              <a:extLst>
                <a:ext uri="{FF2B5EF4-FFF2-40B4-BE49-F238E27FC236}">
                  <a16:creationId xmlns:a16="http://schemas.microsoft.com/office/drawing/2014/main" id="{9C3DA5A6-8FDC-8821-50EC-3969E3DDA9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3248" y="4497094"/>
              <a:ext cx="1008000" cy="288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费用申请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57" name="Rectangle 84">
              <a:extLst>
                <a:ext uri="{FF2B5EF4-FFF2-40B4-BE49-F238E27FC236}">
                  <a16:creationId xmlns:a16="http://schemas.microsoft.com/office/drawing/2014/main" id="{9E72D5A7-3818-5D42-5F01-DE3C272C3D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3248" y="4888671"/>
              <a:ext cx="1008000" cy="288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费用报销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1E4474F1-5691-E102-D9DF-21990A4B3FF2}"/>
              </a:ext>
            </a:extLst>
          </p:cNvPr>
          <p:cNvGrpSpPr/>
          <p:nvPr/>
        </p:nvGrpSpPr>
        <p:grpSpPr>
          <a:xfrm>
            <a:off x="4093638" y="4301652"/>
            <a:ext cx="1317969" cy="1227606"/>
            <a:chOff x="4250840" y="4274868"/>
            <a:chExt cx="1317969" cy="1227606"/>
          </a:xfrm>
        </p:grpSpPr>
        <p:sp>
          <p:nvSpPr>
            <p:cNvPr id="61" name="Rectangle 18">
              <a:extLst>
                <a:ext uri="{FF2B5EF4-FFF2-40B4-BE49-F238E27FC236}">
                  <a16:creationId xmlns:a16="http://schemas.microsoft.com/office/drawing/2014/main" id="{EF90758B-135C-B112-057A-1039ACF5E1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0840" y="4274868"/>
              <a:ext cx="1317969" cy="1227606"/>
            </a:xfrm>
            <a:prstGeom prst="rect">
              <a:avLst/>
            </a:prstGeom>
            <a:solidFill>
              <a:srgbClr val="C5D3ED">
                <a:alpha val="40000"/>
              </a:srgbClr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资金管理平台</a:t>
              </a:r>
            </a:p>
          </p:txBody>
        </p:sp>
        <p:sp>
          <p:nvSpPr>
            <p:cNvPr id="62" name="Rectangle 84">
              <a:extLst>
                <a:ext uri="{FF2B5EF4-FFF2-40B4-BE49-F238E27FC236}">
                  <a16:creationId xmlns:a16="http://schemas.microsoft.com/office/drawing/2014/main" id="{71804DF3-C78F-AA6E-A66A-2EA511E7F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2263" y="4570562"/>
              <a:ext cx="1008000" cy="288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资金支付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63" name="Rectangle 84">
              <a:extLst>
                <a:ext uri="{FF2B5EF4-FFF2-40B4-BE49-F238E27FC236}">
                  <a16:creationId xmlns:a16="http://schemas.microsoft.com/office/drawing/2014/main" id="{D65332B9-2FD3-D3A8-B15F-E501E52654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2263" y="5084871"/>
              <a:ext cx="1008000" cy="288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回单确认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65" name="箭头: 右 107">
            <a:extLst>
              <a:ext uri="{FF2B5EF4-FFF2-40B4-BE49-F238E27FC236}">
                <a16:creationId xmlns:a16="http://schemas.microsoft.com/office/drawing/2014/main" id="{692B17C3-E824-3D78-11E5-561AA9B7D818}"/>
              </a:ext>
            </a:extLst>
          </p:cNvPr>
          <p:cNvSpPr/>
          <p:nvPr/>
        </p:nvSpPr>
        <p:spPr>
          <a:xfrm>
            <a:off x="3614040" y="4800066"/>
            <a:ext cx="401825" cy="258796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B0552593-9F3B-8B98-2811-BF97FA6EBA0B}"/>
              </a:ext>
            </a:extLst>
          </p:cNvPr>
          <p:cNvGrpSpPr/>
          <p:nvPr/>
        </p:nvGrpSpPr>
        <p:grpSpPr>
          <a:xfrm>
            <a:off x="5941517" y="651738"/>
            <a:ext cx="2077961" cy="591255"/>
            <a:chOff x="5941517" y="651738"/>
            <a:chExt cx="2077961" cy="777394"/>
          </a:xfrm>
        </p:grpSpPr>
        <p:sp>
          <p:nvSpPr>
            <p:cNvPr id="66" name="Rectangle 18">
              <a:extLst>
                <a:ext uri="{FF2B5EF4-FFF2-40B4-BE49-F238E27FC236}">
                  <a16:creationId xmlns:a16="http://schemas.microsoft.com/office/drawing/2014/main" id="{13445C6C-DD34-903C-C808-23566AB11C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41517" y="651738"/>
              <a:ext cx="2077961" cy="777394"/>
            </a:xfrm>
            <a:prstGeom prst="rect">
              <a:avLst/>
            </a:prstGeom>
            <a:solidFill>
              <a:srgbClr val="C5D3ED">
                <a:alpha val="40000"/>
              </a:srgbClr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结算平台</a:t>
              </a:r>
            </a:p>
          </p:txBody>
        </p:sp>
        <p:sp>
          <p:nvSpPr>
            <p:cNvPr id="67" name="Rectangle 17">
              <a:extLst>
                <a:ext uri="{FF2B5EF4-FFF2-40B4-BE49-F238E27FC236}">
                  <a16:creationId xmlns:a16="http://schemas.microsoft.com/office/drawing/2014/main" id="{94BDAC32-8D83-F53B-D34E-734EC48191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1676" y="1043240"/>
              <a:ext cx="900000" cy="288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费用明细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68" name="Rectangle 17">
              <a:extLst>
                <a:ext uri="{FF2B5EF4-FFF2-40B4-BE49-F238E27FC236}">
                  <a16:creationId xmlns:a16="http://schemas.microsoft.com/office/drawing/2014/main" id="{A752A22C-F00E-4112-8C34-AC26D18027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0979" y="1047857"/>
              <a:ext cx="900000" cy="288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应付账款余额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CB5A028F-CE7E-8548-CF00-ACD108A88563}"/>
              </a:ext>
            </a:extLst>
          </p:cNvPr>
          <p:cNvGrpSpPr/>
          <p:nvPr/>
        </p:nvGrpSpPr>
        <p:grpSpPr>
          <a:xfrm>
            <a:off x="5952707" y="1328115"/>
            <a:ext cx="2066771" cy="2100886"/>
            <a:chOff x="5941517" y="1717715"/>
            <a:chExt cx="2077961" cy="2219169"/>
          </a:xfrm>
        </p:grpSpPr>
        <p:sp>
          <p:nvSpPr>
            <p:cNvPr id="69" name="Rectangle 18">
              <a:extLst>
                <a:ext uri="{FF2B5EF4-FFF2-40B4-BE49-F238E27FC236}">
                  <a16:creationId xmlns:a16="http://schemas.microsoft.com/office/drawing/2014/main" id="{03526436-208D-372C-FA8F-726F35C4C1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41517" y="1717715"/>
              <a:ext cx="2077961" cy="2219169"/>
            </a:xfrm>
            <a:prstGeom prst="rect">
              <a:avLst/>
            </a:prstGeom>
            <a:solidFill>
              <a:srgbClr val="C0E9FF">
                <a:alpha val="40000"/>
              </a:srgbClr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SAP ERP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70" name="文本框 6">
              <a:extLst>
                <a:ext uri="{FF2B5EF4-FFF2-40B4-BE49-F238E27FC236}">
                  <a16:creationId xmlns:a16="http://schemas.microsoft.com/office/drawing/2014/main" id="{A720CD17-1790-0CB4-8E96-CDD26D88C7BD}"/>
                </a:ext>
              </a:extLst>
            </p:cNvPr>
            <p:cNvSpPr txBox="1"/>
            <p:nvPr/>
          </p:nvSpPr>
          <p:spPr>
            <a:xfrm>
              <a:off x="7061682" y="2006768"/>
              <a:ext cx="900000" cy="288000"/>
            </a:xfrm>
            <a:prstGeom prst="rect">
              <a:avLst/>
            </a:prstGeom>
            <a:solidFill>
              <a:srgbClr val="81D3F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1" algn="ctr" defTabSz="6000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zh-CN" altLang="en-US" sz="1200" kern="1200">
                  <a:solidFill>
                    <a:schemeClr val="tx1"/>
                  </a:solidFill>
                  <a:cs typeface="+mn-ea"/>
                  <a:sym typeface="+mn-lt"/>
                </a:rPr>
                <a:t>服务主数据</a:t>
              </a:r>
              <a:endParaRPr lang="de-DE" sz="1200" kern="1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71" name="文本框 7">
              <a:extLst>
                <a:ext uri="{FF2B5EF4-FFF2-40B4-BE49-F238E27FC236}">
                  <a16:creationId xmlns:a16="http://schemas.microsoft.com/office/drawing/2014/main" id="{F82F12CF-9E13-4313-FF0F-47FF5C5B5A0D}"/>
                </a:ext>
              </a:extLst>
            </p:cNvPr>
            <p:cNvSpPr txBox="1"/>
            <p:nvPr/>
          </p:nvSpPr>
          <p:spPr>
            <a:xfrm>
              <a:off x="6039993" y="2519603"/>
              <a:ext cx="900000" cy="288000"/>
            </a:xfrm>
            <a:prstGeom prst="rect">
              <a:avLst/>
            </a:prstGeom>
            <a:solidFill>
              <a:srgbClr val="81D3F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1" algn="ctr" defTabSz="6000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zh-CN" altLang="en-US" sz="1200" kern="1200">
                  <a:solidFill>
                    <a:schemeClr val="tx1"/>
                  </a:solidFill>
                  <a:cs typeface="+mn-ea"/>
                  <a:sym typeface="+mn-lt"/>
                </a:rPr>
                <a:t>采购申请</a:t>
              </a:r>
              <a:endParaRPr lang="de-DE" sz="1200" kern="1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72" name="文本框 8">
              <a:extLst>
                <a:ext uri="{FF2B5EF4-FFF2-40B4-BE49-F238E27FC236}">
                  <a16:creationId xmlns:a16="http://schemas.microsoft.com/office/drawing/2014/main" id="{E625DFFA-62F1-D24E-E6FB-ECBBE77D0CF7}"/>
                </a:ext>
              </a:extLst>
            </p:cNvPr>
            <p:cNvSpPr txBox="1"/>
            <p:nvPr/>
          </p:nvSpPr>
          <p:spPr>
            <a:xfrm>
              <a:off x="6039993" y="3026091"/>
              <a:ext cx="900000" cy="288000"/>
            </a:xfrm>
            <a:prstGeom prst="rect">
              <a:avLst/>
            </a:prstGeom>
            <a:solidFill>
              <a:srgbClr val="81D3F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1" algn="ctr" defTabSz="6000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zh-CN" altLang="en-US" sz="1200">
                  <a:solidFill>
                    <a:schemeClr val="tx1"/>
                  </a:solidFill>
                  <a:cs typeface="+mn-ea"/>
                  <a:sym typeface="+mn-lt"/>
                </a:rPr>
                <a:t>服务确认</a:t>
              </a:r>
              <a:endParaRPr lang="de-DE" sz="1200" kern="1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73" name="文本框 9">
              <a:extLst>
                <a:ext uri="{FF2B5EF4-FFF2-40B4-BE49-F238E27FC236}">
                  <a16:creationId xmlns:a16="http://schemas.microsoft.com/office/drawing/2014/main" id="{C37D08AC-AB1A-65C8-4B55-5D70023032B3}"/>
                </a:ext>
              </a:extLst>
            </p:cNvPr>
            <p:cNvSpPr txBox="1"/>
            <p:nvPr/>
          </p:nvSpPr>
          <p:spPr>
            <a:xfrm>
              <a:off x="6039993" y="3532579"/>
              <a:ext cx="900000" cy="288000"/>
            </a:xfrm>
            <a:prstGeom prst="rect">
              <a:avLst/>
            </a:prstGeom>
            <a:solidFill>
              <a:srgbClr val="81D3F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1" algn="ctr" defTabSz="6000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zh-CN" altLang="en-US" sz="1200">
                  <a:solidFill>
                    <a:schemeClr val="tx1"/>
                  </a:solidFill>
                  <a:cs typeface="+mn-ea"/>
                  <a:sym typeface="+mn-lt"/>
                </a:rPr>
                <a:t>应付账款</a:t>
              </a:r>
              <a:endParaRPr lang="de-DE" sz="1200" kern="1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74" name="文本框 10">
              <a:extLst>
                <a:ext uri="{FF2B5EF4-FFF2-40B4-BE49-F238E27FC236}">
                  <a16:creationId xmlns:a16="http://schemas.microsoft.com/office/drawing/2014/main" id="{A48FA75C-807C-3E6E-3C2A-A11B75AA53E3}"/>
                </a:ext>
              </a:extLst>
            </p:cNvPr>
            <p:cNvSpPr txBox="1"/>
            <p:nvPr/>
          </p:nvSpPr>
          <p:spPr>
            <a:xfrm>
              <a:off x="7073168" y="2512174"/>
              <a:ext cx="900000" cy="288000"/>
            </a:xfrm>
            <a:prstGeom prst="rect">
              <a:avLst/>
            </a:prstGeom>
            <a:solidFill>
              <a:srgbClr val="81D3F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1" algn="ctr" defTabSz="6000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zh-CN" altLang="en-US" sz="1200" kern="1200">
                  <a:solidFill>
                    <a:schemeClr val="tx1"/>
                  </a:solidFill>
                  <a:cs typeface="+mn-ea"/>
                  <a:sym typeface="+mn-lt"/>
                </a:rPr>
                <a:t>采购订单</a:t>
              </a:r>
              <a:endParaRPr lang="de-DE" sz="1200" kern="1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75" name="文本框 11">
              <a:extLst>
                <a:ext uri="{FF2B5EF4-FFF2-40B4-BE49-F238E27FC236}">
                  <a16:creationId xmlns:a16="http://schemas.microsoft.com/office/drawing/2014/main" id="{6F2CBF8C-65C6-0770-5D11-9B60CF759F87}"/>
                </a:ext>
              </a:extLst>
            </p:cNvPr>
            <p:cNvSpPr txBox="1"/>
            <p:nvPr/>
          </p:nvSpPr>
          <p:spPr>
            <a:xfrm>
              <a:off x="7073168" y="3017580"/>
              <a:ext cx="900000" cy="288000"/>
            </a:xfrm>
            <a:prstGeom prst="rect">
              <a:avLst/>
            </a:prstGeom>
            <a:solidFill>
              <a:srgbClr val="81D3F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1" algn="ctr" defTabSz="6000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zh-CN" altLang="en-US" sz="1200">
                  <a:solidFill>
                    <a:schemeClr val="tx1"/>
                  </a:solidFill>
                  <a:cs typeface="+mn-ea"/>
                  <a:sym typeface="+mn-lt"/>
                </a:rPr>
                <a:t>发票校验</a:t>
              </a:r>
              <a:endParaRPr lang="de-DE" sz="1200" kern="1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76" name="文本框 127">
              <a:extLst>
                <a:ext uri="{FF2B5EF4-FFF2-40B4-BE49-F238E27FC236}">
                  <a16:creationId xmlns:a16="http://schemas.microsoft.com/office/drawing/2014/main" id="{38674143-A3F9-D068-0031-E9B4530CABA2}"/>
                </a:ext>
              </a:extLst>
            </p:cNvPr>
            <p:cNvSpPr txBox="1"/>
            <p:nvPr/>
          </p:nvSpPr>
          <p:spPr>
            <a:xfrm>
              <a:off x="7073168" y="3522986"/>
              <a:ext cx="900000" cy="288000"/>
            </a:xfrm>
            <a:prstGeom prst="rect">
              <a:avLst/>
            </a:prstGeom>
            <a:solidFill>
              <a:srgbClr val="81D3F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1" algn="ctr" defTabSz="6000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zh-CN" altLang="en-US" sz="1200" kern="1200">
                  <a:solidFill>
                    <a:schemeClr val="tx1"/>
                  </a:solidFill>
                  <a:cs typeface="+mn-ea"/>
                  <a:sym typeface="+mn-lt"/>
                </a:rPr>
                <a:t>往来清账</a:t>
              </a:r>
              <a:endParaRPr lang="de-DE" sz="1200" kern="1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77" name="文本框 126">
              <a:extLst>
                <a:ext uri="{FF2B5EF4-FFF2-40B4-BE49-F238E27FC236}">
                  <a16:creationId xmlns:a16="http://schemas.microsoft.com/office/drawing/2014/main" id="{91B50B5A-0376-CDAF-9AF9-6095BD3C17F3}"/>
                </a:ext>
              </a:extLst>
            </p:cNvPr>
            <p:cNvSpPr txBox="1"/>
            <p:nvPr/>
          </p:nvSpPr>
          <p:spPr>
            <a:xfrm>
              <a:off x="6039993" y="2013115"/>
              <a:ext cx="900000" cy="288000"/>
            </a:xfrm>
            <a:prstGeom prst="rect">
              <a:avLst/>
            </a:prstGeom>
            <a:solidFill>
              <a:srgbClr val="81D3F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1" algn="ctr" defTabSz="6000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zh-CN" altLang="en-US" sz="1200">
                  <a:solidFill>
                    <a:schemeClr val="tx1"/>
                  </a:solidFill>
                  <a:cs typeface="+mn-ea"/>
                  <a:sym typeface="+mn-lt"/>
                </a:rPr>
                <a:t>项目</a:t>
              </a:r>
              <a:r>
                <a:rPr lang="zh-CN" altLang="en-US" sz="1200" kern="1200">
                  <a:solidFill>
                    <a:schemeClr val="tx1"/>
                  </a:solidFill>
                  <a:cs typeface="+mn-ea"/>
                  <a:sym typeface="+mn-lt"/>
                </a:rPr>
                <a:t>主数据</a:t>
              </a:r>
              <a:endParaRPr lang="de-DE" sz="1200" kern="1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78" name="TextBox 53">
            <a:extLst>
              <a:ext uri="{FF2B5EF4-FFF2-40B4-BE49-F238E27FC236}">
                <a16:creationId xmlns:a16="http://schemas.microsoft.com/office/drawing/2014/main" id="{37AE64C9-AFCD-C59D-510E-013D1F7708C6}"/>
              </a:ext>
            </a:extLst>
          </p:cNvPr>
          <p:cNvSpPr txBox="1"/>
          <p:nvPr/>
        </p:nvSpPr>
        <p:spPr>
          <a:xfrm>
            <a:off x="8714251" y="1168540"/>
            <a:ext cx="2763232" cy="3367559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经过</a:t>
            </a:r>
            <a:r>
              <a:rPr kumimoji="0" lang="en-US" altLang="zh-CN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MPM</a:t>
            </a:r>
            <a:r>
              <a:rPr kumimoji="0" lang="zh-CN" altLang="en-US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立项的推广费项目，非小额零星采购适用</a:t>
            </a:r>
            <a:r>
              <a:rPr kumimoji="0" lang="en-US" altLang="zh-CN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：</a:t>
            </a:r>
            <a:endParaRPr kumimoji="0" lang="en-US" altLang="zh-CN" sz="11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zh-CN" altLang="en-US" sz="1100" kern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①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+mn-cs"/>
              </a:rPr>
              <a:t>推</a:t>
            </a:r>
            <a:r>
              <a:rPr lang="zh-CN" altLang="en-US" sz="1100">
                <a:latin typeface="+mj-ea"/>
                <a:ea typeface="+mj-ea"/>
              </a:rPr>
              <a:t>广费</a:t>
            </a:r>
            <a:r>
              <a:rPr lang="zh-CN" altLang="en-US" sz="1100" b="1">
                <a:latin typeface="+mj-ea"/>
                <a:ea typeface="+mj-ea"/>
              </a:rPr>
              <a:t>预算</a:t>
            </a:r>
            <a:r>
              <a:rPr lang="zh-CN" altLang="en-US" sz="1100">
                <a:latin typeface="+mj-ea"/>
                <a:ea typeface="+mj-ea"/>
              </a:rPr>
              <a:t>下达至</a:t>
            </a:r>
            <a:r>
              <a:rPr lang="en-US" altLang="zh-CN" sz="1100">
                <a:latin typeface="+mj-ea"/>
                <a:ea typeface="+mj-ea"/>
              </a:rPr>
              <a:t>MPM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②</a:t>
            </a:r>
            <a:r>
              <a:rPr kumimoji="0" lang="zh-CN" altLang="en-US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在</a:t>
            </a:r>
            <a:r>
              <a:rPr kumimoji="0" lang="en-US" altLang="zh-CN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MPM</a:t>
            </a:r>
            <a:r>
              <a:rPr kumimoji="0" lang="zh-CN" altLang="en-US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系统进行项目立项申请，按照项目制方式进行管理，</a:t>
            </a:r>
            <a:r>
              <a:rPr kumimoji="0" lang="zh-CN" altLang="en-US" sz="11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+mn-cs"/>
              </a:rPr>
              <a:t>并按</a:t>
            </a:r>
            <a:r>
              <a:rPr kumimoji="0" lang="zh-CN" altLang="en-US" sz="110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项目维度</a:t>
            </a:r>
            <a:r>
              <a:rPr kumimoji="0" lang="zh-CN" altLang="en-US" sz="11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+mn-cs"/>
              </a:rPr>
              <a:t>进行立项</a:t>
            </a:r>
            <a:r>
              <a:rPr lang="zh-CN" altLang="en-US" sz="1100">
                <a:latin typeface="+mj-ea"/>
                <a:ea typeface="+mj-ea"/>
              </a:rPr>
              <a:t>承接</a:t>
            </a:r>
            <a:r>
              <a:rPr lang="en-US" altLang="zh-CN" sz="1100">
                <a:latin typeface="+mj-ea"/>
                <a:ea typeface="+mj-ea"/>
              </a:rPr>
              <a:t>PBF</a:t>
            </a:r>
            <a:r>
              <a:rPr lang="zh-CN" altLang="en-US" sz="1100">
                <a:latin typeface="+mj-ea"/>
                <a:ea typeface="+mj-ea"/>
              </a:rPr>
              <a:t>下达的推广费预算，搭建项目预算管理、预算拆解、预算调整等功能；</a:t>
            </a:r>
            <a:endParaRPr kumimoji="0" lang="en-US" altLang="zh-CN" sz="11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zh-CN" altLang="en-US" sz="1100" b="1">
                <a:latin typeface="Microsoft YaHei"/>
                <a:ea typeface="Microsoft YaHei"/>
              </a:rPr>
              <a:t>③</a:t>
            </a:r>
            <a:r>
              <a:rPr lang="en-US" altLang="zh-CN" sz="1100" b="1">
                <a:latin typeface="Microsoft YaHei"/>
                <a:ea typeface="Microsoft YaHei"/>
              </a:rPr>
              <a:t>SRM</a:t>
            </a:r>
            <a:r>
              <a:rPr lang="zh-CN" altLang="en-US" sz="1100">
                <a:latin typeface="+mj-ea"/>
                <a:ea typeface="+mj-ea"/>
              </a:rPr>
              <a:t>接收</a:t>
            </a:r>
            <a:r>
              <a:rPr lang="en-US" altLang="zh-CN" sz="1100">
                <a:latin typeface="+mj-ea"/>
                <a:ea typeface="+mj-ea"/>
              </a:rPr>
              <a:t>MPM</a:t>
            </a:r>
            <a:r>
              <a:rPr lang="zh-CN" altLang="en-US" sz="1100">
                <a:latin typeface="+mj-ea"/>
                <a:ea typeface="+mj-ea"/>
              </a:rPr>
              <a:t>系统适用</a:t>
            </a:r>
            <a:r>
              <a:rPr lang="en-US" altLang="zh-CN" sz="1100">
                <a:latin typeface="+mj-ea"/>
                <a:ea typeface="+mj-ea"/>
              </a:rPr>
              <a:t>PTP</a:t>
            </a:r>
            <a:r>
              <a:rPr lang="zh-CN" altLang="en-US" sz="1100">
                <a:latin typeface="+mj-ea"/>
                <a:ea typeface="+mj-ea"/>
              </a:rPr>
              <a:t>流程的项目预算，发起采购申请，搭建推广业务</a:t>
            </a:r>
            <a:r>
              <a:rPr lang="zh-CN" altLang="en-US" sz="1100" b="1">
                <a:solidFill>
                  <a:srgbClr val="FF0000"/>
                </a:solidFill>
                <a:latin typeface="+mj-ea"/>
                <a:ea typeface="+mj-ea"/>
              </a:rPr>
              <a:t>供应商、寻源报价、采购合同、订单履行、对账等功能</a:t>
            </a:r>
            <a:r>
              <a:rPr lang="zh-CN" altLang="en-US" sz="1100">
                <a:latin typeface="+mj-ea"/>
                <a:ea typeface="+mj-ea"/>
              </a:rPr>
              <a:t>；</a:t>
            </a:r>
            <a:endParaRPr lang="en-US" altLang="zh-CN" sz="1100">
              <a:latin typeface="+mj-ea"/>
              <a:ea typeface="+mj-ea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+mn-cs"/>
              </a:rPr>
              <a:t>④</a:t>
            </a:r>
            <a:r>
              <a:rPr lang="en-US" altLang="zh-CN" sz="1100" b="1">
                <a:latin typeface="+mj-ea"/>
                <a:ea typeface="+mj-ea"/>
              </a:rPr>
              <a:t>SAP</a:t>
            </a:r>
            <a:r>
              <a:rPr lang="zh-CN" altLang="en-US" sz="1100" b="1">
                <a:latin typeface="+mj-ea"/>
                <a:ea typeface="+mj-ea"/>
              </a:rPr>
              <a:t>系统：</a:t>
            </a:r>
            <a:r>
              <a:rPr lang="zh-CN" altLang="en-US" sz="1100">
                <a:latin typeface="+mj-ea"/>
                <a:ea typeface="+mj-ea"/>
              </a:rPr>
              <a:t>承接各系统业务执行结果，实现多维度推广费核算；</a:t>
            </a:r>
            <a:endParaRPr lang="en-US" altLang="zh-CN" sz="1100">
              <a:latin typeface="+mj-ea"/>
              <a:ea typeface="+mj-ea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zh-CN" altLang="en-US" sz="1100">
                <a:latin typeface="+mj-ea"/>
                <a:ea typeface="+mj-ea"/>
              </a:rPr>
              <a:t>⑤</a:t>
            </a:r>
            <a:r>
              <a:rPr lang="zh-CN" altLang="en-US" sz="1100" b="1">
                <a:latin typeface="+mj-ea"/>
                <a:ea typeface="+mj-ea"/>
              </a:rPr>
              <a:t>结算平台</a:t>
            </a:r>
            <a:r>
              <a:rPr lang="zh-CN" altLang="en-US" sz="1100">
                <a:latin typeface="+mj-ea"/>
                <a:ea typeface="+mj-ea"/>
              </a:rPr>
              <a:t>，对接</a:t>
            </a:r>
            <a:r>
              <a:rPr lang="en-US" altLang="zh-CN" sz="1100">
                <a:latin typeface="+mj-ea"/>
                <a:ea typeface="+mj-ea"/>
              </a:rPr>
              <a:t>ERP</a:t>
            </a:r>
            <a:r>
              <a:rPr lang="zh-CN" altLang="en-US" sz="1100">
                <a:latin typeface="+mj-ea"/>
                <a:ea typeface="+mj-ea"/>
              </a:rPr>
              <a:t>系统中推广费</a:t>
            </a:r>
            <a:r>
              <a:rPr lang="zh-CN" altLang="en-US" sz="1100" b="1">
                <a:solidFill>
                  <a:srgbClr val="FF0000"/>
                </a:solidFill>
                <a:latin typeface="+mj-ea"/>
                <a:ea typeface="+mj-ea"/>
              </a:rPr>
              <a:t>费用明细清单及应付账款余额</a:t>
            </a:r>
            <a:r>
              <a:rPr lang="zh-CN" altLang="en-US" sz="1100">
                <a:latin typeface="+mj-ea"/>
                <a:ea typeface="+mj-ea"/>
              </a:rPr>
              <a:t>，推送</a:t>
            </a:r>
            <a:r>
              <a:rPr lang="en-US" altLang="zh-CN" sz="1100">
                <a:latin typeface="+mj-ea"/>
                <a:ea typeface="+mj-ea"/>
              </a:rPr>
              <a:t>SRM</a:t>
            </a:r>
            <a:r>
              <a:rPr lang="zh-CN" altLang="en-US" sz="1100">
                <a:latin typeface="+mj-ea"/>
                <a:ea typeface="+mj-ea"/>
              </a:rPr>
              <a:t>系统进行供应商对账；</a:t>
            </a:r>
            <a:endParaRPr lang="en-US" altLang="zh-CN" sz="1100">
              <a:latin typeface="+mj-ea"/>
              <a:ea typeface="+mj-ea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zh-CN" altLang="en-US" sz="1100" b="1">
                <a:latin typeface="+mj-ea"/>
                <a:ea typeface="+mj-ea"/>
              </a:rPr>
              <a:t>⑥费用中心：</a:t>
            </a:r>
            <a:r>
              <a:rPr lang="zh-CN" altLang="en-US" sz="1100">
                <a:latin typeface="+mj-ea"/>
                <a:ea typeface="+mj-ea"/>
              </a:rPr>
              <a:t>建设推广费各视角费用分析查询功能；</a:t>
            </a:r>
            <a:endParaRPr lang="en-US" altLang="zh-CN" sz="1100">
              <a:latin typeface="+mj-ea"/>
              <a:ea typeface="+mj-ea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zh-CN" altLang="en-US" sz="1100">
                <a:latin typeface="+mj-ea"/>
                <a:ea typeface="+mj-ea"/>
              </a:rPr>
              <a:t>⑦</a:t>
            </a:r>
            <a:r>
              <a:rPr lang="zh-CN" altLang="en-US" sz="1100" b="1">
                <a:latin typeface="+mj-ea"/>
                <a:ea typeface="+mj-ea"/>
              </a:rPr>
              <a:t>推广费系统：由于与</a:t>
            </a:r>
            <a:r>
              <a:rPr lang="en-US" altLang="zh-CN" sz="1100" b="1">
                <a:latin typeface="+mj-ea"/>
                <a:ea typeface="+mj-ea"/>
              </a:rPr>
              <a:t>MPM</a:t>
            </a:r>
            <a:r>
              <a:rPr lang="zh-CN" altLang="en-US" sz="1100" b="1">
                <a:latin typeface="+mj-ea"/>
                <a:ea typeface="+mj-ea"/>
              </a:rPr>
              <a:t>、</a:t>
            </a:r>
            <a:r>
              <a:rPr lang="en-US" altLang="zh-CN" sz="1100" b="1">
                <a:latin typeface="+mj-ea"/>
                <a:ea typeface="+mj-ea"/>
              </a:rPr>
              <a:t>SRM</a:t>
            </a:r>
            <a:r>
              <a:rPr lang="zh-CN" altLang="en-US" sz="1100" b="1">
                <a:latin typeface="+mj-ea"/>
                <a:ea typeface="+mj-ea"/>
              </a:rPr>
              <a:t>功能重合，</a:t>
            </a:r>
            <a:r>
              <a:rPr lang="zh-CN" altLang="en-US" sz="1100">
                <a:latin typeface="+mj-ea"/>
                <a:ea typeface="+mj-ea"/>
              </a:rPr>
              <a:t>建议未来由</a:t>
            </a:r>
            <a:r>
              <a:rPr lang="en-US" altLang="zh-CN" sz="1100" b="1">
                <a:solidFill>
                  <a:srgbClr val="FF0000"/>
                </a:solidFill>
                <a:latin typeface="+mj-ea"/>
                <a:ea typeface="+mj-ea"/>
              </a:rPr>
              <a:t>MPM</a:t>
            </a:r>
            <a:r>
              <a:rPr lang="zh-CN" altLang="en-US" sz="1100" b="1">
                <a:solidFill>
                  <a:srgbClr val="FF0000"/>
                </a:solidFill>
                <a:latin typeface="+mj-ea"/>
                <a:ea typeface="+mj-ea"/>
              </a:rPr>
              <a:t>与</a:t>
            </a:r>
            <a:r>
              <a:rPr lang="en-US" altLang="zh-CN" sz="1100" b="1">
                <a:solidFill>
                  <a:srgbClr val="FF0000"/>
                </a:solidFill>
                <a:latin typeface="+mj-ea"/>
                <a:ea typeface="+mj-ea"/>
              </a:rPr>
              <a:t>SRM</a:t>
            </a:r>
            <a:r>
              <a:rPr lang="zh-CN" altLang="en-US" sz="1100" b="1">
                <a:solidFill>
                  <a:srgbClr val="FF0000"/>
                </a:solidFill>
                <a:latin typeface="+mj-ea"/>
                <a:ea typeface="+mj-ea"/>
              </a:rPr>
              <a:t>系统承接目前推广费系统对应功能</a:t>
            </a:r>
            <a:r>
              <a:rPr lang="en-US" altLang="zh-CN" sz="1100" b="1">
                <a:solidFill>
                  <a:srgbClr val="FF0000"/>
                </a:solidFill>
                <a:latin typeface="+mj-ea"/>
                <a:ea typeface="+mj-ea"/>
              </a:rPr>
              <a:t>(</a:t>
            </a:r>
            <a:r>
              <a:rPr lang="zh-CN" altLang="en-US" sz="1100" b="1">
                <a:solidFill>
                  <a:srgbClr val="FF0000"/>
                </a:solidFill>
                <a:latin typeface="+mj-ea"/>
                <a:ea typeface="+mj-ea"/>
              </a:rPr>
              <a:t>需与</a:t>
            </a:r>
            <a:r>
              <a:rPr lang="en-US" altLang="zh-CN" sz="1100" b="1">
                <a:solidFill>
                  <a:srgbClr val="FF0000"/>
                </a:solidFill>
                <a:latin typeface="+mj-ea"/>
                <a:ea typeface="+mj-ea"/>
              </a:rPr>
              <a:t>CBG IT</a:t>
            </a:r>
            <a:r>
              <a:rPr lang="zh-CN" altLang="en-US" sz="1100" b="1">
                <a:solidFill>
                  <a:srgbClr val="FF0000"/>
                </a:solidFill>
                <a:latin typeface="+mj-ea"/>
                <a:ea typeface="+mj-ea"/>
              </a:rPr>
              <a:t>架构拉通</a:t>
            </a:r>
            <a:r>
              <a:rPr lang="en-US" altLang="zh-CN" sz="1100" b="1">
                <a:solidFill>
                  <a:srgbClr val="FF0000"/>
                </a:solidFill>
                <a:latin typeface="+mj-ea"/>
                <a:ea typeface="+mj-ea"/>
              </a:rPr>
              <a:t>)</a:t>
            </a:r>
            <a:r>
              <a:rPr lang="zh-CN" altLang="en-US" sz="1100">
                <a:latin typeface="+mj-ea"/>
                <a:ea typeface="+mj-ea"/>
              </a:rPr>
              <a:t>。</a:t>
            </a:r>
            <a:endParaRPr lang="en-US" altLang="zh-CN" sz="1100">
              <a:latin typeface="+mj-ea"/>
              <a:ea typeface="+mj-ea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altLang="zh-CN" sz="1100">
              <a:latin typeface="+mj-ea"/>
              <a:ea typeface="+mj-ea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altLang="zh-CN" sz="1100">
              <a:latin typeface="+mj-ea"/>
              <a:ea typeface="+mj-ea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altLang="zh-CN" sz="1100">
              <a:latin typeface="+mj-ea"/>
              <a:ea typeface="+mj-ea"/>
            </a:endParaRPr>
          </a:p>
          <a:p>
            <a:pPr>
              <a:defRPr/>
            </a:pPr>
            <a:endParaRPr kumimoji="0" lang="en-US" altLang="zh-CN" sz="11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79" name="TextBox 53">
            <a:extLst>
              <a:ext uri="{FF2B5EF4-FFF2-40B4-BE49-F238E27FC236}">
                <a16:creationId xmlns:a16="http://schemas.microsoft.com/office/drawing/2014/main" id="{BC3E550A-49AE-033F-D9AE-EF4E366BD269}"/>
              </a:ext>
            </a:extLst>
          </p:cNvPr>
          <p:cNvSpPr txBox="1"/>
          <p:nvPr/>
        </p:nvSpPr>
        <p:spPr>
          <a:xfrm>
            <a:off x="8725487" y="4014338"/>
            <a:ext cx="2693523" cy="2324665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不适用</a:t>
            </a:r>
            <a:r>
              <a:rPr kumimoji="0" lang="en-US" altLang="zh-CN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，仍需沿用现有报销流程的场景：</a:t>
            </a:r>
            <a:endParaRPr kumimoji="0" lang="en-US" altLang="zh-CN" sz="11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①根据集团招投标制度要求，金额未达到一定标准（如：</a:t>
            </a:r>
            <a:r>
              <a:rPr kumimoji="0" lang="en-US" altLang="zh-CN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2</a:t>
            </a:r>
            <a:r>
              <a:rPr kumimoji="0" lang="zh-CN" altLang="en-US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万），无需进行招投标且由个人垫付后报销的费用；</a:t>
            </a:r>
            <a:endParaRPr kumimoji="0" lang="en-US" altLang="zh-CN" sz="11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②线上店铺类推广费，如发放京东平台优惠券，无合同，采取预充值后报销的方式，对账、结算均在对方系统；</a:t>
            </a:r>
            <a:endParaRPr kumimoji="0" lang="en-US" altLang="zh-CN" sz="11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sp>
        <p:nvSpPr>
          <p:cNvPr id="80" name="箭头: 右 107">
            <a:extLst>
              <a:ext uri="{FF2B5EF4-FFF2-40B4-BE49-F238E27FC236}">
                <a16:creationId xmlns:a16="http://schemas.microsoft.com/office/drawing/2014/main" id="{F32CF74B-7243-0131-8EB5-E72B7C0BBE43}"/>
              </a:ext>
            </a:extLst>
          </p:cNvPr>
          <p:cNvSpPr/>
          <p:nvPr/>
        </p:nvSpPr>
        <p:spPr>
          <a:xfrm>
            <a:off x="2079529" y="2469984"/>
            <a:ext cx="513719" cy="258788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箭头: 右 107">
            <a:extLst>
              <a:ext uri="{FF2B5EF4-FFF2-40B4-BE49-F238E27FC236}">
                <a16:creationId xmlns:a16="http://schemas.microsoft.com/office/drawing/2014/main" id="{4C6EBD25-910E-8053-C44C-10BFC70B1AC5}"/>
              </a:ext>
            </a:extLst>
          </p:cNvPr>
          <p:cNvSpPr/>
          <p:nvPr/>
        </p:nvSpPr>
        <p:spPr>
          <a:xfrm>
            <a:off x="5503913" y="807346"/>
            <a:ext cx="401825" cy="258796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箭头: 右 107">
            <a:extLst>
              <a:ext uri="{FF2B5EF4-FFF2-40B4-BE49-F238E27FC236}">
                <a16:creationId xmlns:a16="http://schemas.microsoft.com/office/drawing/2014/main" id="{5AB3BDE1-CB28-6C52-DD84-F778FCCC76ED}"/>
              </a:ext>
            </a:extLst>
          </p:cNvPr>
          <p:cNvSpPr/>
          <p:nvPr/>
        </p:nvSpPr>
        <p:spPr>
          <a:xfrm rot="5400000">
            <a:off x="6869506" y="1118653"/>
            <a:ext cx="221980" cy="297329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Arrow: Bent-Up 82">
            <a:extLst>
              <a:ext uri="{FF2B5EF4-FFF2-40B4-BE49-F238E27FC236}">
                <a16:creationId xmlns:a16="http://schemas.microsoft.com/office/drawing/2014/main" id="{B57CF56E-2ED8-ED81-CC23-E220F985E582}"/>
              </a:ext>
            </a:extLst>
          </p:cNvPr>
          <p:cNvSpPr/>
          <p:nvPr/>
        </p:nvSpPr>
        <p:spPr>
          <a:xfrm rot="5400000">
            <a:off x="507488" y="3965504"/>
            <a:ext cx="1694850" cy="613061"/>
          </a:xfrm>
          <a:prstGeom prst="bentUpArrow">
            <a:avLst>
              <a:gd name="adj1" fmla="val 28519"/>
              <a:gd name="adj2" fmla="val 21741"/>
              <a:gd name="adj3" fmla="val 25000"/>
            </a:avLst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7FC3A9FD-7143-8002-8EA6-0C6BC8644EAA}"/>
              </a:ext>
            </a:extLst>
          </p:cNvPr>
          <p:cNvGrpSpPr/>
          <p:nvPr/>
        </p:nvGrpSpPr>
        <p:grpSpPr>
          <a:xfrm>
            <a:off x="1291317" y="3516128"/>
            <a:ext cx="5275752" cy="552379"/>
            <a:chOff x="932549" y="3509350"/>
            <a:chExt cx="5275752" cy="552379"/>
          </a:xfrm>
        </p:grpSpPr>
        <p:sp>
          <p:nvSpPr>
            <p:cNvPr id="84" name="Rectangle 18">
              <a:extLst>
                <a:ext uri="{FF2B5EF4-FFF2-40B4-BE49-F238E27FC236}">
                  <a16:creationId xmlns:a16="http://schemas.microsoft.com/office/drawing/2014/main" id="{F7226F6F-C55B-EA44-6A6A-634CAD8CF1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549" y="3509350"/>
              <a:ext cx="5275752" cy="552379"/>
            </a:xfrm>
            <a:prstGeom prst="rect">
              <a:avLst/>
            </a:prstGeom>
            <a:solidFill>
              <a:srgbClr val="C5D3ED">
                <a:alpha val="40000"/>
              </a:srgbClr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3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费用中心</a:t>
              </a:r>
            </a:p>
          </p:txBody>
        </p:sp>
        <p:sp>
          <p:nvSpPr>
            <p:cNvPr id="95" name="Rectangle 17">
              <a:extLst>
                <a:ext uri="{FF2B5EF4-FFF2-40B4-BE49-F238E27FC236}">
                  <a16:creationId xmlns:a16="http://schemas.microsoft.com/office/drawing/2014/main" id="{7684631D-1C8F-B172-4A41-131FB4A803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5165" y="3727206"/>
              <a:ext cx="900000" cy="288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项目费用查询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96" name="Rectangle 17">
              <a:extLst>
                <a:ext uri="{FF2B5EF4-FFF2-40B4-BE49-F238E27FC236}">
                  <a16:creationId xmlns:a16="http://schemas.microsoft.com/office/drawing/2014/main" id="{8DDBB4DC-37DC-FC35-094C-910FFCA1C5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3717" y="3742556"/>
              <a:ext cx="900000" cy="288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项目预算查询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97" name="Rectangle 17">
              <a:extLst>
                <a:ext uri="{FF2B5EF4-FFF2-40B4-BE49-F238E27FC236}">
                  <a16:creationId xmlns:a16="http://schemas.microsoft.com/office/drawing/2014/main" id="{601FDA81-CA4A-8AE7-2FEA-5FC741040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6727" y="3730134"/>
              <a:ext cx="900000" cy="288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科目费用查询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98" name="Rectangle 17">
              <a:extLst>
                <a:ext uri="{FF2B5EF4-FFF2-40B4-BE49-F238E27FC236}">
                  <a16:creationId xmlns:a16="http://schemas.microsoft.com/office/drawing/2014/main" id="{0DCE0EF9-1413-2FD8-2B96-055B4DD8F5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4626" y="3741272"/>
              <a:ext cx="900000" cy="288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动因费用查询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99" name="Rectangle 17">
              <a:extLst>
                <a:ext uri="{FF2B5EF4-FFF2-40B4-BE49-F238E27FC236}">
                  <a16:creationId xmlns:a16="http://schemas.microsoft.com/office/drawing/2014/main" id="{BCFF48B8-F91A-86F4-FE6C-CB776E14A3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27829" y="3741272"/>
              <a:ext cx="900000" cy="288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预实分析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cxnSp>
        <p:nvCxnSpPr>
          <p:cNvPr id="100" name="Straight Connector 4">
            <a:extLst>
              <a:ext uri="{FF2B5EF4-FFF2-40B4-BE49-F238E27FC236}">
                <a16:creationId xmlns:a16="http://schemas.microsoft.com/office/drawing/2014/main" id="{0D063A6B-6452-7D7B-3B15-998877BB3DBA}"/>
              </a:ext>
            </a:extLst>
          </p:cNvPr>
          <p:cNvCxnSpPr>
            <a:cxnSpLocks/>
          </p:cNvCxnSpPr>
          <p:nvPr/>
        </p:nvCxnSpPr>
        <p:spPr>
          <a:xfrm>
            <a:off x="617003" y="4189676"/>
            <a:ext cx="7860247" cy="0"/>
          </a:xfrm>
          <a:prstGeom prst="line">
            <a:avLst/>
          </a:prstGeom>
          <a:ln w="28575">
            <a:solidFill>
              <a:srgbClr val="005F9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Arrow: Bent-Up 103">
            <a:extLst>
              <a:ext uri="{FF2B5EF4-FFF2-40B4-BE49-F238E27FC236}">
                <a16:creationId xmlns:a16="http://schemas.microsoft.com/office/drawing/2014/main" id="{3D1F5902-8739-E398-B605-8B0C07174582}"/>
              </a:ext>
            </a:extLst>
          </p:cNvPr>
          <p:cNvSpPr/>
          <p:nvPr/>
        </p:nvSpPr>
        <p:spPr>
          <a:xfrm rot="5400000" flipV="1">
            <a:off x="5297461" y="4681962"/>
            <a:ext cx="2427457" cy="584527"/>
          </a:xfrm>
          <a:prstGeom prst="bentUpArrow">
            <a:avLst>
              <a:gd name="adj1" fmla="val 26420"/>
              <a:gd name="adj2" fmla="val 21741"/>
              <a:gd name="adj3" fmla="val 28259"/>
            </a:avLst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30">
            <a:extLst>
              <a:ext uri="{FF2B5EF4-FFF2-40B4-BE49-F238E27FC236}">
                <a16:creationId xmlns:a16="http://schemas.microsoft.com/office/drawing/2014/main" id="{2ABC1472-E586-9CCA-8062-2978812BA4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68845" y="4471169"/>
            <a:ext cx="632358" cy="253475"/>
          </a:xfrm>
          <a:prstGeom prst="rect">
            <a:avLst/>
          </a:prstGeom>
          <a:solidFill>
            <a:schemeClr val="bg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MPM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项目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报销流程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</p:txBody>
      </p:sp>
      <p:sp>
        <p:nvSpPr>
          <p:cNvPr id="106" name="Rectangle 30">
            <a:extLst>
              <a:ext uri="{FF2B5EF4-FFF2-40B4-BE49-F238E27FC236}">
                <a16:creationId xmlns:a16="http://schemas.microsoft.com/office/drawing/2014/main" id="{18D318E5-B440-B097-036F-911D6B6171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3963" y="2097569"/>
            <a:ext cx="632358" cy="253475"/>
          </a:xfrm>
          <a:prstGeom prst="rect">
            <a:avLst/>
          </a:prstGeom>
          <a:solidFill>
            <a:schemeClr val="bg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MPM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项目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PTP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流程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</p:txBody>
      </p:sp>
      <p:sp>
        <p:nvSpPr>
          <p:cNvPr id="109" name="箭头: 右 107">
            <a:extLst>
              <a:ext uri="{FF2B5EF4-FFF2-40B4-BE49-F238E27FC236}">
                <a16:creationId xmlns:a16="http://schemas.microsoft.com/office/drawing/2014/main" id="{C3473B65-BDB0-B082-753A-AF9D532E64DC}"/>
              </a:ext>
            </a:extLst>
          </p:cNvPr>
          <p:cNvSpPr/>
          <p:nvPr/>
        </p:nvSpPr>
        <p:spPr>
          <a:xfrm rot="5400000">
            <a:off x="6353233" y="3334545"/>
            <a:ext cx="187011" cy="278761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0" name="箭头: 右 107">
            <a:extLst>
              <a:ext uri="{FF2B5EF4-FFF2-40B4-BE49-F238E27FC236}">
                <a16:creationId xmlns:a16="http://schemas.microsoft.com/office/drawing/2014/main" id="{F5D2C481-0595-E43D-3214-2F47D5894174}"/>
              </a:ext>
            </a:extLst>
          </p:cNvPr>
          <p:cNvSpPr/>
          <p:nvPr/>
        </p:nvSpPr>
        <p:spPr>
          <a:xfrm rot="5400000">
            <a:off x="1468964" y="3344288"/>
            <a:ext cx="187011" cy="278761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1" name="Rectangle 30">
            <a:extLst>
              <a:ext uri="{FF2B5EF4-FFF2-40B4-BE49-F238E27FC236}">
                <a16:creationId xmlns:a16="http://schemas.microsoft.com/office/drawing/2014/main" id="{00D0345D-3866-4330-1747-BC5A275A30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15933" y="4974225"/>
            <a:ext cx="632358" cy="253475"/>
          </a:xfrm>
          <a:prstGeom prst="rect">
            <a:avLst/>
          </a:prstGeom>
          <a:solidFill>
            <a:schemeClr val="bg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应付账款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</p:txBody>
      </p:sp>
      <p:sp>
        <p:nvSpPr>
          <p:cNvPr id="112" name="Rectangle 18">
            <a:extLst>
              <a:ext uri="{FF2B5EF4-FFF2-40B4-BE49-F238E27FC236}">
                <a16:creationId xmlns:a16="http://schemas.microsoft.com/office/drawing/2014/main" id="{A09413E9-D67A-32F2-521F-D0DCCDA228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6713" y="5425719"/>
            <a:ext cx="934490" cy="253474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直接报销</a:t>
            </a:r>
          </a:p>
        </p:txBody>
      </p:sp>
      <p:sp>
        <p:nvSpPr>
          <p:cNvPr id="113" name="箭头: 右 107">
            <a:extLst>
              <a:ext uri="{FF2B5EF4-FFF2-40B4-BE49-F238E27FC236}">
                <a16:creationId xmlns:a16="http://schemas.microsoft.com/office/drawing/2014/main" id="{5ECE1905-960F-88EA-C6BD-696F636E00BF}"/>
              </a:ext>
            </a:extLst>
          </p:cNvPr>
          <p:cNvSpPr/>
          <p:nvPr/>
        </p:nvSpPr>
        <p:spPr>
          <a:xfrm>
            <a:off x="1954649" y="5425774"/>
            <a:ext cx="286702" cy="253419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4" name="箭头: 右 107">
            <a:extLst>
              <a:ext uri="{FF2B5EF4-FFF2-40B4-BE49-F238E27FC236}">
                <a16:creationId xmlns:a16="http://schemas.microsoft.com/office/drawing/2014/main" id="{289A85D5-BE88-3BE5-CA08-DA6ADCCBD37A}"/>
              </a:ext>
            </a:extLst>
          </p:cNvPr>
          <p:cNvSpPr/>
          <p:nvPr/>
        </p:nvSpPr>
        <p:spPr>
          <a:xfrm rot="16200000">
            <a:off x="1791077" y="3344288"/>
            <a:ext cx="187011" cy="278761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5" name="箭头: 右 107">
            <a:extLst>
              <a:ext uri="{FF2B5EF4-FFF2-40B4-BE49-F238E27FC236}">
                <a16:creationId xmlns:a16="http://schemas.microsoft.com/office/drawing/2014/main" id="{FAC9E9D9-9707-5EE5-11B1-3F4243953985}"/>
              </a:ext>
            </a:extLst>
          </p:cNvPr>
          <p:cNvSpPr/>
          <p:nvPr/>
        </p:nvSpPr>
        <p:spPr>
          <a:xfrm rot="16200000">
            <a:off x="6012070" y="3315495"/>
            <a:ext cx="187011" cy="278761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35603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351361-B5FC-3B4C-93C7-23720EA4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10282312" cy="706293"/>
          </a:xfrm>
        </p:spPr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长期系统方案数据流向</a:t>
            </a:r>
            <a:endParaRPr lang="en-US"/>
          </a:p>
        </p:txBody>
      </p: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E55475C0-EEA7-6FC8-07A8-9B1D970C7AE3}"/>
              </a:ext>
            </a:extLst>
          </p:cNvPr>
          <p:cNvGrpSpPr/>
          <p:nvPr/>
        </p:nvGrpSpPr>
        <p:grpSpPr>
          <a:xfrm>
            <a:off x="62948" y="784079"/>
            <a:ext cx="11814204" cy="370581"/>
            <a:chOff x="393790" y="923316"/>
            <a:chExt cx="7955080" cy="456216"/>
          </a:xfrm>
        </p:grpSpPr>
        <p:cxnSp>
          <p:nvCxnSpPr>
            <p:cNvPr id="81" name="Straight Connector 38">
              <a:extLst>
                <a:ext uri="{FF2B5EF4-FFF2-40B4-BE49-F238E27FC236}">
                  <a16:creationId xmlns:a16="http://schemas.microsoft.com/office/drawing/2014/main" id="{A2F57F02-A4EE-079F-E620-EC487EA988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790" y="1069804"/>
              <a:ext cx="7955080" cy="7403"/>
            </a:xfrm>
            <a:prstGeom prst="line">
              <a:avLst/>
            </a:prstGeom>
            <a:noFill/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diamond"/>
              <a:tailEnd type="diamond"/>
            </a:ln>
            <a:effectLst/>
          </p:spPr>
        </p:cxnSp>
        <p:sp>
          <p:nvSpPr>
            <p:cNvPr id="82" name="Rectangle 24">
              <a:extLst>
                <a:ext uri="{FF2B5EF4-FFF2-40B4-BE49-F238E27FC236}">
                  <a16:creationId xmlns:a16="http://schemas.microsoft.com/office/drawing/2014/main" id="{161D99B6-FF3E-1D66-D890-AD0BA723250A}"/>
                </a:ext>
              </a:extLst>
            </p:cNvPr>
            <p:cNvSpPr/>
            <p:nvPr/>
          </p:nvSpPr>
          <p:spPr>
            <a:xfrm>
              <a:off x="3546889" y="923316"/>
              <a:ext cx="2103120" cy="3788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r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YaHei"/>
                  <a:ea typeface="Microsoft YaHei"/>
                  <a:cs typeface="Arial" panose="020B0604020202020204" pitchFamily="34" charset="0"/>
                </a:rPr>
                <a:t>系统数据流向</a:t>
              </a:r>
              <a:endParaRPr kumimoji="1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Arial" panose="020B0604020202020204" pitchFamily="34" charset="0"/>
              </a:endParaRPr>
            </a:p>
          </p:txBody>
        </p:sp>
        <p:grpSp>
          <p:nvGrpSpPr>
            <p:cNvPr id="83" name="Group 55">
              <a:extLst>
                <a:ext uri="{FF2B5EF4-FFF2-40B4-BE49-F238E27FC236}">
                  <a16:creationId xmlns:a16="http://schemas.microsoft.com/office/drawing/2014/main" id="{748F363F-598A-5DBE-07A4-E7706396C922}"/>
                </a:ext>
              </a:extLst>
            </p:cNvPr>
            <p:cNvGrpSpPr/>
            <p:nvPr/>
          </p:nvGrpSpPr>
          <p:grpSpPr>
            <a:xfrm>
              <a:off x="3432303" y="1071757"/>
              <a:ext cx="431104" cy="307775"/>
              <a:chOff x="3126173" y="1114361"/>
              <a:chExt cx="431104" cy="307775"/>
            </a:xfrm>
          </p:grpSpPr>
          <p:sp>
            <p:nvSpPr>
              <p:cNvPr id="85" name="Rectangle 49">
                <a:extLst>
                  <a:ext uri="{FF2B5EF4-FFF2-40B4-BE49-F238E27FC236}">
                    <a16:creationId xmlns:a16="http://schemas.microsoft.com/office/drawing/2014/main" id="{41959D13-B337-0497-F283-252FB5609711}"/>
                  </a:ext>
                </a:extLst>
              </p:cNvPr>
              <p:cNvSpPr/>
              <p:nvPr/>
            </p:nvSpPr>
            <p:spPr>
              <a:xfrm>
                <a:off x="3126173" y="1114361"/>
                <a:ext cx="431104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86" name="Graphic 44">
                <a:extLst>
                  <a:ext uri="{FF2B5EF4-FFF2-40B4-BE49-F238E27FC236}">
                    <a16:creationId xmlns:a16="http://schemas.microsoft.com/office/drawing/2014/main" id="{7DBEA2AB-F8B5-08BD-1641-5CCA8D47DC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204565" y="1122751"/>
                <a:ext cx="274320" cy="252882"/>
              </a:xfrm>
              <a:prstGeom prst="rect">
                <a:avLst/>
              </a:prstGeom>
            </p:spPr>
          </p:pic>
        </p:grpSp>
      </p:grpSp>
      <p:grpSp>
        <p:nvGrpSpPr>
          <p:cNvPr id="288" name="Group 287">
            <a:extLst>
              <a:ext uri="{FF2B5EF4-FFF2-40B4-BE49-F238E27FC236}">
                <a16:creationId xmlns:a16="http://schemas.microsoft.com/office/drawing/2014/main" id="{FE66AC30-5EAD-7273-C2BD-60690FBEC3A5}"/>
              </a:ext>
            </a:extLst>
          </p:cNvPr>
          <p:cNvGrpSpPr/>
          <p:nvPr/>
        </p:nvGrpSpPr>
        <p:grpSpPr>
          <a:xfrm>
            <a:off x="2618649" y="3050231"/>
            <a:ext cx="2906060" cy="2999479"/>
            <a:chOff x="2950250" y="3050231"/>
            <a:chExt cx="2906060" cy="299947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810984A-1973-E074-373C-41FA2BFB4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0250" y="3050231"/>
              <a:ext cx="2906060" cy="2999479"/>
            </a:xfrm>
            <a:prstGeom prst="rect">
              <a:avLst/>
            </a:prstGeom>
            <a:solidFill>
              <a:srgbClr val="C5D3ED">
                <a:alpha val="40000"/>
              </a:srgbClr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SRM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18" name="Rectangle 18">
              <a:extLst>
                <a:ext uri="{FF2B5EF4-FFF2-40B4-BE49-F238E27FC236}">
                  <a16:creationId xmlns:a16="http://schemas.microsoft.com/office/drawing/2014/main" id="{404DBAC2-18F7-7509-B24D-258FC79C2D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0835" y="3372739"/>
              <a:ext cx="1259736" cy="1167428"/>
            </a:xfrm>
            <a:prstGeom prst="rect">
              <a:avLst/>
            </a:prstGeom>
            <a:solidFill>
              <a:srgbClr val="C5D3ED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供应商管理</a:t>
              </a:r>
            </a:p>
          </p:txBody>
        </p:sp>
        <p:sp>
          <p:nvSpPr>
            <p:cNvPr id="16" name="Rectangle 18">
              <a:extLst>
                <a:ext uri="{FF2B5EF4-FFF2-40B4-BE49-F238E27FC236}">
                  <a16:creationId xmlns:a16="http://schemas.microsoft.com/office/drawing/2014/main" id="{E26698F4-350E-C049-E5A1-A718B51A93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6045" y="3615858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供应商准入</a:t>
              </a:r>
            </a:p>
          </p:txBody>
        </p:sp>
        <p:sp>
          <p:nvSpPr>
            <p:cNvPr id="103" name="Rectangle 30">
              <a:extLst>
                <a:ext uri="{FF2B5EF4-FFF2-40B4-BE49-F238E27FC236}">
                  <a16:creationId xmlns:a16="http://schemas.microsoft.com/office/drawing/2014/main" id="{9A73E786-6CEC-FA2E-31C5-1EC4AC4A38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6045" y="3933893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供应商主数据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0" name="Rectangle 18">
              <a:extLst>
                <a:ext uri="{FF2B5EF4-FFF2-40B4-BE49-F238E27FC236}">
                  <a16:creationId xmlns:a16="http://schemas.microsoft.com/office/drawing/2014/main" id="{8215F382-68BB-1B97-CCAA-840E1E959B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4619" y="3376229"/>
              <a:ext cx="1259735" cy="1167428"/>
            </a:xfrm>
            <a:prstGeom prst="rect">
              <a:avLst/>
            </a:prstGeom>
            <a:solidFill>
              <a:srgbClr val="C5D3ED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寻源协同</a:t>
              </a:r>
            </a:p>
          </p:txBody>
        </p:sp>
        <p:sp>
          <p:nvSpPr>
            <p:cNvPr id="293" name="Rectangle 17">
              <a:extLst>
                <a:ext uri="{FF2B5EF4-FFF2-40B4-BE49-F238E27FC236}">
                  <a16:creationId xmlns:a16="http://schemas.microsoft.com/office/drawing/2014/main" id="{1D3F46A8-6AEA-A772-BC95-CC446FDE02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6738" y="3619749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询报价管理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1" name="Rectangle 17">
              <a:extLst>
                <a:ext uri="{FF2B5EF4-FFF2-40B4-BE49-F238E27FC236}">
                  <a16:creationId xmlns:a16="http://schemas.microsoft.com/office/drawing/2014/main" id="{5725C3B3-43B9-537F-C7B6-625F0AE8E3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6738" y="3924319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竞价管理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3" name="Rectangle 18">
              <a:extLst>
                <a:ext uri="{FF2B5EF4-FFF2-40B4-BE49-F238E27FC236}">
                  <a16:creationId xmlns:a16="http://schemas.microsoft.com/office/drawing/2014/main" id="{542C84DF-0CFC-603E-8CE0-FE2C218111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3134" y="4615453"/>
              <a:ext cx="2572725" cy="409423"/>
            </a:xfrm>
            <a:prstGeom prst="rect">
              <a:avLst/>
            </a:prstGeom>
            <a:solidFill>
              <a:srgbClr val="C5D3ED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 anchorCtr="0"/>
            <a:lstStyle/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合同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管理</a:t>
              </a:r>
            </a:p>
          </p:txBody>
        </p:sp>
        <p:sp>
          <p:nvSpPr>
            <p:cNvPr id="28" name="Rectangle 18">
              <a:extLst>
                <a:ext uri="{FF2B5EF4-FFF2-40B4-BE49-F238E27FC236}">
                  <a16:creationId xmlns:a16="http://schemas.microsoft.com/office/drawing/2014/main" id="{A6E260C3-8A19-6E3B-53B3-51E1DD3737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0275" y="5081876"/>
              <a:ext cx="2572725" cy="430310"/>
            </a:xfrm>
            <a:prstGeom prst="rect">
              <a:avLst/>
            </a:prstGeom>
            <a:solidFill>
              <a:srgbClr val="C5D3ED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 anchorCtr="0"/>
            <a:lstStyle/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订单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履行</a:t>
              </a:r>
            </a:p>
          </p:txBody>
        </p:sp>
        <p:sp>
          <p:nvSpPr>
            <p:cNvPr id="29" name="Rectangle 18">
              <a:extLst>
                <a:ext uri="{FF2B5EF4-FFF2-40B4-BE49-F238E27FC236}">
                  <a16:creationId xmlns:a16="http://schemas.microsoft.com/office/drawing/2014/main" id="{0D9DE54B-B5AC-44E7-593C-AA89FD48DE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3134" y="5569727"/>
              <a:ext cx="2559866" cy="411017"/>
            </a:xfrm>
            <a:prstGeom prst="rect">
              <a:avLst/>
            </a:prstGeom>
            <a:solidFill>
              <a:srgbClr val="C5D3ED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 anchorCtr="0"/>
            <a:lstStyle/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财务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协同</a:t>
              </a:r>
            </a:p>
          </p:txBody>
        </p:sp>
        <p:sp>
          <p:nvSpPr>
            <p:cNvPr id="30" name="Rectangle 17">
              <a:extLst>
                <a:ext uri="{FF2B5EF4-FFF2-40B4-BE49-F238E27FC236}">
                  <a16:creationId xmlns:a16="http://schemas.microsoft.com/office/drawing/2014/main" id="{D3852551-1543-EC05-EBF5-F7FB94D8B0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282" y="5653458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结算单对账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1" name="Rectangle 17">
              <a:extLst>
                <a:ext uri="{FF2B5EF4-FFF2-40B4-BE49-F238E27FC236}">
                  <a16:creationId xmlns:a16="http://schemas.microsoft.com/office/drawing/2014/main" id="{7E31F183-EB64-54BF-4381-1DC44EFD0C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1442" y="5653810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发票上传</a:t>
              </a:r>
              <a:r>
                <a: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/</a:t>
              </a: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审核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2" name="Rectangle 17">
              <a:extLst>
                <a:ext uri="{FF2B5EF4-FFF2-40B4-BE49-F238E27FC236}">
                  <a16:creationId xmlns:a16="http://schemas.microsoft.com/office/drawing/2014/main" id="{44136927-858F-6DA3-98D9-F71401917A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1356" y="4712891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年框合同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3" name="Rectangle 17">
              <a:extLst>
                <a:ext uri="{FF2B5EF4-FFF2-40B4-BE49-F238E27FC236}">
                  <a16:creationId xmlns:a16="http://schemas.microsoft.com/office/drawing/2014/main" id="{B7316411-D4C5-299C-1622-5F54EC5A9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4942" y="4712891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采购合同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5" name="Rectangle 17">
              <a:extLst>
                <a:ext uri="{FF2B5EF4-FFF2-40B4-BE49-F238E27FC236}">
                  <a16:creationId xmlns:a16="http://schemas.microsoft.com/office/drawing/2014/main" id="{6DC6D3BB-3AAF-C52A-02D2-5DCB038048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282" y="5178448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采购订单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6" name="Rectangle 17">
              <a:extLst>
                <a:ext uri="{FF2B5EF4-FFF2-40B4-BE49-F238E27FC236}">
                  <a16:creationId xmlns:a16="http://schemas.microsoft.com/office/drawing/2014/main" id="{186652DF-610C-F1BF-04ED-DD93B0BC48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76" y="5178448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服务确认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7" name="Rectangle 18">
              <a:extLst>
                <a:ext uri="{FF2B5EF4-FFF2-40B4-BE49-F238E27FC236}">
                  <a16:creationId xmlns:a16="http://schemas.microsoft.com/office/drawing/2014/main" id="{6278E8FF-BB7D-DCA7-2BF6-971FBC8C52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6045" y="4232781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绩效考核</a:t>
              </a:r>
            </a:p>
          </p:txBody>
        </p:sp>
        <p:sp>
          <p:nvSpPr>
            <p:cNvPr id="99" name="Rectangle 17">
              <a:extLst>
                <a:ext uri="{FF2B5EF4-FFF2-40B4-BE49-F238E27FC236}">
                  <a16:creationId xmlns:a16="http://schemas.microsoft.com/office/drawing/2014/main" id="{271B20AC-F24A-6727-E5CF-95D6D300F1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6738" y="4237201"/>
              <a:ext cx="1008000" cy="252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招投标管理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100" name="矩形 189">
            <a:extLst>
              <a:ext uri="{FF2B5EF4-FFF2-40B4-BE49-F238E27FC236}">
                <a16:creationId xmlns:a16="http://schemas.microsoft.com/office/drawing/2014/main" id="{1DA86A75-B960-2B54-8DEB-60CB24714A25}"/>
              </a:ext>
            </a:extLst>
          </p:cNvPr>
          <p:cNvSpPr/>
          <p:nvPr/>
        </p:nvSpPr>
        <p:spPr>
          <a:xfrm>
            <a:off x="55850" y="1091856"/>
            <a:ext cx="11882135" cy="5138903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81323"/>
              </a:buClr>
              <a:buSzPct val="130000"/>
              <a:tabLst/>
              <a:defRPr/>
            </a:pPr>
            <a:endParaRPr lang="en-US" altLang="zh-CN" sz="1200" b="1">
              <a:latin typeface="+mj-ea"/>
              <a:ea typeface="+mj-ea"/>
            </a:endParaRPr>
          </a:p>
        </p:txBody>
      </p:sp>
      <p:sp>
        <p:nvSpPr>
          <p:cNvPr id="68" name="Rectangle 5">
            <a:extLst>
              <a:ext uri="{FF2B5EF4-FFF2-40B4-BE49-F238E27FC236}">
                <a16:creationId xmlns:a16="http://schemas.microsoft.com/office/drawing/2014/main" id="{F4278DE9-3955-53EB-9783-BF9CF760E40D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grpSp>
        <p:nvGrpSpPr>
          <p:cNvPr id="282" name="Group 281">
            <a:extLst>
              <a:ext uri="{FF2B5EF4-FFF2-40B4-BE49-F238E27FC236}">
                <a16:creationId xmlns:a16="http://schemas.microsoft.com/office/drawing/2014/main" id="{70B7589D-90B6-2F1A-9937-2E8EFC59AD76}"/>
              </a:ext>
            </a:extLst>
          </p:cNvPr>
          <p:cNvGrpSpPr/>
          <p:nvPr/>
        </p:nvGrpSpPr>
        <p:grpSpPr>
          <a:xfrm>
            <a:off x="6730721" y="4334113"/>
            <a:ext cx="2077961" cy="1716155"/>
            <a:chOff x="8121265" y="4061392"/>
            <a:chExt cx="2077961" cy="1716155"/>
          </a:xfrm>
        </p:grpSpPr>
        <p:sp>
          <p:nvSpPr>
            <p:cNvPr id="43" name="Rectangle 18">
              <a:extLst>
                <a:ext uri="{FF2B5EF4-FFF2-40B4-BE49-F238E27FC236}">
                  <a16:creationId xmlns:a16="http://schemas.microsoft.com/office/drawing/2014/main" id="{63B4EB4D-803B-B99B-F427-61856A1A59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1265" y="4061392"/>
              <a:ext cx="2077961" cy="1716155"/>
            </a:xfrm>
            <a:prstGeom prst="rect">
              <a:avLst/>
            </a:prstGeom>
            <a:solidFill>
              <a:srgbClr val="C0E9FF">
                <a:alpha val="40000"/>
              </a:srgbClr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SAP ERP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7DB22AF5-BAC5-902E-F5C8-B86B603DE846}"/>
                </a:ext>
              </a:extLst>
            </p:cNvPr>
            <p:cNvSpPr txBox="1"/>
            <p:nvPr/>
          </p:nvSpPr>
          <p:spPr>
            <a:xfrm>
              <a:off x="9241430" y="4350445"/>
              <a:ext cx="900000" cy="288000"/>
            </a:xfrm>
            <a:prstGeom prst="rect">
              <a:avLst/>
            </a:prstGeom>
            <a:solidFill>
              <a:srgbClr val="81D3F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1" algn="ctr" defTabSz="6000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zh-CN" altLang="en-US" sz="1200" kern="1200">
                  <a:solidFill>
                    <a:schemeClr val="tx1"/>
                  </a:solidFill>
                  <a:cs typeface="+mn-ea"/>
                  <a:sym typeface="+mn-lt"/>
                </a:rPr>
                <a:t>服务主数据</a:t>
              </a:r>
              <a:endParaRPr lang="de-DE" sz="1200" kern="1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91AC2D51-2161-8661-1945-3EE380E4E1BA}"/>
                </a:ext>
              </a:extLst>
            </p:cNvPr>
            <p:cNvSpPr txBox="1"/>
            <p:nvPr/>
          </p:nvSpPr>
          <p:spPr>
            <a:xfrm>
              <a:off x="8219741" y="4863280"/>
              <a:ext cx="900000" cy="288000"/>
            </a:xfrm>
            <a:prstGeom prst="rect">
              <a:avLst/>
            </a:prstGeom>
            <a:solidFill>
              <a:srgbClr val="81D3F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1" algn="ctr" defTabSz="6000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zh-CN" altLang="en-US" sz="1200">
                  <a:solidFill>
                    <a:schemeClr val="tx1"/>
                  </a:solidFill>
                  <a:cs typeface="+mn-ea"/>
                  <a:sym typeface="+mn-lt"/>
                </a:rPr>
                <a:t>应付暂估</a:t>
              </a:r>
              <a:endParaRPr lang="de-DE" sz="1200" kern="1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7C112D3C-A170-C5DA-72CE-C6599B5C9BA0}"/>
                </a:ext>
              </a:extLst>
            </p:cNvPr>
            <p:cNvSpPr txBox="1"/>
            <p:nvPr/>
          </p:nvSpPr>
          <p:spPr>
            <a:xfrm>
              <a:off x="9241004" y="4877004"/>
              <a:ext cx="900000" cy="288000"/>
            </a:xfrm>
            <a:prstGeom prst="rect">
              <a:avLst/>
            </a:prstGeom>
            <a:solidFill>
              <a:srgbClr val="81D3F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1" algn="ctr" defTabSz="6000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zh-CN" altLang="en-US" sz="1200">
                  <a:solidFill>
                    <a:schemeClr val="tx1"/>
                  </a:solidFill>
                  <a:cs typeface="+mn-ea"/>
                  <a:sym typeface="+mn-lt"/>
                </a:rPr>
                <a:t>应付账款</a:t>
              </a:r>
              <a:endParaRPr lang="de-DE" sz="1200" kern="1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394C7ED8-678D-FE15-F153-7B7A84033A2B}"/>
                </a:ext>
              </a:extLst>
            </p:cNvPr>
            <p:cNvSpPr txBox="1"/>
            <p:nvPr/>
          </p:nvSpPr>
          <p:spPr>
            <a:xfrm>
              <a:off x="8245521" y="5415011"/>
              <a:ext cx="900000" cy="288000"/>
            </a:xfrm>
            <a:prstGeom prst="rect">
              <a:avLst/>
            </a:prstGeom>
            <a:solidFill>
              <a:srgbClr val="81D3F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1" algn="ctr" defTabSz="6000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zh-CN" altLang="en-US" sz="1200">
                  <a:solidFill>
                    <a:schemeClr val="tx1"/>
                  </a:solidFill>
                  <a:cs typeface="+mn-ea"/>
                  <a:sym typeface="+mn-lt"/>
                </a:rPr>
                <a:t>发票校验</a:t>
              </a:r>
              <a:endParaRPr lang="de-DE" sz="1200" kern="1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28" name="文本框 127">
              <a:extLst>
                <a:ext uri="{FF2B5EF4-FFF2-40B4-BE49-F238E27FC236}">
                  <a16:creationId xmlns:a16="http://schemas.microsoft.com/office/drawing/2014/main" id="{51A7BC38-8138-F466-285C-40E73BED99D6}"/>
                </a:ext>
              </a:extLst>
            </p:cNvPr>
            <p:cNvSpPr txBox="1"/>
            <p:nvPr/>
          </p:nvSpPr>
          <p:spPr>
            <a:xfrm>
              <a:off x="9241004" y="5418534"/>
              <a:ext cx="900000" cy="288000"/>
            </a:xfrm>
            <a:prstGeom prst="rect">
              <a:avLst/>
            </a:prstGeom>
            <a:solidFill>
              <a:srgbClr val="81D3F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1" algn="ctr" defTabSz="6000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zh-CN" altLang="en-US" sz="1200" kern="1200">
                  <a:solidFill>
                    <a:schemeClr val="tx1"/>
                  </a:solidFill>
                  <a:cs typeface="+mn-ea"/>
                  <a:sym typeface="+mn-lt"/>
                </a:rPr>
                <a:t>往来清账</a:t>
              </a:r>
              <a:endParaRPr lang="de-DE" sz="1200" kern="1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27" name="文本框 126">
              <a:extLst>
                <a:ext uri="{FF2B5EF4-FFF2-40B4-BE49-F238E27FC236}">
                  <a16:creationId xmlns:a16="http://schemas.microsoft.com/office/drawing/2014/main" id="{537F6AF6-3D1C-E755-E43A-2DF5AD845BFF}"/>
                </a:ext>
              </a:extLst>
            </p:cNvPr>
            <p:cNvSpPr txBox="1"/>
            <p:nvPr/>
          </p:nvSpPr>
          <p:spPr>
            <a:xfrm>
              <a:off x="8219741" y="4356792"/>
              <a:ext cx="900000" cy="288000"/>
            </a:xfrm>
            <a:prstGeom prst="rect">
              <a:avLst/>
            </a:prstGeom>
            <a:solidFill>
              <a:srgbClr val="81D3F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1" algn="ctr" defTabSz="6000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zh-CN" altLang="en-US" sz="1200">
                  <a:solidFill>
                    <a:schemeClr val="tx1"/>
                  </a:solidFill>
                  <a:cs typeface="+mn-ea"/>
                  <a:sym typeface="+mn-lt"/>
                </a:rPr>
                <a:t>项目</a:t>
              </a:r>
              <a:r>
                <a:rPr lang="zh-CN" altLang="en-US" sz="1200" kern="1200">
                  <a:solidFill>
                    <a:schemeClr val="tx1"/>
                  </a:solidFill>
                  <a:cs typeface="+mn-ea"/>
                  <a:sym typeface="+mn-lt"/>
                </a:rPr>
                <a:t>主数据</a:t>
              </a:r>
              <a:endParaRPr lang="de-DE" sz="1200" kern="1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83" name="Group 282">
            <a:extLst>
              <a:ext uri="{FF2B5EF4-FFF2-40B4-BE49-F238E27FC236}">
                <a16:creationId xmlns:a16="http://schemas.microsoft.com/office/drawing/2014/main" id="{DBB95068-9D51-F785-136B-C63984EF5FA1}"/>
              </a:ext>
            </a:extLst>
          </p:cNvPr>
          <p:cNvGrpSpPr/>
          <p:nvPr/>
        </p:nvGrpSpPr>
        <p:grpSpPr>
          <a:xfrm>
            <a:off x="6767486" y="3072897"/>
            <a:ext cx="2076205" cy="604219"/>
            <a:chOff x="8088869" y="3142545"/>
            <a:chExt cx="2076205" cy="604219"/>
          </a:xfrm>
        </p:grpSpPr>
        <p:sp>
          <p:nvSpPr>
            <p:cNvPr id="64" name="Rectangle 18">
              <a:extLst>
                <a:ext uri="{FF2B5EF4-FFF2-40B4-BE49-F238E27FC236}">
                  <a16:creationId xmlns:a16="http://schemas.microsoft.com/office/drawing/2014/main" id="{EB298ED1-FAA3-E801-D0D5-C9B0DE061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8869" y="3142545"/>
              <a:ext cx="2076205" cy="604219"/>
            </a:xfrm>
            <a:prstGeom prst="rect">
              <a:avLst/>
            </a:prstGeom>
            <a:solidFill>
              <a:srgbClr val="C5D3ED">
                <a:alpha val="40000"/>
              </a:srgbClr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结算平台</a:t>
              </a:r>
            </a:p>
          </p:txBody>
        </p:sp>
        <p:sp>
          <p:nvSpPr>
            <p:cNvPr id="97" name="Rectangle 17">
              <a:extLst>
                <a:ext uri="{FF2B5EF4-FFF2-40B4-BE49-F238E27FC236}">
                  <a16:creationId xmlns:a16="http://schemas.microsoft.com/office/drawing/2014/main" id="{87CF77C4-AE11-BAC1-2210-776C1E4AFF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6653" y="3381647"/>
              <a:ext cx="900000" cy="288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费用明细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98" name="Rectangle 17">
              <a:extLst>
                <a:ext uri="{FF2B5EF4-FFF2-40B4-BE49-F238E27FC236}">
                  <a16:creationId xmlns:a16="http://schemas.microsoft.com/office/drawing/2014/main" id="{766E9DE0-3AD9-A620-6FC5-55E745111B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15956" y="3386264"/>
              <a:ext cx="900000" cy="288000"/>
            </a:xfrm>
            <a:prstGeom prst="rect">
              <a:avLst/>
            </a:prstGeom>
            <a:solidFill>
              <a:srgbClr val="7C9CD6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应付账款余额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291" name="Group 290">
            <a:extLst>
              <a:ext uri="{FF2B5EF4-FFF2-40B4-BE49-F238E27FC236}">
                <a16:creationId xmlns:a16="http://schemas.microsoft.com/office/drawing/2014/main" id="{643A395C-13B7-8A0D-C38D-27570AA9A9B2}"/>
              </a:ext>
            </a:extLst>
          </p:cNvPr>
          <p:cNvGrpSpPr/>
          <p:nvPr/>
        </p:nvGrpSpPr>
        <p:grpSpPr>
          <a:xfrm>
            <a:off x="7261252" y="1477711"/>
            <a:ext cx="1317969" cy="1227606"/>
            <a:chOff x="8021244" y="1455990"/>
            <a:chExt cx="1317969" cy="1227606"/>
          </a:xfrm>
        </p:grpSpPr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3772F819-D521-B498-F383-8AD75EFA8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1244" y="1455990"/>
              <a:ext cx="1317969" cy="1227606"/>
            </a:xfrm>
            <a:prstGeom prst="rect">
              <a:avLst/>
            </a:prstGeom>
            <a:solidFill>
              <a:srgbClr val="C5D3ED">
                <a:alpha val="40000"/>
              </a:srgbClr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资金管理平台</a:t>
              </a:r>
            </a:p>
          </p:txBody>
        </p:sp>
        <p:sp>
          <p:nvSpPr>
            <p:cNvPr id="54" name="Rectangle 84">
              <a:extLst>
                <a:ext uri="{FF2B5EF4-FFF2-40B4-BE49-F238E27FC236}">
                  <a16:creationId xmlns:a16="http://schemas.microsoft.com/office/drawing/2014/main" id="{5D294140-2CC3-07F8-16A7-3793A4E17E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0361" y="1798003"/>
              <a:ext cx="1008000" cy="288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资金支付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57" name="Rectangle 84">
              <a:extLst>
                <a:ext uri="{FF2B5EF4-FFF2-40B4-BE49-F238E27FC236}">
                  <a16:creationId xmlns:a16="http://schemas.microsoft.com/office/drawing/2014/main" id="{75D60AE7-FBF4-74BB-376F-A245638942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0361" y="2312312"/>
              <a:ext cx="1008000" cy="288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回单确认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6E970BEC-F55B-2C6F-AE3F-E4C37209785F}"/>
              </a:ext>
            </a:extLst>
          </p:cNvPr>
          <p:cNvGrpSpPr/>
          <p:nvPr/>
        </p:nvGrpSpPr>
        <p:grpSpPr>
          <a:xfrm>
            <a:off x="168307" y="2619910"/>
            <a:ext cx="1106586" cy="2200254"/>
            <a:chOff x="648015" y="3330478"/>
            <a:chExt cx="1106586" cy="2200254"/>
          </a:xfrm>
        </p:grpSpPr>
        <p:sp>
          <p:nvSpPr>
            <p:cNvPr id="44" name="Rectangle 18">
              <a:extLst>
                <a:ext uri="{FF2B5EF4-FFF2-40B4-BE49-F238E27FC236}">
                  <a16:creationId xmlns:a16="http://schemas.microsoft.com/office/drawing/2014/main" id="{62D3B640-4A90-B350-049B-3E2334A461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8015" y="3330478"/>
              <a:ext cx="1106586" cy="2200254"/>
            </a:xfrm>
            <a:prstGeom prst="rect">
              <a:avLst/>
            </a:prstGeom>
            <a:solidFill>
              <a:srgbClr val="F2F2F2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MPM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34" name="Rectangle 17">
              <a:extLst>
                <a:ext uri="{FF2B5EF4-FFF2-40B4-BE49-F238E27FC236}">
                  <a16:creationId xmlns:a16="http://schemas.microsoft.com/office/drawing/2014/main" id="{55054CB2-60FD-98A9-5029-40AF50469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4670" y="4132590"/>
              <a:ext cx="900000" cy="288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报销申请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04" name="Rectangle 30">
              <a:extLst>
                <a:ext uri="{FF2B5EF4-FFF2-40B4-BE49-F238E27FC236}">
                  <a16:creationId xmlns:a16="http://schemas.microsoft.com/office/drawing/2014/main" id="{5C039F13-0454-07BF-6A56-3A3BEC8372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4127" y="3674890"/>
              <a:ext cx="900000" cy="288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项目预算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27" name="Rectangle 17">
              <a:extLst>
                <a:ext uri="{FF2B5EF4-FFF2-40B4-BE49-F238E27FC236}">
                  <a16:creationId xmlns:a16="http://schemas.microsoft.com/office/drawing/2014/main" id="{05D71A79-45FA-B857-D63A-5D8164D10E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4127" y="4681708"/>
              <a:ext cx="900000" cy="288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立项审批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9" name="Rectangle 17">
              <a:extLst>
                <a:ext uri="{FF2B5EF4-FFF2-40B4-BE49-F238E27FC236}">
                  <a16:creationId xmlns:a16="http://schemas.microsoft.com/office/drawing/2014/main" id="{B3349C54-6DE3-4D37-E746-4B6416AAD6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4670" y="5162546"/>
              <a:ext cx="900000" cy="288000"/>
            </a:xfrm>
            <a:prstGeom prst="rect">
              <a:avLst/>
            </a:prstGeom>
            <a:solidFill>
              <a:srgbClr val="E3DED1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项目管理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cxnSp>
        <p:nvCxnSpPr>
          <p:cNvPr id="87" name="连接符: 肘形 69">
            <a:extLst>
              <a:ext uri="{FF2B5EF4-FFF2-40B4-BE49-F238E27FC236}">
                <a16:creationId xmlns:a16="http://schemas.microsoft.com/office/drawing/2014/main" id="{590F4157-4703-490A-9F3B-21C0D183A10E}"/>
              </a:ext>
            </a:extLst>
          </p:cNvPr>
          <p:cNvCxnSpPr>
            <a:cxnSpLocks/>
            <a:stCxn id="44" idx="3"/>
            <a:endCxn id="40" idx="1"/>
          </p:cNvCxnSpPr>
          <p:nvPr/>
        </p:nvCxnSpPr>
        <p:spPr>
          <a:xfrm flipV="1">
            <a:off x="1274893" y="2079305"/>
            <a:ext cx="970801" cy="1640732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文本框 29">
            <a:extLst>
              <a:ext uri="{FF2B5EF4-FFF2-40B4-BE49-F238E27FC236}">
                <a16:creationId xmlns:a16="http://schemas.microsoft.com/office/drawing/2014/main" id="{A16773A8-4118-9DDE-8E1F-E10F3365F257}"/>
              </a:ext>
            </a:extLst>
          </p:cNvPr>
          <p:cNvSpPr txBox="1"/>
          <p:nvPr/>
        </p:nvSpPr>
        <p:spPr>
          <a:xfrm>
            <a:off x="1828561" y="2567433"/>
            <a:ext cx="531337" cy="96422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小额零星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采购在共享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直接报销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cxnSp>
        <p:nvCxnSpPr>
          <p:cNvPr id="137" name="连接符: 肘形 69">
            <a:extLst>
              <a:ext uri="{FF2B5EF4-FFF2-40B4-BE49-F238E27FC236}">
                <a16:creationId xmlns:a16="http://schemas.microsoft.com/office/drawing/2014/main" id="{8AF18BDE-6AFF-6521-1DC6-45412AFE6BA2}"/>
              </a:ext>
            </a:extLst>
          </p:cNvPr>
          <p:cNvCxnSpPr>
            <a:cxnSpLocks/>
            <a:stCxn id="44" idx="3"/>
            <a:endCxn id="28" idx="1"/>
          </p:cNvCxnSpPr>
          <p:nvPr/>
        </p:nvCxnSpPr>
        <p:spPr>
          <a:xfrm>
            <a:off x="1274893" y="3720037"/>
            <a:ext cx="1463781" cy="1576994"/>
          </a:xfrm>
          <a:prstGeom prst="bentConnector3">
            <a:avLst>
              <a:gd name="adj1" fmla="val 3215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5E0311C1-BEF6-F828-36AC-46CF8CB717C6}"/>
              </a:ext>
            </a:extLst>
          </p:cNvPr>
          <p:cNvGrpSpPr/>
          <p:nvPr/>
        </p:nvGrpSpPr>
        <p:grpSpPr>
          <a:xfrm>
            <a:off x="2245694" y="1496605"/>
            <a:ext cx="3768616" cy="1165400"/>
            <a:chOff x="2949071" y="1496605"/>
            <a:chExt cx="3768616" cy="1165400"/>
          </a:xfrm>
        </p:grpSpPr>
        <p:sp>
          <p:nvSpPr>
            <p:cNvPr id="40" name="Rectangle 18">
              <a:extLst>
                <a:ext uri="{FF2B5EF4-FFF2-40B4-BE49-F238E27FC236}">
                  <a16:creationId xmlns:a16="http://schemas.microsoft.com/office/drawing/2014/main" id="{FBD981CB-3606-A850-645B-4404AB7FD3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9071" y="1496605"/>
              <a:ext cx="3768616" cy="1165400"/>
            </a:xfrm>
            <a:prstGeom prst="rect">
              <a:avLst/>
            </a:prstGeom>
            <a:solidFill>
              <a:srgbClr val="E8EDF8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FSSC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38" name="Rectangle 84">
              <a:extLst>
                <a:ext uri="{FF2B5EF4-FFF2-40B4-BE49-F238E27FC236}">
                  <a16:creationId xmlns:a16="http://schemas.microsoft.com/office/drawing/2014/main" id="{79517A75-9E37-67DD-ED9E-E12247BF27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3438" y="1789687"/>
              <a:ext cx="1008000" cy="288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提出付款申请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41" name="Rectangle 85">
              <a:extLst>
                <a:ext uri="{FF2B5EF4-FFF2-40B4-BE49-F238E27FC236}">
                  <a16:creationId xmlns:a16="http://schemas.microsoft.com/office/drawing/2014/main" id="{98B473A6-18A4-B43F-F7A3-3761F6CCE6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285" y="2268001"/>
              <a:ext cx="1008000" cy="288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银行付款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（银企直连）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74" name="Rectangle 84">
              <a:extLst>
                <a:ext uri="{FF2B5EF4-FFF2-40B4-BE49-F238E27FC236}">
                  <a16:creationId xmlns:a16="http://schemas.microsoft.com/office/drawing/2014/main" id="{AE1A1E8D-0C93-55A4-47BD-8CF30CF70F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0250" y="1789687"/>
              <a:ext cx="1008000" cy="288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费用申请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76" name="Rectangle 84">
              <a:extLst>
                <a:ext uri="{FF2B5EF4-FFF2-40B4-BE49-F238E27FC236}">
                  <a16:creationId xmlns:a16="http://schemas.microsoft.com/office/drawing/2014/main" id="{1BB32611-D945-FBBF-A3D8-C48DB8C61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6844" y="1798003"/>
              <a:ext cx="1008000" cy="288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费用报销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Rectangle 85">
              <a:extLst>
                <a:ext uri="{FF2B5EF4-FFF2-40B4-BE49-F238E27FC236}">
                  <a16:creationId xmlns:a16="http://schemas.microsoft.com/office/drawing/2014/main" id="{CAC3C90E-3C1A-AC9E-7EC1-AB30C9A0D1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3776" y="2268001"/>
              <a:ext cx="1008000" cy="288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付款确认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（银企直连）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cxnSp>
        <p:nvCxnSpPr>
          <p:cNvPr id="148" name="直接箭头连接符 205">
            <a:extLst>
              <a:ext uri="{FF2B5EF4-FFF2-40B4-BE49-F238E27FC236}">
                <a16:creationId xmlns:a16="http://schemas.microsoft.com/office/drawing/2014/main" id="{865B4446-E53E-BBDF-892C-76014D697C39}"/>
              </a:ext>
            </a:extLst>
          </p:cNvPr>
          <p:cNvCxnSpPr>
            <a:cxnSpLocks/>
            <a:stCxn id="40" idx="3"/>
            <a:endCxn id="45" idx="1"/>
          </p:cNvCxnSpPr>
          <p:nvPr/>
        </p:nvCxnSpPr>
        <p:spPr>
          <a:xfrm>
            <a:off x="6014310" y="2079305"/>
            <a:ext cx="1246942" cy="1220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>
            <a:extLst>
              <a:ext uri="{FF2B5EF4-FFF2-40B4-BE49-F238E27FC236}">
                <a16:creationId xmlns:a16="http://schemas.microsoft.com/office/drawing/2014/main" id="{D2715621-791A-CE11-0B94-C2B4331D2CFC}"/>
              </a:ext>
            </a:extLst>
          </p:cNvPr>
          <p:cNvSpPr txBox="1"/>
          <p:nvPr/>
        </p:nvSpPr>
        <p:spPr>
          <a:xfrm>
            <a:off x="6107869" y="1770275"/>
            <a:ext cx="799201" cy="253916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>
            <a:defPPr>
              <a:defRPr lang="zh-CN"/>
            </a:defPPr>
            <a:lvl1pPr>
              <a:defRPr sz="1050">
                <a:solidFill>
                  <a:srgbClr val="005F92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/>
              <a:t>付款指令</a:t>
            </a:r>
            <a:endParaRPr lang="en-US"/>
          </a:p>
        </p:txBody>
      </p:sp>
      <p:cxnSp>
        <p:nvCxnSpPr>
          <p:cNvPr id="154" name="直接箭头连接符 205">
            <a:extLst>
              <a:ext uri="{FF2B5EF4-FFF2-40B4-BE49-F238E27FC236}">
                <a16:creationId xmlns:a16="http://schemas.microsoft.com/office/drawing/2014/main" id="{A59197D0-6167-B75D-CBB9-29A3B72272B2}"/>
              </a:ext>
            </a:extLst>
          </p:cNvPr>
          <p:cNvCxnSpPr>
            <a:cxnSpLocks/>
          </p:cNvCxnSpPr>
          <p:nvPr/>
        </p:nvCxnSpPr>
        <p:spPr>
          <a:xfrm flipV="1">
            <a:off x="5690422" y="3372739"/>
            <a:ext cx="981689" cy="680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TextBox 156">
            <a:extLst>
              <a:ext uri="{FF2B5EF4-FFF2-40B4-BE49-F238E27FC236}">
                <a16:creationId xmlns:a16="http://schemas.microsoft.com/office/drawing/2014/main" id="{997D2275-08BC-07D8-7773-25467ABF364C}"/>
              </a:ext>
            </a:extLst>
          </p:cNvPr>
          <p:cNvSpPr txBox="1"/>
          <p:nvPr/>
        </p:nvSpPr>
        <p:spPr>
          <a:xfrm>
            <a:off x="5708268" y="3781936"/>
            <a:ext cx="799201" cy="253916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>
            <a:defPPr>
              <a:defRPr lang="zh-CN"/>
            </a:defPPr>
            <a:lvl1pPr>
              <a:defRPr sz="1050">
                <a:solidFill>
                  <a:srgbClr val="005F92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/>
              <a:t>费用明细</a:t>
            </a:r>
            <a:endParaRPr lang="en-US" altLang="zh-CN"/>
          </a:p>
          <a:p>
            <a:r>
              <a:rPr lang="zh-CN" altLang="en-US"/>
              <a:t>结果返回</a:t>
            </a:r>
            <a:endParaRPr lang="en-US"/>
          </a:p>
        </p:txBody>
      </p:sp>
      <p:sp>
        <p:nvSpPr>
          <p:cNvPr id="158" name="文本框 29">
            <a:extLst>
              <a:ext uri="{FF2B5EF4-FFF2-40B4-BE49-F238E27FC236}">
                <a16:creationId xmlns:a16="http://schemas.microsoft.com/office/drawing/2014/main" id="{29743631-F442-6B0D-50EA-B84A80029C66}"/>
              </a:ext>
            </a:extLst>
          </p:cNvPr>
          <p:cNvSpPr txBox="1"/>
          <p:nvPr/>
        </p:nvSpPr>
        <p:spPr>
          <a:xfrm>
            <a:off x="1825862" y="4462695"/>
            <a:ext cx="728093" cy="807117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非小额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零星采购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遵循</a:t>
            </a:r>
            <a:r>
              <a:rPr lang="en-US" altLang="zh-CN" sz="1050">
                <a:solidFill>
                  <a:srgbClr val="005F92"/>
                </a:solidFill>
                <a:latin typeface="+mj-ea"/>
                <a:ea typeface="+mj-ea"/>
              </a:rPr>
              <a:t>PTP</a:t>
            </a:r>
          </a:p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流程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cxnSp>
        <p:nvCxnSpPr>
          <p:cNvPr id="159" name="直接箭头连接符 205">
            <a:extLst>
              <a:ext uri="{FF2B5EF4-FFF2-40B4-BE49-F238E27FC236}">
                <a16:creationId xmlns:a16="http://schemas.microsoft.com/office/drawing/2014/main" id="{934E2E0A-0A10-8183-3561-11369CF19062}"/>
              </a:ext>
            </a:extLst>
          </p:cNvPr>
          <p:cNvCxnSpPr>
            <a:cxnSpLocks/>
          </p:cNvCxnSpPr>
          <p:nvPr/>
        </p:nvCxnSpPr>
        <p:spPr>
          <a:xfrm flipH="1">
            <a:off x="5690422" y="3615858"/>
            <a:ext cx="911351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直接箭头连接符 205">
            <a:extLst>
              <a:ext uri="{FF2B5EF4-FFF2-40B4-BE49-F238E27FC236}">
                <a16:creationId xmlns:a16="http://schemas.microsoft.com/office/drawing/2014/main" id="{8475DEDB-4F74-1BCE-C2E9-3AFDAE6D09AA}"/>
              </a:ext>
            </a:extLst>
          </p:cNvPr>
          <p:cNvCxnSpPr>
            <a:cxnSpLocks/>
          </p:cNvCxnSpPr>
          <p:nvPr/>
        </p:nvCxnSpPr>
        <p:spPr>
          <a:xfrm>
            <a:off x="5594526" y="5096902"/>
            <a:ext cx="1002947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Box 178">
            <a:extLst>
              <a:ext uri="{FF2B5EF4-FFF2-40B4-BE49-F238E27FC236}">
                <a16:creationId xmlns:a16="http://schemas.microsoft.com/office/drawing/2014/main" id="{D45BFAC2-C9FA-5E50-5640-FD4A1D821855}"/>
              </a:ext>
            </a:extLst>
          </p:cNvPr>
          <p:cNvSpPr txBox="1"/>
          <p:nvPr/>
        </p:nvSpPr>
        <p:spPr>
          <a:xfrm>
            <a:off x="5655104" y="3049547"/>
            <a:ext cx="799201" cy="253916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>
            <a:defPPr>
              <a:defRPr lang="zh-CN"/>
            </a:defPPr>
            <a:lvl1pPr>
              <a:defRPr sz="1050">
                <a:solidFill>
                  <a:srgbClr val="005F92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/>
              <a:t>供应商费用</a:t>
            </a:r>
            <a:endParaRPr lang="en-US" altLang="zh-CN"/>
          </a:p>
          <a:p>
            <a:r>
              <a:rPr lang="zh-CN" altLang="en-US"/>
              <a:t>明细查询</a:t>
            </a:r>
            <a:endParaRPr lang="en-US"/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B2EF30D3-F942-CE22-7657-19BBBB8AAA57}"/>
              </a:ext>
            </a:extLst>
          </p:cNvPr>
          <p:cNvSpPr txBox="1"/>
          <p:nvPr/>
        </p:nvSpPr>
        <p:spPr>
          <a:xfrm>
            <a:off x="5649689" y="4544449"/>
            <a:ext cx="949993" cy="552453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>
            <a:defPPr>
              <a:defRPr lang="zh-CN"/>
            </a:defPPr>
            <a:lvl1pPr>
              <a:defRPr sz="1050">
                <a:solidFill>
                  <a:srgbClr val="005F92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/>
              <a:t>财务凭证</a:t>
            </a:r>
            <a:endParaRPr lang="en-US" altLang="zh-CN"/>
          </a:p>
          <a:p>
            <a:r>
              <a:rPr lang="zh-CN" altLang="en-US"/>
              <a:t>（渠道、品类、</a:t>
            </a:r>
            <a:endParaRPr lang="en-US" altLang="zh-CN"/>
          </a:p>
          <a:p>
            <a:r>
              <a:rPr lang="zh-CN" altLang="en-US"/>
              <a:t>区域）</a:t>
            </a:r>
            <a:endParaRPr lang="en-US"/>
          </a:p>
        </p:txBody>
      </p:sp>
      <p:cxnSp>
        <p:nvCxnSpPr>
          <p:cNvPr id="181" name="连接符: 肘形 69">
            <a:extLst>
              <a:ext uri="{FF2B5EF4-FFF2-40B4-BE49-F238E27FC236}">
                <a16:creationId xmlns:a16="http://schemas.microsoft.com/office/drawing/2014/main" id="{0BCA0FD6-EE58-62AC-5C31-95D1385553BC}"/>
              </a:ext>
            </a:extLst>
          </p:cNvPr>
          <p:cNvCxnSpPr>
            <a:cxnSpLocks/>
            <a:stCxn id="43" idx="3"/>
            <a:endCxn id="40" idx="2"/>
          </p:cNvCxnSpPr>
          <p:nvPr/>
        </p:nvCxnSpPr>
        <p:spPr>
          <a:xfrm flipH="1" flipV="1">
            <a:off x="4130002" y="2662005"/>
            <a:ext cx="4678680" cy="2530186"/>
          </a:xfrm>
          <a:prstGeom prst="bentConnector4">
            <a:avLst>
              <a:gd name="adj1" fmla="val -3383"/>
              <a:gd name="adj2" fmla="val 9158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TextBox 186">
            <a:extLst>
              <a:ext uri="{FF2B5EF4-FFF2-40B4-BE49-F238E27FC236}">
                <a16:creationId xmlns:a16="http://schemas.microsoft.com/office/drawing/2014/main" id="{8D777A7C-8A65-186A-89F5-C8B5B3BD68DB}"/>
              </a:ext>
            </a:extLst>
          </p:cNvPr>
          <p:cNvSpPr txBox="1"/>
          <p:nvPr/>
        </p:nvSpPr>
        <p:spPr>
          <a:xfrm>
            <a:off x="8091949" y="3926130"/>
            <a:ext cx="799201" cy="253916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>
            <a:defPPr>
              <a:defRPr lang="zh-CN"/>
            </a:defPPr>
            <a:lvl1pPr>
              <a:defRPr sz="1050">
                <a:solidFill>
                  <a:srgbClr val="005F92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/>
              <a:t>付款申请</a:t>
            </a:r>
            <a:endParaRPr lang="en-US"/>
          </a:p>
        </p:txBody>
      </p:sp>
      <p:sp>
        <p:nvSpPr>
          <p:cNvPr id="262" name="Rectangle 18">
            <a:extLst>
              <a:ext uri="{FF2B5EF4-FFF2-40B4-BE49-F238E27FC236}">
                <a16:creationId xmlns:a16="http://schemas.microsoft.com/office/drawing/2014/main" id="{FE30E43F-C3E4-44E3-7419-38A9564CFF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171" y="1353485"/>
            <a:ext cx="1106586" cy="1099791"/>
          </a:xfrm>
          <a:prstGeom prst="rect">
            <a:avLst/>
          </a:prstGeom>
          <a:solidFill>
            <a:schemeClr val="bg1">
              <a:lumMod val="85000"/>
              <a:alpha val="70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推广费系统</a:t>
            </a:r>
          </a:p>
        </p:txBody>
      </p:sp>
      <p:sp>
        <p:nvSpPr>
          <p:cNvPr id="263" name="Rectangle 17">
            <a:extLst>
              <a:ext uri="{FF2B5EF4-FFF2-40B4-BE49-F238E27FC236}">
                <a16:creationId xmlns:a16="http://schemas.microsoft.com/office/drawing/2014/main" id="{45BCDF1F-8112-ECB3-B4AE-D95CBBBB6F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205" y="1660325"/>
            <a:ext cx="1058251" cy="21774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管理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64" name="Rectangle 17">
            <a:extLst>
              <a:ext uri="{FF2B5EF4-FFF2-40B4-BE49-F238E27FC236}">
                <a16:creationId xmlns:a16="http://schemas.microsoft.com/office/drawing/2014/main" id="{EAB378E8-0D7B-2ACF-FCDA-19B2B77AA7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505" y="1950887"/>
            <a:ext cx="1058251" cy="23348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寻源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报价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合同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65" name="Rectangle 17">
            <a:extLst>
              <a:ext uri="{FF2B5EF4-FFF2-40B4-BE49-F238E27FC236}">
                <a16:creationId xmlns:a16="http://schemas.microsoft.com/office/drawing/2014/main" id="{85A8F45F-209D-701D-C1F1-434186575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089" y="2224405"/>
            <a:ext cx="1058251" cy="21774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验收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266" name="Group 265">
            <a:extLst>
              <a:ext uri="{FF2B5EF4-FFF2-40B4-BE49-F238E27FC236}">
                <a16:creationId xmlns:a16="http://schemas.microsoft.com/office/drawing/2014/main" id="{1E62FECD-03D4-E380-C0F8-87247C49EA40}"/>
              </a:ext>
            </a:extLst>
          </p:cNvPr>
          <p:cNvGrpSpPr/>
          <p:nvPr/>
        </p:nvGrpSpPr>
        <p:grpSpPr>
          <a:xfrm>
            <a:off x="164300" y="5116173"/>
            <a:ext cx="1106586" cy="1074570"/>
            <a:chOff x="660056" y="1327268"/>
            <a:chExt cx="1106586" cy="1074570"/>
          </a:xfrm>
        </p:grpSpPr>
        <p:sp>
          <p:nvSpPr>
            <p:cNvPr id="267" name="Rectangle 18">
              <a:extLst>
                <a:ext uri="{FF2B5EF4-FFF2-40B4-BE49-F238E27FC236}">
                  <a16:creationId xmlns:a16="http://schemas.microsoft.com/office/drawing/2014/main" id="{17FDCD51-F247-E46E-A2F8-28680A4145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0056" y="1327268"/>
              <a:ext cx="1106586" cy="1074570"/>
            </a:xfrm>
            <a:prstGeom prst="rect">
              <a:avLst/>
            </a:prstGeom>
            <a:solidFill>
              <a:srgbClr val="E8EDF8"/>
            </a:solidFill>
            <a:ln w="12700" cmpd="sng" algn="ctr">
              <a:noFill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b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PBF</a:t>
              </a:r>
              <a:endPara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268" name="Rectangle 84">
              <a:extLst>
                <a:ext uri="{FF2B5EF4-FFF2-40B4-BE49-F238E27FC236}">
                  <a16:creationId xmlns:a16="http://schemas.microsoft.com/office/drawing/2014/main" id="{DADBC16E-12A2-6F17-6109-3880A02570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1544" y="1599310"/>
              <a:ext cx="900000" cy="252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部门预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69" name="Rectangle 84">
              <a:extLst>
                <a:ext uri="{FF2B5EF4-FFF2-40B4-BE49-F238E27FC236}">
                  <a16:creationId xmlns:a16="http://schemas.microsoft.com/office/drawing/2014/main" id="{4A26B9B2-8235-4027-FF48-68A4E4B356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576" y="1976382"/>
              <a:ext cx="900000" cy="252000"/>
            </a:xfrm>
            <a:prstGeom prst="rect">
              <a:avLst/>
            </a:prstGeom>
            <a:solidFill>
              <a:srgbClr val="4472C4"/>
            </a:solidFill>
            <a:ln w="12700" cmpd="sng" algn="ctr">
              <a:solidFill>
                <a:srgbClr val="4472C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预算下达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cxnSp>
        <p:nvCxnSpPr>
          <p:cNvPr id="270" name="直接箭头连接符 205">
            <a:extLst>
              <a:ext uri="{FF2B5EF4-FFF2-40B4-BE49-F238E27FC236}">
                <a16:creationId xmlns:a16="http://schemas.microsoft.com/office/drawing/2014/main" id="{B048208F-DF31-3EC0-0000-F571E99D810B}"/>
              </a:ext>
            </a:extLst>
          </p:cNvPr>
          <p:cNvCxnSpPr>
            <a:cxnSpLocks/>
            <a:stCxn id="267" idx="0"/>
            <a:endCxn id="44" idx="2"/>
          </p:cNvCxnSpPr>
          <p:nvPr/>
        </p:nvCxnSpPr>
        <p:spPr>
          <a:xfrm flipV="1">
            <a:off x="717593" y="4820164"/>
            <a:ext cx="4007" cy="29600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直接箭头连接符 205">
            <a:extLst>
              <a:ext uri="{FF2B5EF4-FFF2-40B4-BE49-F238E27FC236}">
                <a16:creationId xmlns:a16="http://schemas.microsoft.com/office/drawing/2014/main" id="{A5FD7AFB-FCE3-6830-2790-D97586EB52AF}"/>
              </a:ext>
            </a:extLst>
          </p:cNvPr>
          <p:cNvCxnSpPr>
            <a:cxnSpLocks/>
            <a:stCxn id="264" idx="3"/>
            <a:endCxn id="40" idx="1"/>
          </p:cNvCxnSpPr>
          <p:nvPr/>
        </p:nvCxnSpPr>
        <p:spPr>
          <a:xfrm>
            <a:off x="1291756" y="2067627"/>
            <a:ext cx="953938" cy="1167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文本框 29">
            <a:extLst>
              <a:ext uri="{FF2B5EF4-FFF2-40B4-BE49-F238E27FC236}">
                <a16:creationId xmlns:a16="http://schemas.microsoft.com/office/drawing/2014/main" id="{AD7A131F-53A4-E4A1-E22F-9BFC52970369}"/>
              </a:ext>
            </a:extLst>
          </p:cNvPr>
          <p:cNvSpPr txBox="1"/>
          <p:nvPr/>
        </p:nvSpPr>
        <p:spPr>
          <a:xfrm>
            <a:off x="1371988" y="1328524"/>
            <a:ext cx="760909" cy="68073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非</a:t>
            </a:r>
            <a:r>
              <a:rPr lang="en-US" altLang="zh-CN" sz="1050">
                <a:solidFill>
                  <a:srgbClr val="005F92"/>
                </a:solidFill>
                <a:latin typeface="+mj-ea"/>
                <a:ea typeface="+mj-ea"/>
              </a:rPr>
              <a:t>GMC</a:t>
            </a:r>
          </a:p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统管项目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285" name="矩形 189">
            <a:extLst>
              <a:ext uri="{FF2B5EF4-FFF2-40B4-BE49-F238E27FC236}">
                <a16:creationId xmlns:a16="http://schemas.microsoft.com/office/drawing/2014/main" id="{4F3BC610-A64C-FD03-C88F-D2F2AEEEF692}"/>
              </a:ext>
            </a:extLst>
          </p:cNvPr>
          <p:cNvSpPr/>
          <p:nvPr/>
        </p:nvSpPr>
        <p:spPr>
          <a:xfrm>
            <a:off x="9187015" y="1116886"/>
            <a:ext cx="2747166" cy="5067844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100" b="1">
                <a:latin typeface="+mj-ea"/>
                <a:ea typeface="+mj-ea"/>
              </a:rPr>
              <a:t>PBF</a:t>
            </a:r>
            <a:r>
              <a:rPr lang="zh-CN" altLang="en-US" sz="1100" b="1">
                <a:latin typeface="+mj-ea"/>
                <a:ea typeface="+mj-ea"/>
              </a:rPr>
              <a:t>系统：</a:t>
            </a:r>
            <a:r>
              <a:rPr lang="zh-CN" altLang="en-US" sz="1100">
                <a:latin typeface="+mj-ea"/>
                <a:ea typeface="+mj-ea"/>
              </a:rPr>
              <a:t>推广费预算下达至</a:t>
            </a:r>
            <a:r>
              <a:rPr lang="en-US" altLang="zh-CN" sz="1100">
                <a:latin typeface="+mj-ea"/>
                <a:ea typeface="+mj-ea"/>
              </a:rPr>
              <a:t>MPM</a:t>
            </a:r>
            <a:r>
              <a:rPr lang="zh-CN" altLang="en-US" sz="1100">
                <a:latin typeface="+mj-ea"/>
                <a:ea typeface="+mj-ea"/>
              </a:rPr>
              <a:t>；</a:t>
            </a:r>
            <a:endParaRPr lang="en-US" altLang="zh-CN" sz="11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100" b="1">
                <a:latin typeface="+mj-ea"/>
                <a:ea typeface="+mj-ea"/>
              </a:rPr>
              <a:t>MPM</a:t>
            </a:r>
            <a:r>
              <a:rPr lang="zh-CN" altLang="en-US" sz="1100" b="1">
                <a:latin typeface="+mj-ea"/>
                <a:ea typeface="+mj-ea"/>
              </a:rPr>
              <a:t>系统：</a:t>
            </a:r>
            <a:r>
              <a:rPr lang="zh-CN" altLang="en-US" sz="1100">
                <a:latin typeface="+mj-ea"/>
                <a:ea typeface="+mj-ea"/>
              </a:rPr>
              <a:t>定位</a:t>
            </a:r>
            <a:r>
              <a:rPr lang="en-US" altLang="zh-CN" sz="1100">
                <a:latin typeface="+mj-ea"/>
                <a:ea typeface="+mj-ea"/>
              </a:rPr>
              <a:t>MPM</a:t>
            </a:r>
            <a:r>
              <a:rPr lang="zh-CN" altLang="en-US" sz="1100">
                <a:latin typeface="+mj-ea"/>
                <a:ea typeface="+mj-ea"/>
              </a:rPr>
              <a:t>系统为</a:t>
            </a:r>
            <a:r>
              <a:rPr lang="zh-CN" altLang="en-US" sz="1100" b="1">
                <a:solidFill>
                  <a:srgbClr val="FF0000"/>
                </a:solidFill>
                <a:latin typeface="+mj-ea"/>
                <a:ea typeface="+mj-ea"/>
              </a:rPr>
              <a:t>推广费项目管理系统</a:t>
            </a:r>
            <a:r>
              <a:rPr lang="zh-CN" altLang="en-US" sz="1100">
                <a:latin typeface="+mj-ea"/>
                <a:ea typeface="+mj-ea"/>
              </a:rPr>
              <a:t>，承接</a:t>
            </a:r>
            <a:r>
              <a:rPr lang="en-US" altLang="zh-CN" sz="1100">
                <a:latin typeface="+mj-ea"/>
                <a:ea typeface="+mj-ea"/>
              </a:rPr>
              <a:t>PBF</a:t>
            </a:r>
            <a:r>
              <a:rPr lang="zh-CN" altLang="en-US" sz="1100">
                <a:latin typeface="+mj-ea"/>
                <a:ea typeface="+mj-ea"/>
              </a:rPr>
              <a:t>下达的推广费预算，搭建项目预算管理、预算拆解、预算调整等功能；</a:t>
            </a:r>
            <a:endParaRPr lang="en-US" altLang="zh-CN" sz="11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100" b="1">
                <a:latin typeface="+mj-ea"/>
                <a:ea typeface="+mj-ea"/>
              </a:rPr>
              <a:t>SRM</a:t>
            </a:r>
            <a:r>
              <a:rPr lang="zh-CN" altLang="en-US" sz="1100" b="1">
                <a:latin typeface="+mj-ea"/>
                <a:ea typeface="+mj-ea"/>
              </a:rPr>
              <a:t>系统：</a:t>
            </a:r>
            <a:r>
              <a:rPr lang="zh-CN" altLang="en-US" sz="1100">
                <a:latin typeface="+mj-ea"/>
                <a:ea typeface="+mj-ea"/>
              </a:rPr>
              <a:t>接收</a:t>
            </a:r>
            <a:r>
              <a:rPr lang="en-US" altLang="zh-CN" sz="1100">
                <a:latin typeface="+mj-ea"/>
                <a:ea typeface="+mj-ea"/>
              </a:rPr>
              <a:t>MPM</a:t>
            </a:r>
            <a:r>
              <a:rPr lang="zh-CN" altLang="en-US" sz="1100">
                <a:latin typeface="+mj-ea"/>
                <a:ea typeface="+mj-ea"/>
              </a:rPr>
              <a:t>系统项目预算，发起采购申请，搭建推广业务</a:t>
            </a:r>
            <a:r>
              <a:rPr lang="zh-CN" altLang="en-US" sz="1100" b="1">
                <a:solidFill>
                  <a:srgbClr val="FF0000"/>
                </a:solidFill>
                <a:latin typeface="+mj-ea"/>
                <a:ea typeface="+mj-ea"/>
              </a:rPr>
              <a:t>供应商、寻源报价、采购合同、订单履行、对账等功能</a:t>
            </a:r>
            <a:r>
              <a:rPr lang="zh-CN" altLang="en-US" sz="1100">
                <a:latin typeface="+mj-ea"/>
                <a:ea typeface="+mj-ea"/>
              </a:rPr>
              <a:t>；</a:t>
            </a:r>
            <a:endParaRPr lang="en-US" altLang="zh-CN" sz="11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100" b="1">
                <a:latin typeface="+mj-ea"/>
                <a:ea typeface="+mj-ea"/>
              </a:rPr>
              <a:t>SAP</a:t>
            </a:r>
            <a:r>
              <a:rPr lang="zh-CN" altLang="en-US" sz="1100" b="1">
                <a:latin typeface="+mj-ea"/>
                <a:ea typeface="+mj-ea"/>
              </a:rPr>
              <a:t>系统：</a:t>
            </a:r>
            <a:r>
              <a:rPr lang="zh-CN" altLang="en-US" sz="1100">
                <a:latin typeface="+mj-ea"/>
                <a:ea typeface="+mj-ea"/>
              </a:rPr>
              <a:t>承接各系统业务执行结果，实现多维度推广费核算；</a:t>
            </a:r>
            <a:endParaRPr lang="en-US" altLang="zh-CN" sz="11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100" b="1">
                <a:latin typeface="+mj-ea"/>
                <a:ea typeface="+mj-ea"/>
              </a:rPr>
              <a:t>结算平台：</a:t>
            </a:r>
            <a:r>
              <a:rPr lang="zh-CN" altLang="en-US" sz="1100">
                <a:latin typeface="+mj-ea"/>
                <a:ea typeface="+mj-ea"/>
              </a:rPr>
              <a:t>搭建结算平台，对接</a:t>
            </a:r>
            <a:r>
              <a:rPr lang="en-US" altLang="zh-CN" sz="1100">
                <a:latin typeface="+mj-ea"/>
                <a:ea typeface="+mj-ea"/>
              </a:rPr>
              <a:t>ERP</a:t>
            </a:r>
            <a:r>
              <a:rPr lang="zh-CN" altLang="en-US" sz="1100">
                <a:latin typeface="+mj-ea"/>
                <a:ea typeface="+mj-ea"/>
              </a:rPr>
              <a:t>系统中推广费</a:t>
            </a:r>
            <a:r>
              <a:rPr lang="zh-CN" altLang="en-US" sz="1100" b="1">
                <a:solidFill>
                  <a:srgbClr val="FF0000"/>
                </a:solidFill>
                <a:latin typeface="+mj-ea"/>
                <a:ea typeface="+mj-ea"/>
              </a:rPr>
              <a:t>费用明细清单及应付账款余额</a:t>
            </a:r>
            <a:r>
              <a:rPr lang="zh-CN" altLang="en-US" sz="1100">
                <a:latin typeface="+mj-ea"/>
                <a:ea typeface="+mj-ea"/>
              </a:rPr>
              <a:t>，推送</a:t>
            </a:r>
            <a:r>
              <a:rPr lang="en-US" altLang="zh-CN" sz="1100">
                <a:latin typeface="+mj-ea"/>
                <a:ea typeface="+mj-ea"/>
              </a:rPr>
              <a:t>SRM</a:t>
            </a:r>
            <a:r>
              <a:rPr lang="zh-CN" altLang="en-US" sz="1100">
                <a:latin typeface="+mj-ea"/>
                <a:ea typeface="+mj-ea"/>
              </a:rPr>
              <a:t>系统进行供应商对账；</a:t>
            </a:r>
            <a:endParaRPr lang="en-US" altLang="zh-CN" sz="1100">
              <a:latin typeface="+mj-ea"/>
              <a:ea typeface="+mj-ea"/>
            </a:endParaRPr>
          </a:p>
          <a:p>
            <a:pPr marL="228600" indent="-228600">
              <a:lnSpc>
                <a:spcPct val="150000"/>
              </a:lnSpc>
              <a:buClr>
                <a:schemeClr val="tx1"/>
              </a:buClr>
              <a:buSzPct val="130000"/>
              <a:buFont typeface="+mj-ea"/>
              <a:buAutoNum type="circleNumDbPlain"/>
              <a:defRPr/>
            </a:pPr>
            <a:r>
              <a:rPr lang="zh-CN" altLang="en-US" sz="1100" b="1">
                <a:latin typeface="+mj-ea"/>
                <a:ea typeface="+mj-ea"/>
              </a:rPr>
              <a:t>推广费系统：</a:t>
            </a:r>
            <a:r>
              <a:rPr lang="zh-CN" altLang="en-US" sz="1100">
                <a:latin typeface="+mj-ea"/>
                <a:ea typeface="+mj-ea"/>
              </a:rPr>
              <a:t>从功能上来说与</a:t>
            </a:r>
            <a:r>
              <a:rPr lang="en-US" altLang="zh-CN" sz="1100">
                <a:latin typeface="+mj-ea"/>
                <a:ea typeface="+mj-ea"/>
              </a:rPr>
              <a:t>MPM</a:t>
            </a:r>
            <a:r>
              <a:rPr lang="zh-CN" altLang="en-US" sz="1100">
                <a:latin typeface="+mj-ea"/>
                <a:ea typeface="+mj-ea"/>
              </a:rPr>
              <a:t>定位重叠，建议未来由</a:t>
            </a:r>
            <a:r>
              <a:rPr lang="en-US" altLang="zh-CN" sz="1100" b="1">
                <a:solidFill>
                  <a:srgbClr val="FF0000"/>
                </a:solidFill>
                <a:latin typeface="+mj-ea"/>
                <a:ea typeface="+mj-ea"/>
              </a:rPr>
              <a:t>MPM</a:t>
            </a:r>
            <a:r>
              <a:rPr lang="zh-CN" altLang="en-US" sz="1100" b="1">
                <a:solidFill>
                  <a:srgbClr val="FF0000"/>
                </a:solidFill>
                <a:latin typeface="+mj-ea"/>
                <a:ea typeface="+mj-ea"/>
              </a:rPr>
              <a:t>与</a:t>
            </a:r>
            <a:r>
              <a:rPr lang="en-US" altLang="zh-CN" sz="1100" b="1">
                <a:solidFill>
                  <a:srgbClr val="FF0000"/>
                </a:solidFill>
                <a:latin typeface="+mj-ea"/>
                <a:ea typeface="+mj-ea"/>
              </a:rPr>
              <a:t>SRM</a:t>
            </a:r>
            <a:r>
              <a:rPr lang="zh-CN" altLang="en-US" sz="1100" b="1">
                <a:solidFill>
                  <a:srgbClr val="FF0000"/>
                </a:solidFill>
                <a:latin typeface="+mj-ea"/>
                <a:ea typeface="+mj-ea"/>
              </a:rPr>
              <a:t>系统承接目前推广费系统对应功能</a:t>
            </a:r>
            <a:r>
              <a:rPr lang="en-US" altLang="zh-CN" sz="1100" b="1">
                <a:solidFill>
                  <a:srgbClr val="FF0000"/>
                </a:solidFill>
                <a:latin typeface="+mj-ea"/>
                <a:ea typeface="+mj-ea"/>
              </a:rPr>
              <a:t>(</a:t>
            </a:r>
            <a:r>
              <a:rPr lang="zh-CN" altLang="en-US" sz="1100" b="1">
                <a:solidFill>
                  <a:srgbClr val="FF0000"/>
                </a:solidFill>
                <a:latin typeface="+mj-ea"/>
                <a:ea typeface="+mj-ea"/>
              </a:rPr>
              <a:t>需与</a:t>
            </a:r>
            <a:r>
              <a:rPr lang="en-US" altLang="zh-CN" sz="1100" b="1">
                <a:solidFill>
                  <a:srgbClr val="FF0000"/>
                </a:solidFill>
                <a:latin typeface="+mj-ea"/>
                <a:ea typeface="+mj-ea"/>
              </a:rPr>
              <a:t>CBG IT</a:t>
            </a:r>
            <a:r>
              <a:rPr lang="zh-CN" altLang="en-US" sz="1100" b="1">
                <a:solidFill>
                  <a:srgbClr val="FF0000"/>
                </a:solidFill>
                <a:latin typeface="+mj-ea"/>
                <a:ea typeface="+mj-ea"/>
              </a:rPr>
              <a:t>架构拉通</a:t>
            </a:r>
            <a:r>
              <a:rPr lang="en-US" altLang="zh-CN" sz="1100" b="1">
                <a:solidFill>
                  <a:srgbClr val="FF0000"/>
                </a:solidFill>
                <a:latin typeface="+mj-ea"/>
                <a:ea typeface="+mj-ea"/>
              </a:rPr>
              <a:t>)</a:t>
            </a:r>
            <a:r>
              <a:rPr lang="zh-CN" altLang="en-US" sz="1100">
                <a:latin typeface="+mj-ea"/>
                <a:ea typeface="+mj-ea"/>
              </a:rPr>
              <a:t>。</a:t>
            </a:r>
            <a:endParaRPr lang="en-US" altLang="zh-CN" sz="110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79633860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351361-B5FC-3B4C-93C7-23720EA4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10282312" cy="706293"/>
          </a:xfrm>
        </p:spPr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长期系统方案</a:t>
            </a:r>
            <a:endParaRPr lang="en-US"/>
          </a:p>
        </p:txBody>
      </p:sp>
      <p:cxnSp>
        <p:nvCxnSpPr>
          <p:cNvPr id="81" name="Straight Connector 38">
            <a:extLst>
              <a:ext uri="{FF2B5EF4-FFF2-40B4-BE49-F238E27FC236}">
                <a16:creationId xmlns:a16="http://schemas.microsoft.com/office/drawing/2014/main" id="{A2F57F02-A4EE-079F-E620-EC487EA988C6}"/>
              </a:ext>
            </a:extLst>
          </p:cNvPr>
          <p:cNvCxnSpPr>
            <a:cxnSpLocks/>
          </p:cNvCxnSpPr>
          <p:nvPr/>
        </p:nvCxnSpPr>
        <p:spPr>
          <a:xfrm flipV="1">
            <a:off x="62948" y="903070"/>
            <a:ext cx="11814204" cy="6013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diamond"/>
            <a:tailEnd type="diamond"/>
          </a:ln>
          <a:effectLst/>
        </p:spPr>
      </p:cxnSp>
      <p:sp>
        <p:nvSpPr>
          <p:cNvPr id="82" name="Rectangle 24">
            <a:extLst>
              <a:ext uri="{FF2B5EF4-FFF2-40B4-BE49-F238E27FC236}">
                <a16:creationId xmlns:a16="http://schemas.microsoft.com/office/drawing/2014/main" id="{161D99B6-FF3E-1D66-D890-AD0BA723250A}"/>
              </a:ext>
            </a:extLst>
          </p:cNvPr>
          <p:cNvSpPr/>
          <p:nvPr/>
        </p:nvSpPr>
        <p:spPr>
          <a:xfrm>
            <a:off x="4691908" y="734331"/>
            <a:ext cx="312337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91440" r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Arial" panose="020B0604020202020204" pitchFamily="34" charset="0"/>
              </a:rPr>
              <a:t>推广费长期系统流程方案</a:t>
            </a:r>
            <a:endParaRPr kumimoji="1" lang="en-US" altLang="zh-CN" sz="14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icrosoft YaHei"/>
              <a:ea typeface="Microsoft YaHei"/>
              <a:cs typeface="Arial" panose="020B0604020202020204" pitchFamily="34" charset="0"/>
            </a:endParaRPr>
          </a:p>
        </p:txBody>
      </p:sp>
      <p:grpSp>
        <p:nvGrpSpPr>
          <p:cNvPr id="83" name="Group 55">
            <a:extLst>
              <a:ext uri="{FF2B5EF4-FFF2-40B4-BE49-F238E27FC236}">
                <a16:creationId xmlns:a16="http://schemas.microsoft.com/office/drawing/2014/main" id="{748F363F-598A-5DBE-07A4-E7706396C922}"/>
              </a:ext>
            </a:extLst>
          </p:cNvPr>
          <p:cNvGrpSpPr/>
          <p:nvPr/>
        </p:nvGrpSpPr>
        <p:grpSpPr>
          <a:xfrm>
            <a:off x="4534198" y="813981"/>
            <a:ext cx="640239" cy="250003"/>
            <a:chOff x="3126173" y="1114361"/>
            <a:chExt cx="431104" cy="307775"/>
          </a:xfrm>
        </p:grpSpPr>
        <p:sp>
          <p:nvSpPr>
            <p:cNvPr id="85" name="Rectangle 49">
              <a:extLst>
                <a:ext uri="{FF2B5EF4-FFF2-40B4-BE49-F238E27FC236}">
                  <a16:creationId xmlns:a16="http://schemas.microsoft.com/office/drawing/2014/main" id="{41959D13-B337-0497-F283-252FB5609711}"/>
                </a:ext>
              </a:extLst>
            </p:cNvPr>
            <p:cNvSpPr/>
            <p:nvPr/>
          </p:nvSpPr>
          <p:spPr>
            <a:xfrm>
              <a:off x="3126173" y="1114361"/>
              <a:ext cx="431104" cy="3077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4950" indent="-234950" algn="l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endParaRPr lang="en-US" sz="140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pic>
          <p:nvPicPr>
            <p:cNvPr id="86" name="Graphic 44">
              <a:extLst>
                <a:ext uri="{FF2B5EF4-FFF2-40B4-BE49-F238E27FC236}">
                  <a16:creationId xmlns:a16="http://schemas.microsoft.com/office/drawing/2014/main" id="{7DBEA2AB-F8B5-08BD-1641-5CCA8D47DC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04565" y="1122751"/>
              <a:ext cx="274320" cy="252882"/>
            </a:xfrm>
            <a:prstGeom prst="rect">
              <a:avLst/>
            </a:prstGeom>
          </p:spPr>
        </p:pic>
      </p:grpSp>
      <p:sp>
        <p:nvSpPr>
          <p:cNvPr id="68" name="Rectangle 5">
            <a:extLst>
              <a:ext uri="{FF2B5EF4-FFF2-40B4-BE49-F238E27FC236}">
                <a16:creationId xmlns:a16="http://schemas.microsoft.com/office/drawing/2014/main" id="{F4278DE9-3955-53EB-9783-BF9CF760E40D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13" name="Rectangle 18">
            <a:extLst>
              <a:ext uri="{FF2B5EF4-FFF2-40B4-BE49-F238E27FC236}">
                <a16:creationId xmlns:a16="http://schemas.microsoft.com/office/drawing/2014/main" id="{C84A991E-80EF-3FE4-F915-2C1D892B95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00" y="1168841"/>
            <a:ext cx="1241492" cy="714750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PBF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4" name="Rectangle 84">
            <a:extLst>
              <a:ext uri="{FF2B5EF4-FFF2-40B4-BE49-F238E27FC236}">
                <a16:creationId xmlns:a16="http://schemas.microsoft.com/office/drawing/2014/main" id="{BEB8974A-666A-5AA6-1592-B44963BB97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514" y="1489793"/>
            <a:ext cx="1009721" cy="297045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编制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2" name="Rectangle 18">
            <a:extLst>
              <a:ext uri="{FF2B5EF4-FFF2-40B4-BE49-F238E27FC236}">
                <a16:creationId xmlns:a16="http://schemas.microsoft.com/office/drawing/2014/main" id="{65AD4101-F001-DEE4-1754-4EC0E27444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0978" y="1164745"/>
            <a:ext cx="1313997" cy="729389"/>
          </a:xfrm>
          <a:prstGeom prst="rect">
            <a:avLst/>
          </a:prstGeom>
          <a:solidFill>
            <a:srgbClr val="F2F2F2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MP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42" name="Rectangle 30">
            <a:extLst>
              <a:ext uri="{FF2B5EF4-FFF2-40B4-BE49-F238E27FC236}">
                <a16:creationId xmlns:a16="http://schemas.microsoft.com/office/drawing/2014/main" id="{69235594-E16C-9D9C-2B75-D1AEA480DD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6535" y="1448121"/>
            <a:ext cx="886145" cy="310686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推广费项目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B47AF7B-C13C-CE7E-8D66-28C8C330AC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999" y="2432741"/>
            <a:ext cx="1777508" cy="2986755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R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cxnSp>
        <p:nvCxnSpPr>
          <p:cNvPr id="71" name="直接箭头连接符 205">
            <a:extLst>
              <a:ext uri="{FF2B5EF4-FFF2-40B4-BE49-F238E27FC236}">
                <a16:creationId xmlns:a16="http://schemas.microsoft.com/office/drawing/2014/main" id="{59C59A7E-2485-900A-2E49-1E7FDCFF845B}"/>
              </a:ext>
            </a:extLst>
          </p:cNvPr>
          <p:cNvCxnSpPr>
            <a:cxnSpLocks/>
          </p:cNvCxnSpPr>
          <p:nvPr/>
        </p:nvCxnSpPr>
        <p:spPr>
          <a:xfrm>
            <a:off x="3533220" y="2792768"/>
            <a:ext cx="754674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84">
            <a:extLst>
              <a:ext uri="{FF2B5EF4-FFF2-40B4-BE49-F238E27FC236}">
                <a16:creationId xmlns:a16="http://schemas.microsoft.com/office/drawing/2014/main" id="{77DC2D8A-DCF3-9EC1-2541-1C69A7C2BC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755" y="2719552"/>
            <a:ext cx="1194298" cy="315696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寻源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报价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合同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101" name="直接箭头连接符 205">
            <a:extLst>
              <a:ext uri="{FF2B5EF4-FFF2-40B4-BE49-F238E27FC236}">
                <a16:creationId xmlns:a16="http://schemas.microsoft.com/office/drawing/2014/main" id="{9A9DE27D-23B8-9D83-D1DC-3B761DD19EE7}"/>
              </a:ext>
            </a:extLst>
          </p:cNvPr>
          <p:cNvCxnSpPr>
            <a:cxnSpLocks/>
          </p:cNvCxnSpPr>
          <p:nvPr/>
        </p:nvCxnSpPr>
        <p:spPr>
          <a:xfrm>
            <a:off x="6287591" y="3643765"/>
            <a:ext cx="857017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 18">
            <a:extLst>
              <a:ext uri="{FF2B5EF4-FFF2-40B4-BE49-F238E27FC236}">
                <a16:creationId xmlns:a16="http://schemas.microsoft.com/office/drawing/2014/main" id="{E44BF99C-8272-95F5-71EC-F25A1AF363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01963" y="1170767"/>
            <a:ext cx="1276744" cy="708738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费用中心</a:t>
            </a:r>
          </a:p>
        </p:txBody>
      </p:sp>
      <p:sp>
        <p:nvSpPr>
          <p:cNvPr id="120" name="Rectangle 84">
            <a:extLst>
              <a:ext uri="{FF2B5EF4-FFF2-40B4-BE49-F238E27FC236}">
                <a16:creationId xmlns:a16="http://schemas.microsoft.com/office/drawing/2014/main" id="{F7C56F94-77BA-17C6-8884-F7B48E52E4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0403" y="1475230"/>
            <a:ext cx="1068882" cy="310256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拆解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34" name="TextBox 53">
            <a:extLst>
              <a:ext uri="{FF2B5EF4-FFF2-40B4-BE49-F238E27FC236}">
                <a16:creationId xmlns:a16="http://schemas.microsoft.com/office/drawing/2014/main" id="{972175B2-F2CF-C5A2-66EA-8950BC33A58E}"/>
              </a:ext>
            </a:extLst>
          </p:cNvPr>
          <p:cNvSpPr txBox="1"/>
          <p:nvPr/>
        </p:nvSpPr>
        <p:spPr>
          <a:xfrm>
            <a:off x="6324585" y="2412828"/>
            <a:ext cx="2699701" cy="825606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经过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MPM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立项的推广费项目，适用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：</a:t>
            </a:r>
            <a:endParaRPr kumimoji="0" lang="en-US" altLang="zh-CN" sz="10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chemeClr val="accent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>
              <a:defRPr/>
            </a:pPr>
            <a:r>
              <a:rPr kumimoji="0" lang="en-US" altLang="zh-CN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管控的推广费（做重） ：大宗商品采购、服务类采购；</a:t>
            </a: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44" name="文本框 29">
            <a:extLst>
              <a:ext uri="{FF2B5EF4-FFF2-40B4-BE49-F238E27FC236}">
                <a16:creationId xmlns:a16="http://schemas.microsoft.com/office/drawing/2014/main" id="{066A3F58-FA44-9FFA-15A8-1CC6B2B9AD80}"/>
              </a:ext>
            </a:extLst>
          </p:cNvPr>
          <p:cNvSpPr txBox="1"/>
          <p:nvPr/>
        </p:nvSpPr>
        <p:spPr>
          <a:xfrm>
            <a:off x="6378278" y="3174290"/>
            <a:ext cx="547089" cy="44345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订单数据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10" name="文本框 29">
            <a:extLst>
              <a:ext uri="{FF2B5EF4-FFF2-40B4-BE49-F238E27FC236}">
                <a16:creationId xmlns:a16="http://schemas.microsoft.com/office/drawing/2014/main" id="{B584840A-03A2-430F-E05C-693BC8238CBC}"/>
              </a:ext>
            </a:extLst>
          </p:cNvPr>
          <p:cNvSpPr txBox="1"/>
          <p:nvPr/>
        </p:nvSpPr>
        <p:spPr>
          <a:xfrm>
            <a:off x="2975431" y="1124598"/>
            <a:ext cx="736481" cy="4025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预算调用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18" name="文本框 29">
            <a:extLst>
              <a:ext uri="{FF2B5EF4-FFF2-40B4-BE49-F238E27FC236}">
                <a16:creationId xmlns:a16="http://schemas.microsoft.com/office/drawing/2014/main" id="{AFD56FD0-4F03-568E-A1B7-232E2B3C3EA0}"/>
              </a:ext>
            </a:extLst>
          </p:cNvPr>
          <p:cNvSpPr txBox="1"/>
          <p:nvPr/>
        </p:nvSpPr>
        <p:spPr>
          <a:xfrm>
            <a:off x="3551413" y="2343534"/>
            <a:ext cx="736481" cy="39370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立项数据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项目预算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977C264-DE17-0845-763C-90A5A44D3D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3010" y="3275763"/>
            <a:ext cx="1173037" cy="2119681"/>
          </a:xfrm>
          <a:prstGeom prst="rect">
            <a:avLst/>
          </a:prstGeom>
          <a:solidFill>
            <a:srgbClr val="C0E9FF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AP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20" name="文本框 126">
            <a:extLst>
              <a:ext uri="{FF2B5EF4-FFF2-40B4-BE49-F238E27FC236}">
                <a16:creationId xmlns:a16="http://schemas.microsoft.com/office/drawing/2014/main" id="{8E7DB386-8034-C2A2-0CCE-7C39E9F4979A}"/>
              </a:ext>
            </a:extLst>
          </p:cNvPr>
          <p:cNvSpPr txBox="1"/>
          <p:nvPr/>
        </p:nvSpPr>
        <p:spPr>
          <a:xfrm>
            <a:off x="7509528" y="3567194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订单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23" name="直接箭头连接符 205">
            <a:extLst>
              <a:ext uri="{FF2B5EF4-FFF2-40B4-BE49-F238E27FC236}">
                <a16:creationId xmlns:a16="http://schemas.microsoft.com/office/drawing/2014/main" id="{B4780071-51A3-433B-CB93-31137ADF30AB}"/>
              </a:ext>
            </a:extLst>
          </p:cNvPr>
          <p:cNvCxnSpPr>
            <a:cxnSpLocks/>
            <a:stCxn id="13" idx="3"/>
            <a:endCxn id="119" idx="1"/>
          </p:cNvCxnSpPr>
          <p:nvPr/>
        </p:nvCxnSpPr>
        <p:spPr>
          <a:xfrm flipV="1">
            <a:off x="1339692" y="1525136"/>
            <a:ext cx="462271" cy="108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框 29">
            <a:extLst>
              <a:ext uri="{FF2B5EF4-FFF2-40B4-BE49-F238E27FC236}">
                <a16:creationId xmlns:a16="http://schemas.microsoft.com/office/drawing/2014/main" id="{4D3802A6-8EFB-AF49-CDCE-B530240D6D24}"/>
              </a:ext>
            </a:extLst>
          </p:cNvPr>
          <p:cNvSpPr txBox="1"/>
          <p:nvPr/>
        </p:nvSpPr>
        <p:spPr>
          <a:xfrm>
            <a:off x="1246068" y="1124915"/>
            <a:ext cx="533897" cy="3944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部门预算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cxnSp>
        <p:nvCxnSpPr>
          <p:cNvPr id="27" name="直接箭头连接符 205">
            <a:extLst>
              <a:ext uri="{FF2B5EF4-FFF2-40B4-BE49-F238E27FC236}">
                <a16:creationId xmlns:a16="http://schemas.microsoft.com/office/drawing/2014/main" id="{2A4341CC-4F85-555D-D262-3E5FFFFEB82F}"/>
              </a:ext>
            </a:extLst>
          </p:cNvPr>
          <p:cNvCxnSpPr>
            <a:cxnSpLocks/>
            <a:stCxn id="22" idx="3"/>
            <a:endCxn id="110" idx="1"/>
          </p:cNvCxnSpPr>
          <p:nvPr/>
        </p:nvCxnSpPr>
        <p:spPr>
          <a:xfrm>
            <a:off x="4854975" y="1529440"/>
            <a:ext cx="608344" cy="342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84">
            <a:extLst>
              <a:ext uri="{FF2B5EF4-FFF2-40B4-BE49-F238E27FC236}">
                <a16:creationId xmlns:a16="http://schemas.microsoft.com/office/drawing/2014/main" id="{4E7090C4-6DBF-F1C4-E186-96D73FA4B2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755" y="3481213"/>
            <a:ext cx="1194298" cy="315696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0" name="Rectangle 84">
            <a:extLst>
              <a:ext uri="{FF2B5EF4-FFF2-40B4-BE49-F238E27FC236}">
                <a16:creationId xmlns:a16="http://schemas.microsoft.com/office/drawing/2014/main" id="{4FD2A6D2-A6E0-F592-75F7-F09C0B6631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755" y="4242874"/>
            <a:ext cx="1194298" cy="315696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1" name="Rectangle 84">
            <a:extLst>
              <a:ext uri="{FF2B5EF4-FFF2-40B4-BE49-F238E27FC236}">
                <a16:creationId xmlns:a16="http://schemas.microsoft.com/office/drawing/2014/main" id="{00B48058-58B3-B991-1564-F286DC911D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3604" y="5004534"/>
            <a:ext cx="1194298" cy="315696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发票对账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32" name="直接箭头连接符 205">
            <a:extLst>
              <a:ext uri="{FF2B5EF4-FFF2-40B4-BE49-F238E27FC236}">
                <a16:creationId xmlns:a16="http://schemas.microsoft.com/office/drawing/2014/main" id="{7C722E6A-3C11-13B7-C7BA-9094FC05B457}"/>
              </a:ext>
            </a:extLst>
          </p:cNvPr>
          <p:cNvCxnSpPr>
            <a:cxnSpLocks/>
            <a:endCxn id="28" idx="0"/>
          </p:cNvCxnSpPr>
          <p:nvPr/>
        </p:nvCxnSpPr>
        <p:spPr>
          <a:xfrm>
            <a:off x="5241326" y="3057741"/>
            <a:ext cx="1578" cy="42347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箭头连接符 205">
            <a:extLst>
              <a:ext uri="{FF2B5EF4-FFF2-40B4-BE49-F238E27FC236}">
                <a16:creationId xmlns:a16="http://schemas.microsoft.com/office/drawing/2014/main" id="{5E211BBD-99F5-14AB-D968-7E359A7FD86A}"/>
              </a:ext>
            </a:extLst>
          </p:cNvPr>
          <p:cNvCxnSpPr>
            <a:cxnSpLocks/>
          </p:cNvCxnSpPr>
          <p:nvPr/>
        </p:nvCxnSpPr>
        <p:spPr>
          <a:xfrm>
            <a:off x="5260753" y="3809418"/>
            <a:ext cx="1578" cy="42347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箭头连接符 205">
            <a:extLst>
              <a:ext uri="{FF2B5EF4-FFF2-40B4-BE49-F238E27FC236}">
                <a16:creationId xmlns:a16="http://schemas.microsoft.com/office/drawing/2014/main" id="{14ADE8EF-9EFF-61AA-5BF4-A365012EE668}"/>
              </a:ext>
            </a:extLst>
          </p:cNvPr>
          <p:cNvCxnSpPr>
            <a:cxnSpLocks/>
          </p:cNvCxnSpPr>
          <p:nvPr/>
        </p:nvCxnSpPr>
        <p:spPr>
          <a:xfrm>
            <a:off x="5260753" y="4605380"/>
            <a:ext cx="1578" cy="42347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文本框 126">
            <a:extLst>
              <a:ext uri="{FF2B5EF4-FFF2-40B4-BE49-F238E27FC236}">
                <a16:creationId xmlns:a16="http://schemas.microsoft.com/office/drawing/2014/main" id="{1E1DF582-3413-1127-C77F-A43608D23473}"/>
              </a:ext>
            </a:extLst>
          </p:cNvPr>
          <p:cNvSpPr txBox="1"/>
          <p:nvPr/>
        </p:nvSpPr>
        <p:spPr>
          <a:xfrm>
            <a:off x="7518464" y="4317433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应付暂估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37" name="直接箭头连接符 205">
            <a:extLst>
              <a:ext uri="{FF2B5EF4-FFF2-40B4-BE49-F238E27FC236}">
                <a16:creationId xmlns:a16="http://schemas.microsoft.com/office/drawing/2014/main" id="{8B0B25D8-B510-53B4-71AB-AD4AB0D2DC72}"/>
              </a:ext>
            </a:extLst>
          </p:cNvPr>
          <p:cNvCxnSpPr>
            <a:cxnSpLocks/>
          </p:cNvCxnSpPr>
          <p:nvPr/>
        </p:nvCxnSpPr>
        <p:spPr>
          <a:xfrm>
            <a:off x="6287591" y="4404205"/>
            <a:ext cx="857017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文本框 29">
            <a:extLst>
              <a:ext uri="{FF2B5EF4-FFF2-40B4-BE49-F238E27FC236}">
                <a16:creationId xmlns:a16="http://schemas.microsoft.com/office/drawing/2014/main" id="{2B9F5A51-D1FE-D35E-718D-1F4E2498E9B5}"/>
              </a:ext>
            </a:extLst>
          </p:cNvPr>
          <p:cNvSpPr txBox="1"/>
          <p:nvPr/>
        </p:nvSpPr>
        <p:spPr>
          <a:xfrm>
            <a:off x="6373280" y="3906819"/>
            <a:ext cx="547089" cy="44345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验收数据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39" name="文本框 126">
            <a:extLst>
              <a:ext uri="{FF2B5EF4-FFF2-40B4-BE49-F238E27FC236}">
                <a16:creationId xmlns:a16="http://schemas.microsoft.com/office/drawing/2014/main" id="{921FF923-2FFE-D627-305F-99BF4CA62E9D}"/>
              </a:ext>
            </a:extLst>
          </p:cNvPr>
          <p:cNvSpPr txBox="1"/>
          <p:nvPr/>
        </p:nvSpPr>
        <p:spPr>
          <a:xfrm>
            <a:off x="7518464" y="5021799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应付账款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40" name="直接箭头连接符 205">
            <a:extLst>
              <a:ext uri="{FF2B5EF4-FFF2-40B4-BE49-F238E27FC236}">
                <a16:creationId xmlns:a16="http://schemas.microsoft.com/office/drawing/2014/main" id="{FA412252-373A-40A3-6C50-E50A8E807A67}"/>
              </a:ext>
            </a:extLst>
          </p:cNvPr>
          <p:cNvCxnSpPr>
            <a:cxnSpLocks/>
          </p:cNvCxnSpPr>
          <p:nvPr/>
        </p:nvCxnSpPr>
        <p:spPr>
          <a:xfrm>
            <a:off x="6344070" y="5135146"/>
            <a:ext cx="857017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文本框 29">
            <a:extLst>
              <a:ext uri="{FF2B5EF4-FFF2-40B4-BE49-F238E27FC236}">
                <a16:creationId xmlns:a16="http://schemas.microsoft.com/office/drawing/2014/main" id="{8B76DFE1-68D3-5565-440F-D379A0FCB151}"/>
              </a:ext>
            </a:extLst>
          </p:cNvPr>
          <p:cNvSpPr txBox="1"/>
          <p:nvPr/>
        </p:nvSpPr>
        <p:spPr>
          <a:xfrm>
            <a:off x="6324585" y="4665670"/>
            <a:ext cx="547089" cy="44345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发票信息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51" name="Rectangle 18">
            <a:extLst>
              <a:ext uri="{FF2B5EF4-FFF2-40B4-BE49-F238E27FC236}">
                <a16:creationId xmlns:a16="http://schemas.microsoft.com/office/drawing/2014/main" id="{8DBB75D3-2D90-63E9-E13D-4397879785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4195" y="3298413"/>
            <a:ext cx="1159099" cy="2097030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43" name="Rectangle 84">
            <a:extLst>
              <a:ext uri="{FF2B5EF4-FFF2-40B4-BE49-F238E27FC236}">
                <a16:creationId xmlns:a16="http://schemas.microsoft.com/office/drawing/2014/main" id="{30AD533E-FA70-40D2-81CC-EB53DD8F6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06167" y="3742746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提出付款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4" name="Rectangle 85">
            <a:extLst>
              <a:ext uri="{FF2B5EF4-FFF2-40B4-BE49-F238E27FC236}">
                <a16:creationId xmlns:a16="http://schemas.microsoft.com/office/drawing/2014/main" id="{C855D536-4B3D-9F56-1D17-BC449D3AD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2767" y="4244622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通知银行付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5" name="Rectangle 85">
            <a:extLst>
              <a:ext uri="{FF2B5EF4-FFF2-40B4-BE49-F238E27FC236}">
                <a16:creationId xmlns:a16="http://schemas.microsoft.com/office/drawing/2014/main" id="{B3BB6D75-6FD4-1602-1D5E-39E6BA4FB6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06167" y="4806698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付款确认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52" name="直接箭头连接符 205">
            <a:extLst>
              <a:ext uri="{FF2B5EF4-FFF2-40B4-BE49-F238E27FC236}">
                <a16:creationId xmlns:a16="http://schemas.microsoft.com/office/drawing/2014/main" id="{2BD1B1E1-F7F8-CEB4-AE86-FED34E85CAD6}"/>
              </a:ext>
            </a:extLst>
          </p:cNvPr>
          <p:cNvCxnSpPr>
            <a:cxnSpLocks/>
          </p:cNvCxnSpPr>
          <p:nvPr/>
        </p:nvCxnSpPr>
        <p:spPr>
          <a:xfrm>
            <a:off x="8563551" y="4407135"/>
            <a:ext cx="731975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文本框 29">
            <a:extLst>
              <a:ext uri="{FF2B5EF4-FFF2-40B4-BE49-F238E27FC236}">
                <a16:creationId xmlns:a16="http://schemas.microsoft.com/office/drawing/2014/main" id="{B63071F2-7A4D-7B19-A522-A7EF7BADB078}"/>
              </a:ext>
            </a:extLst>
          </p:cNvPr>
          <p:cNvSpPr txBox="1"/>
          <p:nvPr/>
        </p:nvSpPr>
        <p:spPr>
          <a:xfrm>
            <a:off x="8604930" y="3923257"/>
            <a:ext cx="547089" cy="44345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付款计划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3094475-3710-5415-88B4-4EA9F56109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4992" y="4968154"/>
            <a:ext cx="1273993" cy="1309672"/>
          </a:xfrm>
          <a:prstGeom prst="rect">
            <a:avLst/>
          </a:prstGeom>
          <a:solidFill>
            <a:srgbClr val="C0E9FF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AP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61" name="文本框 126">
            <a:extLst>
              <a:ext uri="{FF2B5EF4-FFF2-40B4-BE49-F238E27FC236}">
                <a16:creationId xmlns:a16="http://schemas.microsoft.com/office/drawing/2014/main" id="{FDA9E700-EA22-BC6D-FA0E-43504A451A8F}"/>
              </a:ext>
            </a:extLst>
          </p:cNvPr>
          <p:cNvSpPr txBox="1"/>
          <p:nvPr/>
        </p:nvSpPr>
        <p:spPr>
          <a:xfrm>
            <a:off x="2274649" y="5369926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预提凭证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62" name="文本框 126">
            <a:extLst>
              <a:ext uri="{FF2B5EF4-FFF2-40B4-BE49-F238E27FC236}">
                <a16:creationId xmlns:a16="http://schemas.microsoft.com/office/drawing/2014/main" id="{8591DBC2-8410-C830-1D3E-593BA70AA6D3}"/>
              </a:ext>
            </a:extLst>
          </p:cNvPr>
          <p:cNvSpPr txBox="1"/>
          <p:nvPr/>
        </p:nvSpPr>
        <p:spPr>
          <a:xfrm>
            <a:off x="2274649" y="5811700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应付账款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63" name="直接箭头连接符 205">
            <a:extLst>
              <a:ext uri="{FF2B5EF4-FFF2-40B4-BE49-F238E27FC236}">
                <a16:creationId xmlns:a16="http://schemas.microsoft.com/office/drawing/2014/main" id="{F2256C99-49C3-2178-9368-9AF4A12D320C}"/>
              </a:ext>
            </a:extLst>
          </p:cNvPr>
          <p:cNvCxnSpPr>
            <a:cxnSpLocks/>
          </p:cNvCxnSpPr>
          <p:nvPr/>
        </p:nvCxnSpPr>
        <p:spPr>
          <a:xfrm>
            <a:off x="2874283" y="4558570"/>
            <a:ext cx="0" cy="37906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文本框 29">
            <a:extLst>
              <a:ext uri="{FF2B5EF4-FFF2-40B4-BE49-F238E27FC236}">
                <a16:creationId xmlns:a16="http://schemas.microsoft.com/office/drawing/2014/main" id="{83112C6D-68DB-C11C-8025-CF77FE302B35}"/>
              </a:ext>
            </a:extLst>
          </p:cNvPr>
          <p:cNvSpPr txBox="1"/>
          <p:nvPr/>
        </p:nvSpPr>
        <p:spPr>
          <a:xfrm>
            <a:off x="3105416" y="4614358"/>
            <a:ext cx="570785" cy="33669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凭证报文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74" name="文本框 29">
            <a:extLst>
              <a:ext uri="{FF2B5EF4-FFF2-40B4-BE49-F238E27FC236}">
                <a16:creationId xmlns:a16="http://schemas.microsoft.com/office/drawing/2014/main" id="{14AF1F0E-35B0-31F5-6EF2-F6733E0CB37B}"/>
              </a:ext>
            </a:extLst>
          </p:cNvPr>
          <p:cNvSpPr txBox="1"/>
          <p:nvPr/>
        </p:nvSpPr>
        <p:spPr>
          <a:xfrm>
            <a:off x="4808691" y="1097119"/>
            <a:ext cx="736481" cy="39370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立项数据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项目预算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76" name="TextBox 53">
            <a:extLst>
              <a:ext uri="{FF2B5EF4-FFF2-40B4-BE49-F238E27FC236}">
                <a16:creationId xmlns:a16="http://schemas.microsoft.com/office/drawing/2014/main" id="{1DD53844-0551-E115-4AA4-9A0754DDD712}"/>
              </a:ext>
            </a:extLst>
          </p:cNvPr>
          <p:cNvSpPr txBox="1"/>
          <p:nvPr/>
        </p:nvSpPr>
        <p:spPr>
          <a:xfrm>
            <a:off x="678120" y="3227072"/>
            <a:ext cx="1616159" cy="2279280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>
              <a:defRPr/>
            </a:pP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经过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MPM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立项的推广费项目，不适用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：</a:t>
            </a:r>
            <a:endParaRPr kumimoji="0" lang="en-US" altLang="zh-CN" sz="10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chemeClr val="accent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建议保持保持现有报销流程的推广费（做轻） ：小额、零星采购；</a:t>
            </a: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>
              <a:defRPr/>
            </a:pP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>
              <a:defRPr/>
            </a:pP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不经过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MPM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立项的推广费项目，不适用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：</a:t>
            </a:r>
            <a:endParaRPr kumimoji="0" lang="en-US" altLang="zh-CN" sz="10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chemeClr val="accent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>
              <a:defRPr/>
            </a:pP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线上店铺类推广费，如发放京东平台优惠券，无合同，采取预充值后报销的方式，对账、结算均在对方系统；</a:t>
            </a: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en-US" altLang="zh-CN" sz="10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cxnSp>
        <p:nvCxnSpPr>
          <p:cNvPr id="93" name="直接箭头连接符 205">
            <a:extLst>
              <a:ext uri="{FF2B5EF4-FFF2-40B4-BE49-F238E27FC236}">
                <a16:creationId xmlns:a16="http://schemas.microsoft.com/office/drawing/2014/main" id="{0031F788-28C3-E00D-80C9-4BC1EF24B43D}"/>
              </a:ext>
            </a:extLst>
          </p:cNvPr>
          <p:cNvCxnSpPr>
            <a:cxnSpLocks/>
          </p:cNvCxnSpPr>
          <p:nvPr/>
        </p:nvCxnSpPr>
        <p:spPr>
          <a:xfrm flipV="1">
            <a:off x="2676342" y="4551794"/>
            <a:ext cx="1" cy="36720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文本框 29">
            <a:extLst>
              <a:ext uri="{FF2B5EF4-FFF2-40B4-BE49-F238E27FC236}">
                <a16:creationId xmlns:a16="http://schemas.microsoft.com/office/drawing/2014/main" id="{8AF0F561-3D19-A028-5928-0CBB3BE41668}"/>
              </a:ext>
            </a:extLst>
          </p:cNvPr>
          <p:cNvSpPr txBox="1"/>
          <p:nvPr/>
        </p:nvSpPr>
        <p:spPr>
          <a:xfrm>
            <a:off x="1744477" y="4548125"/>
            <a:ext cx="547089" cy="44345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付款计划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D2281468-2594-DC19-EDA8-90EF82643D63}"/>
              </a:ext>
            </a:extLst>
          </p:cNvPr>
          <p:cNvSpPr/>
          <p:nvPr/>
        </p:nvSpPr>
        <p:spPr>
          <a:xfrm>
            <a:off x="4534198" y="5669519"/>
            <a:ext cx="6441182" cy="3934292"/>
          </a:xfrm>
          <a:prstGeom prst="rect">
            <a:avLst/>
          </a:prstGeom>
          <a:noFill/>
          <a:ln w="2857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C4C9DC9-6B34-E6F8-F029-52B37D3B6A37}"/>
              </a:ext>
            </a:extLst>
          </p:cNvPr>
          <p:cNvSpPr/>
          <p:nvPr/>
        </p:nvSpPr>
        <p:spPr>
          <a:xfrm>
            <a:off x="582626" y="3080801"/>
            <a:ext cx="3291413" cy="3251693"/>
          </a:xfrm>
          <a:prstGeom prst="rect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8" name="直接箭头连接符 205">
            <a:extLst>
              <a:ext uri="{FF2B5EF4-FFF2-40B4-BE49-F238E27FC236}">
                <a16:creationId xmlns:a16="http://schemas.microsoft.com/office/drawing/2014/main" id="{95E1B9F7-3978-32F9-9B72-368C2483BC07}"/>
              </a:ext>
            </a:extLst>
          </p:cNvPr>
          <p:cNvCxnSpPr>
            <a:cxnSpLocks/>
          </p:cNvCxnSpPr>
          <p:nvPr/>
        </p:nvCxnSpPr>
        <p:spPr>
          <a:xfrm flipV="1">
            <a:off x="3070949" y="1517315"/>
            <a:ext cx="462271" cy="108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8">
            <a:extLst>
              <a:ext uri="{FF2B5EF4-FFF2-40B4-BE49-F238E27FC236}">
                <a16:creationId xmlns:a16="http://schemas.microsoft.com/office/drawing/2014/main" id="{1C4E0BD6-5158-A1F5-74E3-6F3F2C4317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3319" y="1060134"/>
            <a:ext cx="1313997" cy="945455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13" name="Rectangle 84">
            <a:extLst>
              <a:ext uri="{FF2B5EF4-FFF2-40B4-BE49-F238E27FC236}">
                <a16:creationId xmlns:a16="http://schemas.microsoft.com/office/drawing/2014/main" id="{B4A8EB70-C0A6-9D54-D58E-4A991524FF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2009" y="1328351"/>
            <a:ext cx="1071549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4" name="Rectangle 84">
            <a:extLst>
              <a:ext uri="{FF2B5EF4-FFF2-40B4-BE49-F238E27FC236}">
                <a16:creationId xmlns:a16="http://schemas.microsoft.com/office/drawing/2014/main" id="{15A2699C-EB73-6A8B-6B6A-4D395AD292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2009" y="1719928"/>
            <a:ext cx="1071549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报销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004224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3">
            <a:extLst>
              <a:ext uri="{FF2B5EF4-FFF2-40B4-BE49-F238E27FC236}">
                <a16:creationId xmlns:a16="http://schemas.microsoft.com/office/drawing/2014/main" id="{38321701-CEC2-4493-3E2D-82B980438C46}"/>
              </a:ext>
            </a:extLst>
          </p:cNvPr>
          <p:cNvSpPr txBox="1"/>
          <p:nvPr/>
        </p:nvSpPr>
        <p:spPr>
          <a:xfrm>
            <a:off x="5389509" y="3207958"/>
            <a:ext cx="3680688" cy="825606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不适用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，仍需沿用现有报销流程的场景：</a:t>
            </a:r>
            <a:endParaRPr kumimoji="0" lang="en-US" altLang="zh-CN" sz="10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①根据集团招投标制度要求，金额未达到一定标准（如：</a:t>
            </a:r>
            <a:r>
              <a:rPr kumimoji="0" lang="en-US" altLang="zh-CN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2</a:t>
            </a: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万），无需进行招投标且由个人垫付后报销的费用；</a:t>
            </a: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②线上店铺类推广费，如发放京东平台优惠券，无合同，采取预充值后报销的方式，对账、结算均在对方系统；</a:t>
            </a: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E4E541BB-9F03-1A90-AAA2-F9F75B5AE3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E4E541BB-9F03-1A90-AAA2-F9F75B5AE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1" name="Rectangle 7">
            <a:extLst>
              <a:ext uri="{FF2B5EF4-FFF2-40B4-BE49-F238E27FC236}">
                <a16:creationId xmlns:a16="http://schemas.microsoft.com/office/drawing/2014/main" id="{95363312-7EF3-88A9-754E-9CABB58ADB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192" y="1382251"/>
            <a:ext cx="8378032" cy="327446"/>
          </a:xfrm>
          <a:prstGeom prst="rect">
            <a:avLst/>
          </a:prstGeom>
          <a:solidFill>
            <a:srgbClr val="F2F2F2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b"/>
          <a:lstStyle/>
          <a:p>
            <a:pPr marL="0" marR="0" lvl="0" indent="0" algn="ctr" defTabSz="914400" rtl="0" eaLnBrk="1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3E9A57-CB75-5562-65AA-BBEC656EC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03430" y="6445055"/>
            <a:ext cx="585140" cy="232752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FE292F-1EBE-6D4A-B339-A324D614A372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351361-B5FC-3B4C-93C7-23720EA44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zh-CN" altLang="en-US"/>
              <a:t>推广费 </a:t>
            </a:r>
            <a:r>
              <a:rPr lang="en-US" altLang="zh-CN"/>
              <a:t>– </a:t>
            </a:r>
            <a:r>
              <a:rPr lang="zh-CN" altLang="en-US"/>
              <a:t>长期核算方案：将推广费纳入</a:t>
            </a:r>
            <a:r>
              <a:rPr lang="en-US" altLang="zh-CN"/>
              <a:t>PTP</a:t>
            </a:r>
            <a:r>
              <a:rPr lang="zh-CN" altLang="en-US"/>
              <a:t>流程，与营销活动流程、各系统建设一起，共同实现推广费的闭环管理及内控风险管控</a:t>
            </a:r>
            <a:endParaRPr lang="en-US"/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083B3D6B-C374-F79C-BE1B-E2A81807DDCF}"/>
              </a:ext>
            </a:extLst>
          </p:cNvPr>
          <p:cNvGrpSpPr/>
          <p:nvPr/>
        </p:nvGrpSpPr>
        <p:grpSpPr>
          <a:xfrm>
            <a:off x="400680" y="1413149"/>
            <a:ext cx="215444" cy="2484000"/>
            <a:chOff x="400680" y="1413149"/>
            <a:chExt cx="215444" cy="1620000"/>
          </a:xfrm>
        </p:grpSpPr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3048E77B-D96D-AB3A-0DB2-A49A570E59DF}"/>
                </a:ext>
              </a:extLst>
            </p:cNvPr>
            <p:cNvCxnSpPr>
              <a:cxnSpLocks/>
            </p:cNvCxnSpPr>
            <p:nvPr/>
          </p:nvCxnSpPr>
          <p:spPr>
            <a:xfrm>
              <a:off x="508402" y="1413149"/>
              <a:ext cx="0" cy="1620000"/>
            </a:xfrm>
            <a:prstGeom prst="line">
              <a:avLst/>
            </a:prstGeom>
            <a:ln>
              <a:solidFill>
                <a:srgbClr val="005F9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3" name="TextBox 5">
              <a:extLst>
                <a:ext uri="{FF2B5EF4-FFF2-40B4-BE49-F238E27FC236}">
                  <a16:creationId xmlns:a16="http://schemas.microsoft.com/office/drawing/2014/main" id="{A4DC9235-B89B-9A12-F0FA-9A70BE03B361}"/>
                </a:ext>
              </a:extLst>
            </p:cNvPr>
            <p:cNvSpPr txBox="1"/>
            <p:nvPr/>
          </p:nvSpPr>
          <p:spPr>
            <a:xfrm>
              <a:off x="400680" y="1812279"/>
              <a:ext cx="215444" cy="821739"/>
            </a:xfrm>
            <a:prstGeom prst="rect">
              <a:avLst/>
            </a:prstGeom>
            <a:solidFill>
              <a:schemeClr val="bg1"/>
            </a:solidFill>
          </p:spPr>
          <p:txBody>
            <a:bodyPr vert="eaVert" wrap="square" lIns="0" tIns="0" rIns="0" bIns="4572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5F9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采购到付款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9F7DE1E5-DE75-02E8-0FC8-A952EF02B333}"/>
              </a:ext>
            </a:extLst>
          </p:cNvPr>
          <p:cNvGrpSpPr/>
          <p:nvPr/>
        </p:nvGrpSpPr>
        <p:grpSpPr>
          <a:xfrm>
            <a:off x="400680" y="5692662"/>
            <a:ext cx="215444" cy="936000"/>
            <a:chOff x="400680" y="5306689"/>
            <a:chExt cx="215444" cy="936000"/>
          </a:xfrm>
        </p:grpSpPr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0442688F-1DB8-EE61-9A07-07516813128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8402" y="5306689"/>
              <a:ext cx="0" cy="936000"/>
            </a:xfrm>
            <a:prstGeom prst="line">
              <a:avLst/>
            </a:prstGeom>
            <a:ln>
              <a:solidFill>
                <a:srgbClr val="005F9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4" name="TextBox 118">
              <a:extLst>
                <a:ext uri="{FF2B5EF4-FFF2-40B4-BE49-F238E27FC236}">
                  <a16:creationId xmlns:a16="http://schemas.microsoft.com/office/drawing/2014/main" id="{3AE733C2-B542-EE4E-65D7-F9F25AE7E356}"/>
                </a:ext>
              </a:extLst>
            </p:cNvPr>
            <p:cNvSpPr txBox="1"/>
            <p:nvPr/>
          </p:nvSpPr>
          <p:spPr>
            <a:xfrm>
              <a:off x="400680" y="5478226"/>
              <a:ext cx="215444" cy="592926"/>
            </a:xfrm>
            <a:prstGeom prst="rect">
              <a:avLst/>
            </a:prstGeom>
            <a:solidFill>
              <a:schemeClr val="bg1"/>
            </a:solidFill>
          </p:spPr>
          <p:txBody>
            <a:bodyPr vert="eaVert" wrap="square" lIns="0" tIns="0" rIns="0" bIns="4572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5F9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财务流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160" name="组合 159">
            <a:extLst>
              <a:ext uri="{FF2B5EF4-FFF2-40B4-BE49-F238E27FC236}">
                <a16:creationId xmlns:a16="http://schemas.microsoft.com/office/drawing/2014/main" id="{3F3299CB-4453-7268-41B5-2E95AF1C969C}"/>
              </a:ext>
            </a:extLst>
          </p:cNvPr>
          <p:cNvGrpSpPr/>
          <p:nvPr/>
        </p:nvGrpSpPr>
        <p:grpSpPr>
          <a:xfrm>
            <a:off x="9339145" y="804097"/>
            <a:ext cx="2706623" cy="476399"/>
            <a:chOff x="9646818" y="900348"/>
            <a:chExt cx="2111789" cy="476399"/>
          </a:xfrm>
        </p:grpSpPr>
        <p:cxnSp>
          <p:nvCxnSpPr>
            <p:cNvPr id="135" name="直接连接符 134">
              <a:extLst>
                <a:ext uri="{FF2B5EF4-FFF2-40B4-BE49-F238E27FC236}">
                  <a16:creationId xmlns:a16="http://schemas.microsoft.com/office/drawing/2014/main" id="{6ED698DB-2623-7228-12FC-EB02CBEF685A}"/>
                </a:ext>
              </a:extLst>
            </p:cNvPr>
            <p:cNvCxnSpPr>
              <a:cxnSpLocks/>
            </p:cNvCxnSpPr>
            <p:nvPr/>
          </p:nvCxnSpPr>
          <p:spPr>
            <a:xfrm>
              <a:off x="9646818" y="1138547"/>
              <a:ext cx="2111789" cy="0"/>
            </a:xfrm>
            <a:prstGeom prst="line">
              <a:avLst/>
            </a:prstGeom>
            <a:ln w="19050">
              <a:solidFill>
                <a:schemeClr val="accent6"/>
              </a:solidFill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矩形 131">
              <a:extLst>
                <a:ext uri="{FF2B5EF4-FFF2-40B4-BE49-F238E27FC236}">
                  <a16:creationId xmlns:a16="http://schemas.microsoft.com/office/drawing/2014/main" id="{FA2CB8C0-FD78-5406-48E0-A1C62066A8C5}"/>
                </a:ext>
              </a:extLst>
            </p:cNvPr>
            <p:cNvSpPr/>
            <p:nvPr/>
          </p:nvSpPr>
          <p:spPr>
            <a:xfrm>
              <a:off x="10077849" y="900348"/>
              <a:ext cx="1249726" cy="4763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7FC3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现状</a:t>
              </a:r>
              <a:r>
                <a:rPr kumimoji="0" lang="en-US" altLang="zh-CN" sz="1400" b="1" i="0" u="none" strike="noStrike" kern="1200" cap="none" spc="0" normalizeH="0" baseline="0" noProof="0">
                  <a:ln>
                    <a:noFill/>
                  </a:ln>
                  <a:solidFill>
                    <a:srgbClr val="007FC3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VS</a:t>
              </a: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7FC3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变革点</a:t>
              </a:r>
            </a:p>
          </p:txBody>
        </p:sp>
      </p:grpSp>
      <p:sp>
        <p:nvSpPr>
          <p:cNvPr id="159" name="Rectangle 13">
            <a:extLst>
              <a:ext uri="{FF2B5EF4-FFF2-40B4-BE49-F238E27FC236}">
                <a16:creationId xmlns:a16="http://schemas.microsoft.com/office/drawing/2014/main" id="{0CC6C9CF-E734-B2BE-5F05-1D03CC74C94B}"/>
              </a:ext>
            </a:extLst>
          </p:cNvPr>
          <p:cNvSpPr/>
          <p:nvPr/>
        </p:nvSpPr>
        <p:spPr>
          <a:xfrm>
            <a:off x="9348339" y="3364409"/>
            <a:ext cx="2706629" cy="3221324"/>
          </a:xfrm>
          <a:prstGeom prst="rect">
            <a:avLst/>
          </a:prstGeom>
          <a:pattFill prst="ltUpDiag">
            <a:fgClr>
              <a:schemeClr val="accent6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1" i="0" u="sng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1" i="0" u="sng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1" i="0" u="sng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1" i="0" u="sng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需求管理环节：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依据营销采购计划管理采购需求</a:t>
            </a:r>
            <a:endParaRPr kumimoji="0" lang="en-US" altLang="zh-CN" sz="11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寻源与采购订单环节</a:t>
            </a:r>
            <a:r>
              <a:rPr kumimoji="0" lang="zh-CN" altLang="en-US" sz="11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：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依据营销采购申请进行合同匹配、寻源报价，生成营销采购订单（小额、零星采购可不走该环节，适用简化流程）</a:t>
            </a:r>
            <a:endParaRPr kumimoji="0" lang="en-US" altLang="zh-CN" sz="11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商品接收</a:t>
            </a:r>
            <a:r>
              <a:rPr kumimoji="0" lang="en-US" altLang="zh-CN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环节</a:t>
            </a:r>
            <a:r>
              <a:rPr kumimoji="0" lang="zh-CN" altLang="en-US" sz="11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：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根据物料签收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服务确认状态关闭物流采购订单（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PO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）行，并触发推广费核算</a:t>
            </a:r>
            <a:endParaRPr kumimoji="0" lang="en-US" altLang="zh-CN" sz="11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对账开票环节</a:t>
            </a:r>
            <a:r>
              <a:rPr kumimoji="0" lang="zh-CN" altLang="en-US" sz="11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：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在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SRM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系统中勾选推广费明细进行对账、结算</a:t>
            </a:r>
            <a:endParaRPr kumimoji="0" lang="en-US" altLang="zh-CN" sz="11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A1C35744-52BB-EB1B-1FDD-7290C05FA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192" y="5687205"/>
            <a:ext cx="8381146" cy="909981"/>
          </a:xfrm>
          <a:prstGeom prst="rect">
            <a:avLst/>
          </a:prstGeom>
          <a:solidFill>
            <a:srgbClr val="F2F2F2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b"/>
          <a:lstStyle/>
          <a:p>
            <a:pPr marL="0" marR="0" lvl="0" indent="0" algn="ctr" defTabSz="914400" rtl="0" eaLnBrk="1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业财一体化的财务处理，无缝的集成在业务流程之中</a:t>
            </a:r>
          </a:p>
        </p:txBody>
      </p:sp>
      <p:sp>
        <p:nvSpPr>
          <p:cNvPr id="26" name="Rectangle 50">
            <a:extLst>
              <a:ext uri="{FF2B5EF4-FFF2-40B4-BE49-F238E27FC236}">
                <a16:creationId xmlns:a16="http://schemas.microsoft.com/office/drawing/2014/main" id="{ACE84A0D-155F-43A8-8A57-79E56688D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38070" y="1960392"/>
            <a:ext cx="771271" cy="432000"/>
          </a:xfrm>
          <a:prstGeom prst="rect">
            <a:avLst/>
          </a:prstGeom>
          <a:solidFill>
            <a:srgbClr val="C0E9FF"/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物料签收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7" name="Rectangle 83">
            <a:extLst>
              <a:ext uri="{FF2B5EF4-FFF2-40B4-BE49-F238E27FC236}">
                <a16:creationId xmlns:a16="http://schemas.microsoft.com/office/drawing/2014/main" id="{CB513A01-C83B-5E5A-DF19-1AAA4E411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7128" y="1960392"/>
            <a:ext cx="771271" cy="432000"/>
          </a:xfrm>
          <a:prstGeom prst="rect">
            <a:avLst/>
          </a:prstGeom>
          <a:solidFill>
            <a:srgbClr val="C0E9FF"/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付款核销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6" name="Rectangle 88">
            <a:extLst>
              <a:ext uri="{FF2B5EF4-FFF2-40B4-BE49-F238E27FC236}">
                <a16:creationId xmlns:a16="http://schemas.microsoft.com/office/drawing/2014/main" id="{831180AB-11EF-29C0-44F4-A7AAB2E32B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9779" y="5744535"/>
            <a:ext cx="768096" cy="216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mpd="sng" algn="ctr">
            <a:solidFill>
              <a:srgbClr val="005F92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推广费核算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7" name="Rectangle 88">
            <a:extLst>
              <a:ext uri="{FF2B5EF4-FFF2-40B4-BE49-F238E27FC236}">
                <a16:creationId xmlns:a16="http://schemas.microsoft.com/office/drawing/2014/main" id="{80A7517B-922D-4DDA-02DD-43ECE665D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7128" y="6056272"/>
            <a:ext cx="771271" cy="216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mpd="sng" algn="ctr">
            <a:solidFill>
              <a:srgbClr val="005F92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清账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2" name="Rectangle 88">
            <a:extLst>
              <a:ext uri="{FF2B5EF4-FFF2-40B4-BE49-F238E27FC236}">
                <a16:creationId xmlns:a16="http://schemas.microsoft.com/office/drawing/2014/main" id="{78900F20-4411-2D72-C140-AC56FFC181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0704" y="5744535"/>
            <a:ext cx="771271" cy="216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mpd="sng" algn="ctr">
            <a:solidFill>
              <a:srgbClr val="005F92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付账款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6" name="Rectangle 37">
            <a:extLst>
              <a:ext uri="{FF2B5EF4-FFF2-40B4-BE49-F238E27FC236}">
                <a16:creationId xmlns:a16="http://schemas.microsoft.com/office/drawing/2014/main" id="{81173D5E-F8A0-DFD4-95B8-8C6C36792D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0704" y="1960392"/>
            <a:ext cx="771271" cy="432000"/>
          </a:xfrm>
          <a:prstGeom prst="rect">
            <a:avLst/>
          </a:prstGeom>
          <a:solidFill>
            <a:srgbClr val="C0E9FF"/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三单匹配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</p:txBody>
      </p:sp>
      <p:sp>
        <p:nvSpPr>
          <p:cNvPr id="102" name="Rectangle 30">
            <a:extLst>
              <a:ext uri="{FF2B5EF4-FFF2-40B4-BE49-F238E27FC236}">
                <a16:creationId xmlns:a16="http://schemas.microsoft.com/office/drawing/2014/main" id="{0B794F86-E8D4-00A8-E2C9-5F8E617EF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089" y="1960392"/>
            <a:ext cx="648000" cy="432000"/>
          </a:xfrm>
          <a:prstGeom prst="rect">
            <a:avLst/>
          </a:prstGeom>
          <a:solidFill>
            <a:srgbClr val="C0E9FF"/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创建营销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采购</a:t>
            </a: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PO</a:t>
            </a:r>
          </a:p>
        </p:txBody>
      </p:sp>
      <p:sp>
        <p:nvSpPr>
          <p:cNvPr id="111" name="Rectangle 88">
            <a:extLst>
              <a:ext uri="{FF2B5EF4-FFF2-40B4-BE49-F238E27FC236}">
                <a16:creationId xmlns:a16="http://schemas.microsoft.com/office/drawing/2014/main" id="{FEB0C531-8366-A9E4-2F94-B41F2D8325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7128" y="5744535"/>
            <a:ext cx="771271" cy="216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mpd="sng" algn="ctr">
            <a:solidFill>
              <a:srgbClr val="005F92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付款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119" name="AutoShape 66">
            <a:extLst>
              <a:ext uri="{FF2B5EF4-FFF2-40B4-BE49-F238E27FC236}">
                <a16:creationId xmlns:a16="http://schemas.microsoft.com/office/drawing/2014/main" id="{9F0631AE-B6ED-E207-111B-6264437E9E5D}"/>
              </a:ext>
            </a:extLst>
          </p:cNvPr>
          <p:cNvCxnSpPr>
            <a:cxnSpLocks noChangeShapeType="1"/>
            <a:stCxn id="276" idx="0"/>
            <a:endCxn id="283" idx="2"/>
          </p:cNvCxnSpPr>
          <p:nvPr/>
        </p:nvCxnSpPr>
        <p:spPr bwMode="auto">
          <a:xfrm flipV="1">
            <a:off x="1622433" y="2392392"/>
            <a:ext cx="0" cy="1895291"/>
          </a:xfrm>
          <a:prstGeom prst="straightConnector1">
            <a:avLst/>
          </a:prstGeom>
          <a:noFill/>
          <a:ln w="12700" cmpd="sng">
            <a:solidFill>
              <a:schemeClr val="bg1">
                <a:lumMod val="50000"/>
              </a:schemeClr>
            </a:solidFill>
            <a:prstDash val="dash"/>
            <a:round/>
            <a:headEnd/>
            <a:tailEnd type="triangle" w="med" len="med"/>
          </a:ln>
        </p:spPr>
      </p:cxnSp>
      <p:cxnSp>
        <p:nvCxnSpPr>
          <p:cNvPr id="130" name="AutoShape 66">
            <a:extLst>
              <a:ext uri="{FF2B5EF4-FFF2-40B4-BE49-F238E27FC236}">
                <a16:creationId xmlns:a16="http://schemas.microsoft.com/office/drawing/2014/main" id="{0734A630-35AF-EB28-358C-55C924C61BCF}"/>
              </a:ext>
            </a:extLst>
          </p:cNvPr>
          <p:cNvCxnSpPr>
            <a:cxnSpLocks noChangeShapeType="1"/>
            <a:stCxn id="81" idx="2"/>
            <a:endCxn id="43" idx="0"/>
          </p:cNvCxnSpPr>
          <p:nvPr/>
        </p:nvCxnSpPr>
        <p:spPr bwMode="auto">
          <a:xfrm>
            <a:off x="3050995" y="3241705"/>
            <a:ext cx="0" cy="1056134"/>
          </a:xfrm>
          <a:prstGeom prst="straightConnector1">
            <a:avLst/>
          </a:prstGeom>
          <a:noFill/>
          <a:ln w="12700" cmpd="sng">
            <a:solidFill>
              <a:schemeClr val="bg1">
                <a:lumMod val="50000"/>
              </a:schemeClr>
            </a:solidFill>
            <a:prstDash val="dash"/>
            <a:round/>
            <a:headEnd/>
            <a:tailEnd type="triangle" w="med" len="med"/>
          </a:ln>
        </p:spPr>
      </p:cxnSp>
      <p:sp>
        <p:nvSpPr>
          <p:cNvPr id="178" name="Rectangle 19">
            <a:extLst>
              <a:ext uri="{FF2B5EF4-FFF2-40B4-BE49-F238E27FC236}">
                <a16:creationId xmlns:a16="http://schemas.microsoft.com/office/drawing/2014/main" id="{A3CC71D8-89A6-6DF2-546B-99E32249A1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48911" y="4267135"/>
            <a:ext cx="792000" cy="39319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物料签收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</a:t>
            </a:r>
            <a:r>
              <a:rPr kumimoji="0" lang="en-US" altLang="zh-C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TCL/</a:t>
            </a: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客户签收）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96" name="Rectangle 29">
            <a:extLst>
              <a:ext uri="{FF2B5EF4-FFF2-40B4-BE49-F238E27FC236}">
                <a16:creationId xmlns:a16="http://schemas.microsoft.com/office/drawing/2014/main" id="{F737C82A-6539-3822-B58E-045179656E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7914" y="2647715"/>
            <a:ext cx="771271" cy="432000"/>
          </a:xfrm>
          <a:prstGeom prst="rect">
            <a:avLst/>
          </a:prstGeom>
          <a:solidFill>
            <a:srgbClr val="C0E9FF"/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开票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20" name="Rectangle 88">
            <a:extLst>
              <a:ext uri="{FF2B5EF4-FFF2-40B4-BE49-F238E27FC236}">
                <a16:creationId xmlns:a16="http://schemas.microsoft.com/office/drawing/2014/main" id="{F586B476-B4C2-C12F-ECE9-9C9E862D4B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0704" y="6056272"/>
            <a:ext cx="771271" cy="216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mpd="sng" algn="ctr">
            <a:solidFill>
              <a:srgbClr val="005F92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冲应付暂估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27" name="TextBox 55">
            <a:extLst>
              <a:ext uri="{FF2B5EF4-FFF2-40B4-BE49-F238E27FC236}">
                <a16:creationId xmlns:a16="http://schemas.microsoft.com/office/drawing/2014/main" id="{506914B4-2C1F-9961-A348-4F9ACB61BDE8}"/>
              </a:ext>
            </a:extLst>
          </p:cNvPr>
          <p:cNvSpPr txBox="1"/>
          <p:nvPr/>
        </p:nvSpPr>
        <p:spPr>
          <a:xfrm>
            <a:off x="1247225" y="1406005"/>
            <a:ext cx="885397" cy="27432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 anchorCtr="0">
            <a:noAutofit/>
          </a:bodyPr>
          <a:lstStyle>
            <a:defPPr>
              <a:defRPr lang="zh-CN"/>
            </a:defPPr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Times New Roman"/>
                <a:ea typeface="Microsoft YaHei"/>
                <a:cs typeface="+mn-cs"/>
              </a:rPr>
              <a:t>项目负责人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Times New Roman"/>
              <a:ea typeface="Microsoft YaHei"/>
              <a:cs typeface="+mn-cs"/>
            </a:endParaRPr>
          </a:p>
        </p:txBody>
      </p:sp>
      <p:sp>
        <p:nvSpPr>
          <p:cNvPr id="228" name="TextBox 48">
            <a:extLst>
              <a:ext uri="{FF2B5EF4-FFF2-40B4-BE49-F238E27FC236}">
                <a16:creationId xmlns:a16="http://schemas.microsoft.com/office/drawing/2014/main" id="{2777BBE0-5644-B8B6-B8F5-CBD69FF666A6}"/>
              </a:ext>
            </a:extLst>
          </p:cNvPr>
          <p:cNvSpPr txBox="1"/>
          <p:nvPr/>
        </p:nvSpPr>
        <p:spPr>
          <a:xfrm>
            <a:off x="2696491" y="1406005"/>
            <a:ext cx="1729304" cy="274320"/>
          </a:xfrm>
          <a:prstGeom prst="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Times New Roman"/>
                <a:ea typeface="Microsoft YaHei"/>
                <a:cs typeface="+mn-cs"/>
              </a:rPr>
              <a:t>营销采购岗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Times New Roman"/>
              <a:ea typeface="Microsoft YaHei"/>
              <a:cs typeface="+mn-cs"/>
            </a:endParaRPr>
          </a:p>
        </p:txBody>
      </p:sp>
      <p:sp>
        <p:nvSpPr>
          <p:cNvPr id="229" name="TextBox 50">
            <a:extLst>
              <a:ext uri="{FF2B5EF4-FFF2-40B4-BE49-F238E27FC236}">
                <a16:creationId xmlns:a16="http://schemas.microsoft.com/office/drawing/2014/main" id="{A651692B-22D9-E782-C0FA-78024A136530}"/>
              </a:ext>
            </a:extLst>
          </p:cNvPr>
          <p:cNvSpPr txBox="1"/>
          <p:nvPr/>
        </p:nvSpPr>
        <p:spPr>
          <a:xfrm>
            <a:off x="4843412" y="1406005"/>
            <a:ext cx="1042184" cy="274320"/>
          </a:xfrm>
          <a:prstGeom prst="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Times New Roman"/>
                <a:ea typeface="Microsoft YaHei"/>
                <a:cs typeface="+mn-cs"/>
              </a:rPr>
              <a:t>项目负责人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Times New Roman"/>
              <a:ea typeface="Microsoft YaHei"/>
              <a:cs typeface="+mn-cs"/>
            </a:endParaRPr>
          </a:p>
        </p:txBody>
      </p:sp>
      <p:sp>
        <p:nvSpPr>
          <p:cNvPr id="230" name="TextBox 51">
            <a:extLst>
              <a:ext uri="{FF2B5EF4-FFF2-40B4-BE49-F238E27FC236}">
                <a16:creationId xmlns:a16="http://schemas.microsoft.com/office/drawing/2014/main" id="{0B0EBCBE-44E1-0217-0802-65A457CFDA5E}"/>
              </a:ext>
            </a:extLst>
          </p:cNvPr>
          <p:cNvSpPr txBox="1"/>
          <p:nvPr/>
        </p:nvSpPr>
        <p:spPr>
          <a:xfrm>
            <a:off x="6045569" y="1406005"/>
            <a:ext cx="838808" cy="27432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 anchorCtr="0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Times New Roman"/>
                <a:ea typeface="Microsoft YaHei"/>
                <a:cs typeface="+mn-cs"/>
              </a:rPr>
              <a:t>项目负责人供应商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Times New Roman"/>
              <a:ea typeface="Microsoft YaHei"/>
              <a:cs typeface="+mn-cs"/>
            </a:endParaRPr>
          </a:p>
        </p:txBody>
      </p:sp>
      <p:sp>
        <p:nvSpPr>
          <p:cNvPr id="231" name="TextBox 52">
            <a:extLst>
              <a:ext uri="{FF2B5EF4-FFF2-40B4-BE49-F238E27FC236}">
                <a16:creationId xmlns:a16="http://schemas.microsoft.com/office/drawing/2014/main" id="{F5D48214-8027-360B-6988-0CA3CB3B2309}"/>
              </a:ext>
            </a:extLst>
          </p:cNvPr>
          <p:cNvSpPr txBox="1"/>
          <p:nvPr/>
        </p:nvSpPr>
        <p:spPr>
          <a:xfrm>
            <a:off x="7080997" y="1406005"/>
            <a:ext cx="838807" cy="274320"/>
          </a:xfrm>
          <a:prstGeom prst="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Times New Roman"/>
                <a:ea typeface="Microsoft YaHei"/>
                <a:cs typeface="+mn-cs"/>
              </a:rPr>
              <a:t>应付岗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Times New Roman"/>
              <a:ea typeface="Microsoft YaHei"/>
              <a:cs typeface="+mn-cs"/>
            </a:endParaRPr>
          </a:p>
        </p:txBody>
      </p:sp>
      <p:sp>
        <p:nvSpPr>
          <p:cNvPr id="232" name="TextBox 53">
            <a:extLst>
              <a:ext uri="{FF2B5EF4-FFF2-40B4-BE49-F238E27FC236}">
                <a16:creationId xmlns:a16="http://schemas.microsoft.com/office/drawing/2014/main" id="{CBE904E2-936B-3299-CDA3-7350FEAF7249}"/>
              </a:ext>
            </a:extLst>
          </p:cNvPr>
          <p:cNvSpPr txBox="1"/>
          <p:nvPr/>
        </p:nvSpPr>
        <p:spPr>
          <a:xfrm>
            <a:off x="8186050" y="1406005"/>
            <a:ext cx="822960" cy="274320"/>
          </a:xfrm>
          <a:prstGeom prst="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Times New Roman"/>
                <a:ea typeface="Microsoft YaHei"/>
                <a:cs typeface="+mn-cs"/>
              </a:rPr>
              <a:t>资金岗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Times New Roman"/>
              <a:ea typeface="Microsoft YaHei"/>
              <a:cs typeface="+mn-cs"/>
            </a:endParaRPr>
          </a:p>
        </p:txBody>
      </p:sp>
      <p:cxnSp>
        <p:nvCxnSpPr>
          <p:cNvPr id="239" name="AutoShape 66">
            <a:extLst>
              <a:ext uri="{FF2B5EF4-FFF2-40B4-BE49-F238E27FC236}">
                <a16:creationId xmlns:a16="http://schemas.microsoft.com/office/drawing/2014/main" id="{72419ECF-F522-BA65-4CFF-15C6CEE648E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951975" y="2146717"/>
            <a:ext cx="255153" cy="0"/>
          </a:xfrm>
          <a:prstGeom prst="straightConnector1">
            <a:avLst/>
          </a:prstGeom>
          <a:noFill/>
          <a:ln w="12700" cmpd="sng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276" name="Rectangle 18">
            <a:extLst>
              <a:ext uri="{FF2B5EF4-FFF2-40B4-BE49-F238E27FC236}">
                <a16:creationId xmlns:a16="http://schemas.microsoft.com/office/drawing/2014/main" id="{E98AE47F-F637-085E-512E-B972CD170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6797" y="4287683"/>
            <a:ext cx="771271" cy="396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营销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采购计划</a:t>
            </a:r>
          </a:p>
        </p:txBody>
      </p:sp>
      <p:sp>
        <p:nvSpPr>
          <p:cNvPr id="283" name="Rectangle 18">
            <a:extLst>
              <a:ext uri="{FF2B5EF4-FFF2-40B4-BE49-F238E27FC236}">
                <a16:creationId xmlns:a16="http://schemas.microsoft.com/office/drawing/2014/main" id="{26D281FC-FC33-BCDD-8743-5CC32398E2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6797" y="1960392"/>
            <a:ext cx="771271" cy="432000"/>
          </a:xfrm>
          <a:prstGeom prst="rect">
            <a:avLst/>
          </a:prstGeom>
          <a:solidFill>
            <a:srgbClr val="C0E9FF"/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创建采购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申请</a:t>
            </a: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PR</a:t>
            </a:r>
            <a:endParaRPr kumimoji="0" lang="zh-CN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43" name="Rectangle 30">
            <a:extLst>
              <a:ext uri="{FF2B5EF4-FFF2-40B4-BE49-F238E27FC236}">
                <a16:creationId xmlns:a16="http://schemas.microsoft.com/office/drawing/2014/main" id="{9378C579-BD54-D30F-93D2-FA83BB1C95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1339" y="4297839"/>
            <a:ext cx="771271" cy="39319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推广费测算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7" name="Rectangle 88">
            <a:extLst>
              <a:ext uri="{FF2B5EF4-FFF2-40B4-BE49-F238E27FC236}">
                <a16:creationId xmlns:a16="http://schemas.microsoft.com/office/drawing/2014/main" id="{CB5D6E97-0058-310F-F5D9-9354F5E1E6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9779" y="6056272"/>
            <a:ext cx="768096" cy="216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mpd="sng" algn="ctr">
            <a:solidFill>
              <a:srgbClr val="005F92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付暂估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2" name="Rectangle 102">
            <a:extLst>
              <a:ext uri="{FF2B5EF4-FFF2-40B4-BE49-F238E27FC236}">
                <a16:creationId xmlns:a16="http://schemas.microsoft.com/office/drawing/2014/main" id="{BFEB496C-FFF8-CFF0-224D-9F9C51E477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8610" y="1010541"/>
            <a:ext cx="2484000" cy="360000"/>
          </a:xfrm>
          <a:prstGeom prst="chevron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寻源与采购订单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3" name="Rectangle 104">
            <a:extLst>
              <a:ext uri="{FF2B5EF4-FFF2-40B4-BE49-F238E27FC236}">
                <a16:creationId xmlns:a16="http://schemas.microsoft.com/office/drawing/2014/main" id="{28A4D9D9-69FC-4012-BA3D-7BA0877A4D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7471" y="1010542"/>
            <a:ext cx="1332000" cy="360000"/>
          </a:xfrm>
          <a:prstGeom prst="chevron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商品接收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4" name="Rectangle 104">
            <a:extLst>
              <a:ext uri="{FF2B5EF4-FFF2-40B4-BE49-F238E27FC236}">
                <a16:creationId xmlns:a16="http://schemas.microsoft.com/office/drawing/2014/main" id="{2084BD8F-DD17-480D-88F0-3EAF2A59D2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8975" y="1010542"/>
            <a:ext cx="1131198" cy="360000"/>
          </a:xfrm>
          <a:prstGeom prst="chevron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发票校验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6" name="Rectangle 104">
            <a:extLst>
              <a:ext uri="{FF2B5EF4-FFF2-40B4-BE49-F238E27FC236}">
                <a16:creationId xmlns:a16="http://schemas.microsoft.com/office/drawing/2014/main" id="{FCC80859-7234-6D54-2DC6-72D2B5BFB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5086" y="1009062"/>
            <a:ext cx="1002130" cy="360000"/>
          </a:xfrm>
          <a:prstGeom prst="chevron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对账开票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9" name="箭头: 五边形 12">
            <a:extLst>
              <a:ext uri="{FF2B5EF4-FFF2-40B4-BE49-F238E27FC236}">
                <a16:creationId xmlns:a16="http://schemas.microsoft.com/office/drawing/2014/main" id="{D928951F-80D0-CB8A-D9A1-422852771CBD}"/>
              </a:ext>
            </a:extLst>
          </p:cNvPr>
          <p:cNvSpPr/>
          <p:nvPr/>
        </p:nvSpPr>
        <p:spPr>
          <a:xfrm>
            <a:off x="8031931" y="1010542"/>
            <a:ext cx="1131198" cy="360000"/>
          </a:xfrm>
          <a:prstGeom prst="chevron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付款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70" name="Rectangle 102">
            <a:extLst>
              <a:ext uri="{FF2B5EF4-FFF2-40B4-BE49-F238E27FC236}">
                <a16:creationId xmlns:a16="http://schemas.microsoft.com/office/drawing/2014/main" id="{2F845301-DE71-8FE0-D163-346E20DC7A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2995" y="1005798"/>
            <a:ext cx="1133856" cy="360000"/>
          </a:xfrm>
          <a:prstGeom prst="chevron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需求管理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74" name="Oval 510">
            <a:extLst>
              <a:ext uri="{FF2B5EF4-FFF2-40B4-BE49-F238E27FC236}">
                <a16:creationId xmlns:a16="http://schemas.microsoft.com/office/drawing/2014/main" id="{EAE27399-BCAA-BED8-A12F-AB95DF521356}"/>
              </a:ext>
            </a:extLst>
          </p:cNvPr>
          <p:cNvSpPr/>
          <p:nvPr/>
        </p:nvSpPr>
        <p:spPr>
          <a:xfrm>
            <a:off x="1073070" y="842157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1</a:t>
            </a:r>
          </a:p>
        </p:txBody>
      </p:sp>
      <p:sp>
        <p:nvSpPr>
          <p:cNvPr id="175" name="Oval 510">
            <a:extLst>
              <a:ext uri="{FF2B5EF4-FFF2-40B4-BE49-F238E27FC236}">
                <a16:creationId xmlns:a16="http://schemas.microsoft.com/office/drawing/2014/main" id="{4F95BE77-BFF0-923A-2D5B-D087ACC9877D}"/>
              </a:ext>
            </a:extLst>
          </p:cNvPr>
          <p:cNvSpPr/>
          <p:nvPr/>
        </p:nvSpPr>
        <p:spPr>
          <a:xfrm>
            <a:off x="2177453" y="842157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2</a:t>
            </a:r>
          </a:p>
        </p:txBody>
      </p:sp>
      <p:sp>
        <p:nvSpPr>
          <p:cNvPr id="176" name="Oval 510">
            <a:extLst>
              <a:ext uri="{FF2B5EF4-FFF2-40B4-BE49-F238E27FC236}">
                <a16:creationId xmlns:a16="http://schemas.microsoft.com/office/drawing/2014/main" id="{27320F3E-FEDD-9C2D-1BAA-8210BAC8EAC6}"/>
              </a:ext>
            </a:extLst>
          </p:cNvPr>
          <p:cNvSpPr/>
          <p:nvPr/>
        </p:nvSpPr>
        <p:spPr>
          <a:xfrm>
            <a:off x="4608782" y="842157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3</a:t>
            </a:r>
          </a:p>
        </p:txBody>
      </p:sp>
      <p:sp>
        <p:nvSpPr>
          <p:cNvPr id="177" name="Oval 510">
            <a:extLst>
              <a:ext uri="{FF2B5EF4-FFF2-40B4-BE49-F238E27FC236}">
                <a16:creationId xmlns:a16="http://schemas.microsoft.com/office/drawing/2014/main" id="{5DEA2221-40EA-1057-7795-8F0FA2C6BC9C}"/>
              </a:ext>
            </a:extLst>
          </p:cNvPr>
          <p:cNvSpPr/>
          <p:nvPr/>
        </p:nvSpPr>
        <p:spPr>
          <a:xfrm>
            <a:off x="5873523" y="842157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4</a:t>
            </a:r>
          </a:p>
        </p:txBody>
      </p:sp>
      <p:sp>
        <p:nvSpPr>
          <p:cNvPr id="200" name="man-with-bow_56788">
            <a:extLst>
              <a:ext uri="{FF2B5EF4-FFF2-40B4-BE49-F238E27FC236}">
                <a16:creationId xmlns:a16="http://schemas.microsoft.com/office/drawing/2014/main" id="{528CC297-6C54-0E36-DF37-105F6BB72BF4}"/>
              </a:ext>
            </a:extLst>
          </p:cNvPr>
          <p:cNvSpPr/>
          <p:nvPr/>
        </p:nvSpPr>
        <p:spPr>
          <a:xfrm>
            <a:off x="876085" y="1393944"/>
            <a:ext cx="308588" cy="298442"/>
          </a:xfrm>
          <a:custGeom>
            <a:avLst/>
            <a:gdLst>
              <a:gd name="connsiteX0" fmla="*/ 188888 w 557678"/>
              <a:gd name="connsiteY0" fmla="*/ 367011 h 607780"/>
              <a:gd name="connsiteX1" fmla="*/ 199785 w 557678"/>
              <a:gd name="connsiteY1" fmla="*/ 373977 h 607780"/>
              <a:gd name="connsiteX2" fmla="*/ 278839 w 557678"/>
              <a:gd name="connsiteY2" fmla="*/ 490974 h 607780"/>
              <a:gd name="connsiteX3" fmla="*/ 357893 w 557678"/>
              <a:gd name="connsiteY3" fmla="*/ 373977 h 607780"/>
              <a:gd name="connsiteX4" fmla="*/ 368886 w 557678"/>
              <a:gd name="connsiteY4" fmla="*/ 367011 h 607780"/>
              <a:gd name="connsiteX5" fmla="*/ 374908 w 557678"/>
              <a:gd name="connsiteY5" fmla="*/ 368729 h 607780"/>
              <a:gd name="connsiteX6" fmla="*/ 557678 w 557678"/>
              <a:gd name="connsiteY6" fmla="*/ 480572 h 607780"/>
              <a:gd name="connsiteX7" fmla="*/ 557678 w 557678"/>
              <a:gd name="connsiteY7" fmla="*/ 607780 h 607780"/>
              <a:gd name="connsiteX8" fmla="*/ 278839 w 557678"/>
              <a:gd name="connsiteY8" fmla="*/ 607780 h 607780"/>
              <a:gd name="connsiteX9" fmla="*/ 0 w 557678"/>
              <a:gd name="connsiteY9" fmla="*/ 607780 h 607780"/>
              <a:gd name="connsiteX10" fmla="*/ 0 w 557678"/>
              <a:gd name="connsiteY10" fmla="*/ 480572 h 607780"/>
              <a:gd name="connsiteX11" fmla="*/ 182770 w 557678"/>
              <a:gd name="connsiteY11" fmla="*/ 368729 h 607780"/>
              <a:gd name="connsiteX12" fmla="*/ 188888 w 557678"/>
              <a:gd name="connsiteY12" fmla="*/ 367011 h 607780"/>
              <a:gd name="connsiteX13" fmla="*/ 233347 w 557678"/>
              <a:gd name="connsiteY13" fmla="*/ 332928 h 607780"/>
              <a:gd name="connsiteX14" fmla="*/ 235832 w 557678"/>
              <a:gd name="connsiteY14" fmla="*/ 333119 h 607780"/>
              <a:gd name="connsiteX15" fmla="*/ 236501 w 557678"/>
              <a:gd name="connsiteY15" fmla="*/ 333214 h 607780"/>
              <a:gd name="connsiteX16" fmla="*/ 236692 w 557678"/>
              <a:gd name="connsiteY16" fmla="*/ 333214 h 607780"/>
              <a:gd name="connsiteX17" fmla="*/ 237934 w 557678"/>
              <a:gd name="connsiteY17" fmla="*/ 333596 h 607780"/>
              <a:gd name="connsiteX18" fmla="*/ 238508 w 557678"/>
              <a:gd name="connsiteY18" fmla="*/ 333787 h 607780"/>
              <a:gd name="connsiteX19" fmla="*/ 239177 w 557678"/>
              <a:gd name="connsiteY19" fmla="*/ 333977 h 607780"/>
              <a:gd name="connsiteX20" fmla="*/ 243478 w 557678"/>
              <a:gd name="connsiteY20" fmla="*/ 336553 h 607780"/>
              <a:gd name="connsiteX21" fmla="*/ 264981 w 557678"/>
              <a:gd name="connsiteY21" fmla="*/ 353724 h 607780"/>
              <a:gd name="connsiteX22" fmla="*/ 267657 w 557678"/>
              <a:gd name="connsiteY22" fmla="*/ 353820 h 607780"/>
              <a:gd name="connsiteX23" fmla="*/ 278839 w 557678"/>
              <a:gd name="connsiteY23" fmla="*/ 353724 h 607780"/>
              <a:gd name="connsiteX24" fmla="*/ 290021 w 557678"/>
              <a:gd name="connsiteY24" fmla="*/ 353820 h 607780"/>
              <a:gd name="connsiteX25" fmla="*/ 292792 w 557678"/>
              <a:gd name="connsiteY25" fmla="*/ 353724 h 607780"/>
              <a:gd name="connsiteX26" fmla="*/ 314200 w 557678"/>
              <a:gd name="connsiteY26" fmla="*/ 336553 h 607780"/>
              <a:gd name="connsiteX27" fmla="*/ 318596 w 557678"/>
              <a:gd name="connsiteY27" fmla="*/ 333977 h 607780"/>
              <a:gd name="connsiteX28" fmla="*/ 319265 w 557678"/>
              <a:gd name="connsiteY28" fmla="*/ 333787 h 607780"/>
              <a:gd name="connsiteX29" fmla="*/ 319743 w 557678"/>
              <a:gd name="connsiteY29" fmla="*/ 333596 h 607780"/>
              <a:gd name="connsiteX30" fmla="*/ 321081 w 557678"/>
              <a:gd name="connsiteY30" fmla="*/ 333214 h 607780"/>
              <a:gd name="connsiteX31" fmla="*/ 321272 w 557678"/>
              <a:gd name="connsiteY31" fmla="*/ 333214 h 607780"/>
              <a:gd name="connsiteX32" fmla="*/ 321846 w 557678"/>
              <a:gd name="connsiteY32" fmla="*/ 333119 h 607780"/>
              <a:gd name="connsiteX33" fmla="*/ 324426 w 557678"/>
              <a:gd name="connsiteY33" fmla="*/ 332928 h 607780"/>
              <a:gd name="connsiteX34" fmla="*/ 340195 w 557678"/>
              <a:gd name="connsiteY34" fmla="*/ 347905 h 607780"/>
              <a:gd name="connsiteX35" fmla="*/ 340195 w 557678"/>
              <a:gd name="connsiteY35" fmla="*/ 380912 h 607780"/>
              <a:gd name="connsiteX36" fmla="*/ 324426 w 557678"/>
              <a:gd name="connsiteY36" fmla="*/ 396366 h 607780"/>
              <a:gd name="connsiteX37" fmla="*/ 314869 w 557678"/>
              <a:gd name="connsiteY37" fmla="*/ 393123 h 607780"/>
              <a:gd name="connsiteX38" fmla="*/ 294417 w 557678"/>
              <a:gd name="connsiteY38" fmla="*/ 374807 h 607780"/>
              <a:gd name="connsiteX39" fmla="*/ 278839 w 557678"/>
              <a:gd name="connsiteY39" fmla="*/ 374902 h 607780"/>
              <a:gd name="connsiteX40" fmla="*/ 263261 w 557678"/>
              <a:gd name="connsiteY40" fmla="*/ 374807 h 607780"/>
              <a:gd name="connsiteX41" fmla="*/ 242809 w 557678"/>
              <a:gd name="connsiteY41" fmla="*/ 393123 h 607780"/>
              <a:gd name="connsiteX42" fmla="*/ 233347 w 557678"/>
              <a:gd name="connsiteY42" fmla="*/ 396366 h 607780"/>
              <a:gd name="connsiteX43" fmla="*/ 217482 w 557678"/>
              <a:gd name="connsiteY43" fmla="*/ 380912 h 607780"/>
              <a:gd name="connsiteX44" fmla="*/ 217482 w 557678"/>
              <a:gd name="connsiteY44" fmla="*/ 347905 h 607780"/>
              <a:gd name="connsiteX45" fmla="*/ 233347 w 557678"/>
              <a:gd name="connsiteY45" fmla="*/ 332928 h 607780"/>
              <a:gd name="connsiteX46" fmla="*/ 277214 w 557678"/>
              <a:gd name="connsiteY46" fmla="*/ 0 h 607780"/>
              <a:gd name="connsiteX47" fmla="*/ 278552 w 557678"/>
              <a:gd name="connsiteY47" fmla="*/ 0 h 607780"/>
              <a:gd name="connsiteX48" fmla="*/ 278744 w 557678"/>
              <a:gd name="connsiteY48" fmla="*/ 0 h 607780"/>
              <a:gd name="connsiteX49" fmla="*/ 278839 w 557678"/>
              <a:gd name="connsiteY49" fmla="*/ 0 h 607780"/>
              <a:gd name="connsiteX50" fmla="*/ 278935 w 557678"/>
              <a:gd name="connsiteY50" fmla="*/ 0 h 607780"/>
              <a:gd name="connsiteX51" fmla="*/ 279222 w 557678"/>
              <a:gd name="connsiteY51" fmla="*/ 0 h 607780"/>
              <a:gd name="connsiteX52" fmla="*/ 280560 w 557678"/>
              <a:gd name="connsiteY52" fmla="*/ 0 h 607780"/>
              <a:gd name="connsiteX53" fmla="*/ 404758 w 557678"/>
              <a:gd name="connsiteY53" fmla="*/ 105659 h 607780"/>
              <a:gd name="connsiteX54" fmla="*/ 396727 w 557678"/>
              <a:gd name="connsiteY54" fmla="*/ 160159 h 607780"/>
              <a:gd name="connsiteX55" fmla="*/ 408009 w 557678"/>
              <a:gd name="connsiteY55" fmla="*/ 186120 h 607780"/>
              <a:gd name="connsiteX56" fmla="*/ 379039 w 557678"/>
              <a:gd name="connsiteY56" fmla="*/ 238616 h 607780"/>
              <a:gd name="connsiteX57" fmla="*/ 317179 w 557678"/>
              <a:gd name="connsiteY57" fmla="*/ 313541 h 607780"/>
              <a:gd name="connsiteX58" fmla="*/ 278935 w 557678"/>
              <a:gd name="connsiteY58" fmla="*/ 322131 h 607780"/>
              <a:gd name="connsiteX59" fmla="*/ 278839 w 557678"/>
              <a:gd name="connsiteY59" fmla="*/ 322131 h 607780"/>
              <a:gd name="connsiteX60" fmla="*/ 278744 w 557678"/>
              <a:gd name="connsiteY60" fmla="*/ 322131 h 607780"/>
              <a:gd name="connsiteX61" fmla="*/ 240499 w 557678"/>
              <a:gd name="connsiteY61" fmla="*/ 313541 h 607780"/>
              <a:gd name="connsiteX62" fmla="*/ 178734 w 557678"/>
              <a:gd name="connsiteY62" fmla="*/ 238616 h 607780"/>
              <a:gd name="connsiteX63" fmla="*/ 149669 w 557678"/>
              <a:gd name="connsiteY63" fmla="*/ 186120 h 607780"/>
              <a:gd name="connsiteX64" fmla="*/ 161046 w 557678"/>
              <a:gd name="connsiteY64" fmla="*/ 160159 h 607780"/>
              <a:gd name="connsiteX65" fmla="*/ 153015 w 557678"/>
              <a:gd name="connsiteY65" fmla="*/ 105659 h 607780"/>
              <a:gd name="connsiteX66" fmla="*/ 277214 w 557678"/>
              <a:gd name="connsiteY66" fmla="*/ 0 h 607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557678" h="607780">
                <a:moveTo>
                  <a:pt x="188888" y="367011"/>
                </a:moveTo>
                <a:cubicBezTo>
                  <a:pt x="193667" y="367011"/>
                  <a:pt x="197873" y="369874"/>
                  <a:pt x="199785" y="373977"/>
                </a:cubicBezTo>
                <a:cubicBezTo>
                  <a:pt x="218808" y="405851"/>
                  <a:pt x="254177" y="489256"/>
                  <a:pt x="278839" y="490974"/>
                </a:cubicBezTo>
                <a:cubicBezTo>
                  <a:pt x="303502" y="489256"/>
                  <a:pt x="338870" y="405851"/>
                  <a:pt x="357893" y="373977"/>
                </a:cubicBezTo>
                <a:cubicBezTo>
                  <a:pt x="359900" y="369874"/>
                  <a:pt x="364011" y="367011"/>
                  <a:pt x="368886" y="367011"/>
                </a:cubicBezTo>
                <a:cubicBezTo>
                  <a:pt x="371085" y="367011"/>
                  <a:pt x="372996" y="367870"/>
                  <a:pt x="374908" y="368729"/>
                </a:cubicBezTo>
                <a:cubicBezTo>
                  <a:pt x="382269" y="371878"/>
                  <a:pt x="557678" y="427132"/>
                  <a:pt x="557678" y="480572"/>
                </a:cubicBezTo>
                <a:lnTo>
                  <a:pt x="557678" y="607780"/>
                </a:lnTo>
                <a:lnTo>
                  <a:pt x="278839" y="607780"/>
                </a:lnTo>
                <a:lnTo>
                  <a:pt x="0" y="607780"/>
                </a:lnTo>
                <a:lnTo>
                  <a:pt x="0" y="480572"/>
                </a:lnTo>
                <a:cubicBezTo>
                  <a:pt x="0" y="421120"/>
                  <a:pt x="175314" y="371687"/>
                  <a:pt x="182770" y="368729"/>
                </a:cubicBezTo>
                <a:cubicBezTo>
                  <a:pt x="184682" y="367870"/>
                  <a:pt x="186593" y="367011"/>
                  <a:pt x="188888" y="367011"/>
                </a:cubicBezTo>
                <a:close/>
                <a:moveTo>
                  <a:pt x="233347" y="332928"/>
                </a:moveTo>
                <a:cubicBezTo>
                  <a:pt x="234207" y="332928"/>
                  <a:pt x="235067" y="332928"/>
                  <a:pt x="235832" y="333119"/>
                </a:cubicBezTo>
                <a:cubicBezTo>
                  <a:pt x="236023" y="333119"/>
                  <a:pt x="236310" y="333119"/>
                  <a:pt x="236501" y="333214"/>
                </a:cubicBezTo>
                <a:cubicBezTo>
                  <a:pt x="236501" y="333214"/>
                  <a:pt x="236596" y="333214"/>
                  <a:pt x="236692" y="333214"/>
                </a:cubicBezTo>
                <a:cubicBezTo>
                  <a:pt x="237074" y="333310"/>
                  <a:pt x="237552" y="333405"/>
                  <a:pt x="237934" y="333596"/>
                </a:cubicBezTo>
                <a:cubicBezTo>
                  <a:pt x="238126" y="333596"/>
                  <a:pt x="238317" y="333691"/>
                  <a:pt x="238508" y="333787"/>
                </a:cubicBezTo>
                <a:cubicBezTo>
                  <a:pt x="238699" y="333787"/>
                  <a:pt x="238890" y="333882"/>
                  <a:pt x="239177" y="333977"/>
                </a:cubicBezTo>
                <a:cubicBezTo>
                  <a:pt x="240706" y="334645"/>
                  <a:pt x="242140" y="335504"/>
                  <a:pt x="243478" y="336553"/>
                </a:cubicBezTo>
                <a:cubicBezTo>
                  <a:pt x="250836" y="342372"/>
                  <a:pt x="255615" y="353056"/>
                  <a:pt x="264981" y="353724"/>
                </a:cubicBezTo>
                <a:cubicBezTo>
                  <a:pt x="265841" y="353820"/>
                  <a:pt x="266797" y="353820"/>
                  <a:pt x="267657" y="353820"/>
                </a:cubicBezTo>
                <a:cubicBezTo>
                  <a:pt x="268517" y="353820"/>
                  <a:pt x="274060" y="353724"/>
                  <a:pt x="278839" y="353724"/>
                </a:cubicBezTo>
                <a:cubicBezTo>
                  <a:pt x="283617" y="353724"/>
                  <a:pt x="289256" y="353820"/>
                  <a:pt x="290021" y="353820"/>
                </a:cubicBezTo>
                <a:cubicBezTo>
                  <a:pt x="290976" y="353820"/>
                  <a:pt x="291836" y="353820"/>
                  <a:pt x="292792" y="353724"/>
                </a:cubicBezTo>
                <a:cubicBezTo>
                  <a:pt x="302158" y="353056"/>
                  <a:pt x="306841" y="342372"/>
                  <a:pt x="314200" y="336553"/>
                </a:cubicBezTo>
                <a:cubicBezTo>
                  <a:pt x="315538" y="335504"/>
                  <a:pt x="316972" y="334645"/>
                  <a:pt x="318596" y="333977"/>
                </a:cubicBezTo>
                <a:cubicBezTo>
                  <a:pt x="318787" y="333882"/>
                  <a:pt x="318979" y="333787"/>
                  <a:pt x="319265" y="333787"/>
                </a:cubicBezTo>
                <a:cubicBezTo>
                  <a:pt x="319456" y="333691"/>
                  <a:pt x="319648" y="333596"/>
                  <a:pt x="319743" y="333596"/>
                </a:cubicBezTo>
                <a:cubicBezTo>
                  <a:pt x="320221" y="333405"/>
                  <a:pt x="320603" y="333310"/>
                  <a:pt x="321081" y="333214"/>
                </a:cubicBezTo>
                <a:cubicBezTo>
                  <a:pt x="321081" y="333214"/>
                  <a:pt x="321177" y="333214"/>
                  <a:pt x="321272" y="333214"/>
                </a:cubicBezTo>
                <a:cubicBezTo>
                  <a:pt x="321463" y="333119"/>
                  <a:pt x="321654" y="333119"/>
                  <a:pt x="321846" y="333119"/>
                </a:cubicBezTo>
                <a:cubicBezTo>
                  <a:pt x="322706" y="332928"/>
                  <a:pt x="323566" y="332928"/>
                  <a:pt x="324426" y="332928"/>
                </a:cubicBezTo>
                <a:cubicBezTo>
                  <a:pt x="332836" y="332928"/>
                  <a:pt x="339813" y="339510"/>
                  <a:pt x="340195" y="347905"/>
                </a:cubicBezTo>
                <a:lnTo>
                  <a:pt x="340195" y="380912"/>
                </a:lnTo>
                <a:cubicBezTo>
                  <a:pt x="340004" y="389498"/>
                  <a:pt x="333027" y="396366"/>
                  <a:pt x="324426" y="396366"/>
                </a:cubicBezTo>
                <a:cubicBezTo>
                  <a:pt x="320794" y="396366"/>
                  <a:pt x="317545" y="395126"/>
                  <a:pt x="314869" y="393123"/>
                </a:cubicBezTo>
                <a:cubicBezTo>
                  <a:pt x="305885" y="387208"/>
                  <a:pt x="299864" y="374997"/>
                  <a:pt x="294417" y="374807"/>
                </a:cubicBezTo>
                <a:lnTo>
                  <a:pt x="278839" y="374902"/>
                </a:lnTo>
                <a:lnTo>
                  <a:pt x="263261" y="374807"/>
                </a:lnTo>
                <a:cubicBezTo>
                  <a:pt x="257813" y="374997"/>
                  <a:pt x="251792" y="387208"/>
                  <a:pt x="242809" y="393123"/>
                </a:cubicBezTo>
                <a:cubicBezTo>
                  <a:pt x="240228" y="395126"/>
                  <a:pt x="236883" y="396366"/>
                  <a:pt x="233347" y="396366"/>
                </a:cubicBezTo>
                <a:cubicBezTo>
                  <a:pt x="224746" y="396366"/>
                  <a:pt x="217769" y="389498"/>
                  <a:pt x="217482" y="380912"/>
                </a:cubicBezTo>
                <a:lnTo>
                  <a:pt x="217482" y="347905"/>
                </a:lnTo>
                <a:cubicBezTo>
                  <a:pt x="217960" y="339510"/>
                  <a:pt x="224841" y="332928"/>
                  <a:pt x="233347" y="332928"/>
                </a:cubicBezTo>
                <a:close/>
                <a:moveTo>
                  <a:pt x="277214" y="0"/>
                </a:moveTo>
                <a:cubicBezTo>
                  <a:pt x="277596" y="0"/>
                  <a:pt x="278074" y="0"/>
                  <a:pt x="278552" y="0"/>
                </a:cubicBezTo>
                <a:cubicBezTo>
                  <a:pt x="278648" y="0"/>
                  <a:pt x="278648" y="0"/>
                  <a:pt x="278744" y="0"/>
                </a:cubicBezTo>
                <a:cubicBezTo>
                  <a:pt x="278744" y="0"/>
                  <a:pt x="278839" y="0"/>
                  <a:pt x="278839" y="0"/>
                </a:cubicBezTo>
                <a:cubicBezTo>
                  <a:pt x="278935" y="0"/>
                  <a:pt x="278935" y="0"/>
                  <a:pt x="278935" y="0"/>
                </a:cubicBezTo>
                <a:cubicBezTo>
                  <a:pt x="279030" y="0"/>
                  <a:pt x="279126" y="0"/>
                  <a:pt x="279222" y="0"/>
                </a:cubicBezTo>
                <a:cubicBezTo>
                  <a:pt x="279604" y="0"/>
                  <a:pt x="280082" y="0"/>
                  <a:pt x="280560" y="0"/>
                </a:cubicBezTo>
                <a:cubicBezTo>
                  <a:pt x="387453" y="0"/>
                  <a:pt x="407531" y="76166"/>
                  <a:pt x="404758" y="105659"/>
                </a:cubicBezTo>
                <a:cubicBezTo>
                  <a:pt x="402464" y="129330"/>
                  <a:pt x="396727" y="160159"/>
                  <a:pt x="396727" y="160159"/>
                </a:cubicBezTo>
                <a:cubicBezTo>
                  <a:pt x="396727" y="160159"/>
                  <a:pt x="408009" y="165313"/>
                  <a:pt x="408009" y="186120"/>
                </a:cubicBezTo>
                <a:cubicBezTo>
                  <a:pt x="404089" y="238234"/>
                  <a:pt x="383246" y="215708"/>
                  <a:pt x="379039" y="238616"/>
                </a:cubicBezTo>
                <a:cubicBezTo>
                  <a:pt x="371868" y="276603"/>
                  <a:pt x="338213" y="304092"/>
                  <a:pt x="317179" y="313541"/>
                </a:cubicBezTo>
                <a:cubicBezTo>
                  <a:pt x="304941" y="319077"/>
                  <a:pt x="292225" y="321845"/>
                  <a:pt x="278935" y="322131"/>
                </a:cubicBezTo>
                <a:cubicBezTo>
                  <a:pt x="278935" y="322131"/>
                  <a:pt x="278935" y="322131"/>
                  <a:pt x="278839" y="322131"/>
                </a:cubicBezTo>
                <a:cubicBezTo>
                  <a:pt x="278839" y="322131"/>
                  <a:pt x="278744" y="322131"/>
                  <a:pt x="278744" y="322131"/>
                </a:cubicBezTo>
                <a:cubicBezTo>
                  <a:pt x="265454" y="321845"/>
                  <a:pt x="252738" y="319077"/>
                  <a:pt x="240499" y="313541"/>
                </a:cubicBezTo>
                <a:cubicBezTo>
                  <a:pt x="219561" y="304092"/>
                  <a:pt x="185810" y="276603"/>
                  <a:pt x="178734" y="238616"/>
                </a:cubicBezTo>
                <a:cubicBezTo>
                  <a:pt x="174432" y="215708"/>
                  <a:pt x="153684" y="238234"/>
                  <a:pt x="149669" y="186120"/>
                </a:cubicBezTo>
                <a:cubicBezTo>
                  <a:pt x="149669" y="165313"/>
                  <a:pt x="161046" y="160159"/>
                  <a:pt x="161046" y="160159"/>
                </a:cubicBezTo>
                <a:cubicBezTo>
                  <a:pt x="161046" y="160159"/>
                  <a:pt x="155214" y="129330"/>
                  <a:pt x="153015" y="105659"/>
                </a:cubicBezTo>
                <a:cubicBezTo>
                  <a:pt x="150147" y="76166"/>
                  <a:pt x="170225" y="0"/>
                  <a:pt x="277214" y="0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cs"/>
            </a:endParaRPr>
          </a:p>
        </p:txBody>
      </p:sp>
      <p:sp>
        <p:nvSpPr>
          <p:cNvPr id="205" name="Rectangle 13">
            <a:extLst>
              <a:ext uri="{FF2B5EF4-FFF2-40B4-BE49-F238E27FC236}">
                <a16:creationId xmlns:a16="http://schemas.microsoft.com/office/drawing/2014/main" id="{0E81DDB7-DAAE-D1A1-3715-115244617B61}"/>
              </a:ext>
            </a:extLst>
          </p:cNvPr>
          <p:cNvSpPr/>
          <p:nvPr/>
        </p:nvSpPr>
        <p:spPr>
          <a:xfrm>
            <a:off x="9312650" y="1283428"/>
            <a:ext cx="2706629" cy="1954761"/>
          </a:xfrm>
          <a:prstGeom prst="rect">
            <a:avLst/>
          </a:prstGeom>
          <a:pattFill prst="ltUpDiag">
            <a:fgClr>
              <a:schemeClr val="accent6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①</a:t>
            </a: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流程</a:t>
            </a:r>
            <a:r>
              <a:rPr kumimoji="0" lang="en-US" altLang="zh-CN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wner</a:t>
            </a: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：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缺乏实业层面统一行管部门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推动推广费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PTP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流程管理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②</a:t>
            </a: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计提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：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立项后即计提费用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，未在物料签收</a:t>
            </a: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环节确认费用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③</a:t>
            </a:r>
            <a:r>
              <a:rPr kumimoji="0" lang="zh-CN" altLang="en-US" sz="11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对账结算：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依据供应商提供的发票、数据进行对账结算</a:t>
            </a: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，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数据准确性无法验证，且无法对差异进行过程管控</a:t>
            </a:r>
            <a:endParaRPr kumimoji="0" lang="en-US" altLang="zh-CN" sz="11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77EA313E-2474-E65A-1146-619B631C02E4}"/>
              </a:ext>
            </a:extLst>
          </p:cNvPr>
          <p:cNvSpPr/>
          <p:nvPr/>
        </p:nvSpPr>
        <p:spPr>
          <a:xfrm>
            <a:off x="9312651" y="1283429"/>
            <a:ext cx="1214378" cy="256648"/>
          </a:xfrm>
          <a:prstGeom prst="rect">
            <a:avLst/>
          </a:prstGeom>
          <a:solidFill>
            <a:srgbClr val="005F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现状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4985BE58-54F3-F322-A187-C8DE25A2532B}"/>
              </a:ext>
            </a:extLst>
          </p:cNvPr>
          <p:cNvSpPr/>
          <p:nvPr/>
        </p:nvSpPr>
        <p:spPr>
          <a:xfrm>
            <a:off x="9348339" y="3373267"/>
            <a:ext cx="1214378" cy="256648"/>
          </a:xfrm>
          <a:prstGeom prst="rect">
            <a:avLst/>
          </a:prstGeom>
          <a:solidFill>
            <a:srgbClr val="005F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变革点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41" name="Oval 510">
            <a:extLst>
              <a:ext uri="{FF2B5EF4-FFF2-40B4-BE49-F238E27FC236}">
                <a16:creationId xmlns:a16="http://schemas.microsoft.com/office/drawing/2014/main" id="{2920B1C1-850C-6A14-DBDD-97EFE8F2F00D}"/>
              </a:ext>
            </a:extLst>
          </p:cNvPr>
          <p:cNvSpPr/>
          <p:nvPr/>
        </p:nvSpPr>
        <p:spPr>
          <a:xfrm>
            <a:off x="9151880" y="4255623"/>
            <a:ext cx="253316" cy="253316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1</a:t>
            </a:r>
          </a:p>
        </p:txBody>
      </p:sp>
      <p:sp>
        <p:nvSpPr>
          <p:cNvPr id="155" name="Oval 510">
            <a:extLst>
              <a:ext uri="{FF2B5EF4-FFF2-40B4-BE49-F238E27FC236}">
                <a16:creationId xmlns:a16="http://schemas.microsoft.com/office/drawing/2014/main" id="{AB3E17FE-2BEF-56F8-340D-F06A2D12C1E1}"/>
              </a:ext>
            </a:extLst>
          </p:cNvPr>
          <p:cNvSpPr/>
          <p:nvPr/>
        </p:nvSpPr>
        <p:spPr>
          <a:xfrm>
            <a:off x="9151880" y="4707998"/>
            <a:ext cx="253316" cy="253316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2</a:t>
            </a:r>
          </a:p>
        </p:txBody>
      </p:sp>
      <p:sp>
        <p:nvSpPr>
          <p:cNvPr id="156" name="Oval 510">
            <a:extLst>
              <a:ext uri="{FF2B5EF4-FFF2-40B4-BE49-F238E27FC236}">
                <a16:creationId xmlns:a16="http://schemas.microsoft.com/office/drawing/2014/main" id="{06241092-88D4-E6AE-8533-E36BC80F030A}"/>
              </a:ext>
            </a:extLst>
          </p:cNvPr>
          <p:cNvSpPr/>
          <p:nvPr/>
        </p:nvSpPr>
        <p:spPr>
          <a:xfrm>
            <a:off x="9151880" y="5584385"/>
            <a:ext cx="253316" cy="253316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3</a:t>
            </a:r>
          </a:p>
        </p:txBody>
      </p:sp>
      <p:sp>
        <p:nvSpPr>
          <p:cNvPr id="157" name="Oval 510">
            <a:extLst>
              <a:ext uri="{FF2B5EF4-FFF2-40B4-BE49-F238E27FC236}">
                <a16:creationId xmlns:a16="http://schemas.microsoft.com/office/drawing/2014/main" id="{2001A8B5-AB32-261C-27D4-1636A013F110}"/>
              </a:ext>
            </a:extLst>
          </p:cNvPr>
          <p:cNvSpPr/>
          <p:nvPr/>
        </p:nvSpPr>
        <p:spPr>
          <a:xfrm>
            <a:off x="9151880" y="6249831"/>
            <a:ext cx="253316" cy="253316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4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FF07F57-E21C-DEAE-8231-51BC8033B0C6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18" name="Rectangle 29">
            <a:extLst>
              <a:ext uri="{FF2B5EF4-FFF2-40B4-BE49-F238E27FC236}">
                <a16:creationId xmlns:a16="http://schemas.microsoft.com/office/drawing/2014/main" id="{3B79F1FC-1BD9-97DB-8B75-686FD6095A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7914" y="1960392"/>
            <a:ext cx="771271" cy="432000"/>
          </a:xfrm>
          <a:prstGeom prst="rect">
            <a:avLst/>
          </a:prstGeom>
          <a:solidFill>
            <a:srgbClr val="C0E9FF"/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结算单对账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E88E734F-63A4-07A6-84D0-0494FC1531D2}"/>
              </a:ext>
            </a:extLst>
          </p:cNvPr>
          <p:cNvGrpSpPr/>
          <p:nvPr/>
        </p:nvGrpSpPr>
        <p:grpSpPr>
          <a:xfrm>
            <a:off x="400680" y="4089558"/>
            <a:ext cx="215444" cy="1404000"/>
            <a:chOff x="400680" y="3338551"/>
            <a:chExt cx="215444" cy="1492812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CA92F1C3-CEF7-6203-88E8-CCBC76D362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8402" y="3338551"/>
              <a:ext cx="0" cy="1492812"/>
            </a:xfrm>
            <a:prstGeom prst="line">
              <a:avLst/>
            </a:prstGeom>
            <a:ln>
              <a:solidFill>
                <a:srgbClr val="005F9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9B9C4A95-538E-308A-5892-88609D9627D5}"/>
                </a:ext>
              </a:extLst>
            </p:cNvPr>
            <p:cNvSpPr txBox="1"/>
            <p:nvPr/>
          </p:nvSpPr>
          <p:spPr>
            <a:xfrm>
              <a:off x="400680" y="3484570"/>
              <a:ext cx="215444" cy="1200775"/>
            </a:xfrm>
            <a:prstGeom prst="rect">
              <a:avLst/>
            </a:prstGeom>
            <a:solidFill>
              <a:schemeClr val="bg1"/>
            </a:solidFill>
          </p:spPr>
          <p:txBody>
            <a:bodyPr vert="eaVert" wrap="square" lIns="0" tIns="0" rIns="0" bIns="4572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5F9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营销活动相关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0" name="Rectangle 47">
            <a:extLst>
              <a:ext uri="{FF2B5EF4-FFF2-40B4-BE49-F238E27FC236}">
                <a16:creationId xmlns:a16="http://schemas.microsoft.com/office/drawing/2014/main" id="{98590933-3958-448B-BBE2-32FB466733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6797" y="4850450"/>
            <a:ext cx="771271" cy="396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营销立项</a:t>
            </a: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3C518EFE-6809-9F74-3CF0-2DBEB2AB87A1}"/>
              </a:ext>
            </a:extLst>
          </p:cNvPr>
          <p:cNvCxnSpPr>
            <a:cxnSpLocks/>
            <a:stCxn id="43" idx="3"/>
            <a:endCxn id="102" idx="2"/>
          </p:cNvCxnSpPr>
          <p:nvPr/>
        </p:nvCxnSpPr>
        <p:spPr>
          <a:xfrm flipV="1">
            <a:off x="3442610" y="2392392"/>
            <a:ext cx="865479" cy="2102043"/>
          </a:xfrm>
          <a:prstGeom prst="bentConnector2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">
            <a:extLst>
              <a:ext uri="{FF2B5EF4-FFF2-40B4-BE49-F238E27FC236}">
                <a16:creationId xmlns:a16="http://schemas.microsoft.com/office/drawing/2014/main" id="{8C65CD46-D7D9-C502-BAE1-6D8E82901E32}"/>
              </a:ext>
            </a:extLst>
          </p:cNvPr>
          <p:cNvCxnSpPr>
            <a:cxnSpLocks/>
          </p:cNvCxnSpPr>
          <p:nvPr/>
        </p:nvCxnSpPr>
        <p:spPr>
          <a:xfrm>
            <a:off x="774193" y="4116103"/>
            <a:ext cx="8375904" cy="0"/>
          </a:xfrm>
          <a:prstGeom prst="line">
            <a:avLst/>
          </a:prstGeom>
          <a:ln w="28575">
            <a:solidFill>
              <a:srgbClr val="005F9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">
            <a:extLst>
              <a:ext uri="{FF2B5EF4-FFF2-40B4-BE49-F238E27FC236}">
                <a16:creationId xmlns:a16="http://schemas.microsoft.com/office/drawing/2014/main" id="{C49DC415-85A1-C313-B8CB-67451585280A}"/>
              </a:ext>
            </a:extLst>
          </p:cNvPr>
          <p:cNvCxnSpPr>
            <a:cxnSpLocks/>
          </p:cNvCxnSpPr>
          <p:nvPr/>
        </p:nvCxnSpPr>
        <p:spPr>
          <a:xfrm>
            <a:off x="774193" y="5493175"/>
            <a:ext cx="8375904" cy="0"/>
          </a:xfrm>
          <a:prstGeom prst="line">
            <a:avLst/>
          </a:prstGeom>
          <a:ln w="28575">
            <a:solidFill>
              <a:srgbClr val="005F9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Arrow: Down 164">
            <a:extLst>
              <a:ext uri="{FF2B5EF4-FFF2-40B4-BE49-F238E27FC236}">
                <a16:creationId xmlns:a16="http://schemas.microsoft.com/office/drawing/2014/main" id="{727750AC-5030-AF63-ABD6-A84BFF894C02}"/>
              </a:ext>
            </a:extLst>
          </p:cNvPr>
          <p:cNvSpPr/>
          <p:nvPr/>
        </p:nvSpPr>
        <p:spPr>
          <a:xfrm>
            <a:off x="2228082" y="5375164"/>
            <a:ext cx="257090" cy="216000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52" name="Arrow: Down 164">
            <a:extLst>
              <a:ext uri="{FF2B5EF4-FFF2-40B4-BE49-F238E27FC236}">
                <a16:creationId xmlns:a16="http://schemas.microsoft.com/office/drawing/2014/main" id="{48710A27-6718-E1DA-D098-FD4C31B43D1E}"/>
              </a:ext>
            </a:extLst>
          </p:cNvPr>
          <p:cNvSpPr/>
          <p:nvPr/>
        </p:nvSpPr>
        <p:spPr>
          <a:xfrm>
            <a:off x="3524622" y="5352781"/>
            <a:ext cx="257090" cy="216000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5" name="Arrow: Down 164">
            <a:extLst>
              <a:ext uri="{FF2B5EF4-FFF2-40B4-BE49-F238E27FC236}">
                <a16:creationId xmlns:a16="http://schemas.microsoft.com/office/drawing/2014/main" id="{175FE143-651E-FE06-D5B4-2C531B28FF5A}"/>
              </a:ext>
            </a:extLst>
          </p:cNvPr>
          <p:cNvSpPr/>
          <p:nvPr/>
        </p:nvSpPr>
        <p:spPr>
          <a:xfrm>
            <a:off x="5298979" y="5375164"/>
            <a:ext cx="257090" cy="216000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7" name="Arrow: Down 164">
            <a:extLst>
              <a:ext uri="{FF2B5EF4-FFF2-40B4-BE49-F238E27FC236}">
                <a16:creationId xmlns:a16="http://schemas.microsoft.com/office/drawing/2014/main" id="{69887E60-BE34-4E1F-32E6-91FED55C07D3}"/>
              </a:ext>
            </a:extLst>
          </p:cNvPr>
          <p:cNvSpPr/>
          <p:nvPr/>
        </p:nvSpPr>
        <p:spPr>
          <a:xfrm>
            <a:off x="7437794" y="5375164"/>
            <a:ext cx="257090" cy="216000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8" name="Arrow: Down 164">
            <a:extLst>
              <a:ext uri="{FF2B5EF4-FFF2-40B4-BE49-F238E27FC236}">
                <a16:creationId xmlns:a16="http://schemas.microsoft.com/office/drawing/2014/main" id="{DC6E7CFC-0B30-68AD-0EC3-7C63F706266C}"/>
              </a:ext>
            </a:extLst>
          </p:cNvPr>
          <p:cNvSpPr/>
          <p:nvPr/>
        </p:nvSpPr>
        <p:spPr>
          <a:xfrm>
            <a:off x="8464218" y="5375164"/>
            <a:ext cx="257090" cy="216000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EE303A0F-6DD9-7D90-F6C3-BCFB26E5D309}"/>
              </a:ext>
            </a:extLst>
          </p:cNvPr>
          <p:cNvCxnSpPr>
            <a:stCxn id="10" idx="0"/>
            <a:endCxn id="276" idx="2"/>
          </p:cNvCxnSpPr>
          <p:nvPr/>
        </p:nvCxnSpPr>
        <p:spPr>
          <a:xfrm flipV="1">
            <a:off x="1622433" y="4683683"/>
            <a:ext cx="0" cy="166767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85B07F54-7C6D-DF31-9D14-AD6DEB794AA1}"/>
              </a:ext>
            </a:extLst>
          </p:cNvPr>
          <p:cNvCxnSpPr>
            <a:cxnSpLocks/>
            <a:stCxn id="29" idx="0"/>
            <a:endCxn id="26" idx="2"/>
          </p:cNvCxnSpPr>
          <p:nvPr/>
        </p:nvCxnSpPr>
        <p:spPr>
          <a:xfrm flipH="1" flipV="1">
            <a:off x="5323706" y="2392392"/>
            <a:ext cx="0" cy="1787644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79B4DC59-233B-E751-4238-64AA3958FAEE}"/>
              </a:ext>
            </a:extLst>
          </p:cNvPr>
          <p:cNvCxnSpPr>
            <a:cxnSpLocks/>
          </p:cNvCxnSpPr>
          <p:nvPr/>
        </p:nvCxnSpPr>
        <p:spPr>
          <a:xfrm rot="16200000" flipH="1">
            <a:off x="3465225" y="3361569"/>
            <a:ext cx="2304000" cy="432000"/>
          </a:xfrm>
          <a:prstGeom prst="bentConnector2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798D4F0B-BB75-C590-30A3-CB615FB7641D}"/>
              </a:ext>
            </a:extLst>
          </p:cNvPr>
          <p:cNvCxnSpPr>
            <a:cxnSpLocks/>
          </p:cNvCxnSpPr>
          <p:nvPr/>
        </p:nvCxnSpPr>
        <p:spPr>
          <a:xfrm>
            <a:off x="5719615" y="2146717"/>
            <a:ext cx="468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E66DFD6E-9433-592A-D2C4-CF01C4043068}"/>
              </a:ext>
            </a:extLst>
          </p:cNvPr>
          <p:cNvCxnSpPr>
            <a:stCxn id="18" idx="2"/>
            <a:endCxn id="196" idx="0"/>
          </p:cNvCxnSpPr>
          <p:nvPr/>
        </p:nvCxnSpPr>
        <p:spPr>
          <a:xfrm>
            <a:off x="6553550" y="2392392"/>
            <a:ext cx="0" cy="2553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8B5465C6-F7EE-5323-C36F-64826B106510}"/>
              </a:ext>
            </a:extLst>
          </p:cNvPr>
          <p:cNvCxnSpPr>
            <a:stCxn id="196" idx="3"/>
            <a:endCxn id="76" idx="2"/>
          </p:cNvCxnSpPr>
          <p:nvPr/>
        </p:nvCxnSpPr>
        <p:spPr>
          <a:xfrm flipV="1">
            <a:off x="6939185" y="2392392"/>
            <a:ext cx="627155" cy="471323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53">
            <a:extLst>
              <a:ext uri="{FF2B5EF4-FFF2-40B4-BE49-F238E27FC236}">
                <a16:creationId xmlns:a16="http://schemas.microsoft.com/office/drawing/2014/main" id="{39E8C6EB-9ED0-1F90-56F7-4F61AAA3C16B}"/>
              </a:ext>
            </a:extLst>
          </p:cNvPr>
          <p:cNvSpPr txBox="1"/>
          <p:nvPr/>
        </p:nvSpPr>
        <p:spPr>
          <a:xfrm>
            <a:off x="748385" y="5955113"/>
            <a:ext cx="3747935" cy="327446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>
            <a:noAutofit/>
          </a:bodyPr>
          <a:lstStyle/>
          <a:p>
            <a:pPr marL="117475" marR="0" lvl="0" indent="-117475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1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一次核算到项目、产品、渠道、区域（视管理需求）</a:t>
            </a:r>
            <a:endParaRPr kumimoji="0" lang="en-US" altLang="zh-CN" sz="1100" b="1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sp>
        <p:nvSpPr>
          <p:cNvPr id="79" name="Rectangle 30">
            <a:extLst>
              <a:ext uri="{FF2B5EF4-FFF2-40B4-BE49-F238E27FC236}">
                <a16:creationId xmlns:a16="http://schemas.microsoft.com/office/drawing/2014/main" id="{3F0B43DB-3BA2-2AE4-1446-037CCDC4A0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2258" y="2198108"/>
            <a:ext cx="684000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询报价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1" name="Rectangle 47">
            <a:extLst>
              <a:ext uri="{FF2B5EF4-FFF2-40B4-BE49-F238E27FC236}">
                <a16:creationId xmlns:a16="http://schemas.microsoft.com/office/drawing/2014/main" id="{A128E26B-8C17-BF47-05F8-BAF08D4725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3769" y="1772198"/>
            <a:ext cx="1554451" cy="1469507"/>
          </a:xfrm>
          <a:prstGeom prst="rect">
            <a:avLst/>
          </a:prstGeom>
          <a:noFill/>
          <a:ln w="12700" cmpd="sng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cxnSp>
        <p:nvCxnSpPr>
          <p:cNvPr id="7" name="Straight Arrow Connector 83">
            <a:extLst>
              <a:ext uri="{FF2B5EF4-FFF2-40B4-BE49-F238E27FC236}">
                <a16:creationId xmlns:a16="http://schemas.microsoft.com/office/drawing/2014/main" id="{2F3735DB-AF78-8FF9-9B05-B839D3089004}"/>
              </a:ext>
            </a:extLst>
          </p:cNvPr>
          <p:cNvCxnSpPr>
            <a:cxnSpLocks/>
            <a:stCxn id="79" idx="2"/>
            <a:endCxn id="22" idx="0"/>
          </p:cNvCxnSpPr>
          <p:nvPr/>
        </p:nvCxnSpPr>
        <p:spPr>
          <a:xfrm>
            <a:off x="3444258" y="2450108"/>
            <a:ext cx="0" cy="12112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83">
            <a:extLst>
              <a:ext uri="{FF2B5EF4-FFF2-40B4-BE49-F238E27FC236}">
                <a16:creationId xmlns:a16="http://schemas.microsoft.com/office/drawing/2014/main" id="{0292C364-8F17-CFC4-AB29-8DCE1C8ACA6C}"/>
              </a:ext>
            </a:extLst>
          </p:cNvPr>
          <p:cNvCxnSpPr>
            <a:cxnSpLocks/>
          </p:cNvCxnSpPr>
          <p:nvPr/>
        </p:nvCxnSpPr>
        <p:spPr>
          <a:xfrm>
            <a:off x="4632089" y="2176392"/>
            <a:ext cx="305981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3">
            <a:extLst>
              <a:ext uri="{FF2B5EF4-FFF2-40B4-BE49-F238E27FC236}">
                <a16:creationId xmlns:a16="http://schemas.microsoft.com/office/drawing/2014/main" id="{3E19F302-81F8-3EDA-5BFA-0CD7FFC431BC}"/>
              </a:ext>
            </a:extLst>
          </p:cNvPr>
          <p:cNvSpPr/>
          <p:nvPr/>
        </p:nvSpPr>
        <p:spPr>
          <a:xfrm>
            <a:off x="9426321" y="3683406"/>
            <a:ext cx="2484000" cy="458486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流程</a:t>
            </a:r>
            <a:r>
              <a:rPr kumimoji="0" lang="en-US" altLang="zh-CN" sz="12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wner</a:t>
            </a:r>
            <a:r>
              <a:rPr kumimoji="0" lang="zh-CN" altLang="en-US" sz="1200" b="1" i="0" u="sng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：</a:t>
            </a: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实业层面明确推广费推动</a:t>
            </a: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PTP</a:t>
            </a: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的行管部门</a:t>
            </a:r>
            <a:endParaRPr kumimoji="0" lang="en-US" altLang="zh-CN" sz="12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5" name="Rectangle 19">
            <a:extLst>
              <a:ext uri="{FF2B5EF4-FFF2-40B4-BE49-F238E27FC236}">
                <a16:creationId xmlns:a16="http://schemas.microsoft.com/office/drawing/2014/main" id="{8F1EC283-E8D2-DD67-601C-8EBFDE398A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48912" y="4781164"/>
            <a:ext cx="771271" cy="39319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按月确认）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9" name="Rectangle 19">
            <a:extLst>
              <a:ext uri="{FF2B5EF4-FFF2-40B4-BE49-F238E27FC236}">
                <a16:creationId xmlns:a16="http://schemas.microsoft.com/office/drawing/2014/main" id="{3D936C3F-CBEC-D59F-8EF7-4D0BFEAC41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0743" y="4180036"/>
            <a:ext cx="971978" cy="1116000"/>
          </a:xfrm>
          <a:prstGeom prst="rect">
            <a:avLst/>
          </a:prstGeom>
          <a:noFill/>
          <a:ln w="12700" cmpd="sng" algn="ctr">
            <a:solidFill>
              <a:schemeClr val="bg1">
                <a:lumMod val="50000"/>
              </a:schemeClr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" name="矩形 252">
            <a:extLst>
              <a:ext uri="{FF2B5EF4-FFF2-40B4-BE49-F238E27FC236}">
                <a16:creationId xmlns:a16="http://schemas.microsoft.com/office/drawing/2014/main" id="{F316BE03-930C-07F8-EF48-3EC78750A455}"/>
              </a:ext>
            </a:extLst>
          </p:cNvPr>
          <p:cNvSpPr/>
          <p:nvPr/>
        </p:nvSpPr>
        <p:spPr>
          <a:xfrm>
            <a:off x="6190537" y="4434815"/>
            <a:ext cx="2601518" cy="809683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10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预算控制方式</a:t>
            </a:r>
            <a:endParaRPr kumimoji="0" lang="en-US" altLang="zh-CN" sz="10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在营销立项时点进行推广费预算余额的校验与占用</a:t>
            </a:r>
            <a:endParaRPr kumimoji="0" lang="en-US" altLang="zh-CN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预算执行与控制应贯穿项目过程至最终付款环节</a:t>
            </a:r>
          </a:p>
        </p:txBody>
      </p:sp>
      <p:sp>
        <p:nvSpPr>
          <p:cNvPr id="22" name="Rectangle 30">
            <a:extLst>
              <a:ext uri="{FF2B5EF4-FFF2-40B4-BE49-F238E27FC236}">
                <a16:creationId xmlns:a16="http://schemas.microsoft.com/office/drawing/2014/main" id="{749A4B9F-776E-9932-720E-87D1B4D572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2258" y="2571232"/>
            <a:ext cx="684000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确认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3" name="Rectangle 30">
            <a:extLst>
              <a:ext uri="{FF2B5EF4-FFF2-40B4-BE49-F238E27FC236}">
                <a16:creationId xmlns:a16="http://schemas.microsoft.com/office/drawing/2014/main" id="{6FAB3F98-0FEE-55B5-F005-98249B0696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2258" y="2944356"/>
            <a:ext cx="684000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合同管理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4" name="Rectangle 30">
            <a:extLst>
              <a:ext uri="{FF2B5EF4-FFF2-40B4-BE49-F238E27FC236}">
                <a16:creationId xmlns:a16="http://schemas.microsoft.com/office/drawing/2014/main" id="{B32E8F3F-0B72-F865-6842-6512704793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3782" y="2195219"/>
            <a:ext cx="720000" cy="3649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mpd="sng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匹配框架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合同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28" name="Connector: Elbow 68">
            <a:extLst>
              <a:ext uri="{FF2B5EF4-FFF2-40B4-BE49-F238E27FC236}">
                <a16:creationId xmlns:a16="http://schemas.microsoft.com/office/drawing/2014/main" id="{BB998776-CC61-B957-4262-1421E8B9C6CF}"/>
              </a:ext>
            </a:extLst>
          </p:cNvPr>
          <p:cNvCxnSpPr>
            <a:cxnSpLocks/>
            <a:stCxn id="283" idx="0"/>
            <a:endCxn id="24" idx="0"/>
          </p:cNvCxnSpPr>
          <p:nvPr/>
        </p:nvCxnSpPr>
        <p:spPr>
          <a:xfrm rot="16200000" flipH="1">
            <a:off x="2020693" y="1562131"/>
            <a:ext cx="234827" cy="1031349"/>
          </a:xfrm>
          <a:prstGeom prst="bentConnector3">
            <a:avLst>
              <a:gd name="adj1" fmla="val -97348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0">
            <a:extLst>
              <a:ext uri="{FF2B5EF4-FFF2-40B4-BE49-F238E27FC236}">
                <a16:creationId xmlns:a16="http://schemas.microsoft.com/office/drawing/2014/main" id="{F5D19332-2CED-AE86-42B0-082C63ADCE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8664" y="1889257"/>
            <a:ext cx="632358" cy="180000"/>
          </a:xfrm>
          <a:prstGeom prst="rect">
            <a:avLst/>
          </a:prstGeom>
          <a:solidFill>
            <a:schemeClr val="bg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年框合同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</p:txBody>
      </p:sp>
      <p:cxnSp>
        <p:nvCxnSpPr>
          <p:cNvPr id="36" name="Connector: Elbow 68">
            <a:extLst>
              <a:ext uri="{FF2B5EF4-FFF2-40B4-BE49-F238E27FC236}">
                <a16:creationId xmlns:a16="http://schemas.microsoft.com/office/drawing/2014/main" id="{F7F2B5A7-B3EE-C816-9738-6DC5DA0C184E}"/>
              </a:ext>
            </a:extLst>
          </p:cNvPr>
          <p:cNvCxnSpPr>
            <a:cxnSpLocks/>
            <a:stCxn id="283" idx="0"/>
            <a:endCxn id="79" idx="0"/>
          </p:cNvCxnSpPr>
          <p:nvPr/>
        </p:nvCxnSpPr>
        <p:spPr>
          <a:xfrm rot="16200000" flipH="1">
            <a:off x="2414487" y="1168338"/>
            <a:ext cx="237716" cy="1821825"/>
          </a:xfrm>
          <a:prstGeom prst="bentConnector3">
            <a:avLst>
              <a:gd name="adj1" fmla="val -96165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0">
            <a:extLst>
              <a:ext uri="{FF2B5EF4-FFF2-40B4-BE49-F238E27FC236}">
                <a16:creationId xmlns:a16="http://schemas.microsoft.com/office/drawing/2014/main" id="{C00E6B6F-55F9-8B2A-87EF-3EAD3DDE35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24083" y="1889257"/>
            <a:ext cx="437054" cy="180000"/>
          </a:xfrm>
          <a:prstGeom prst="rect">
            <a:avLst/>
          </a:prstGeom>
          <a:solidFill>
            <a:schemeClr val="bg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比价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</p:txBody>
      </p:sp>
      <p:cxnSp>
        <p:nvCxnSpPr>
          <p:cNvPr id="48" name="Straight Arrow Connector 83">
            <a:extLst>
              <a:ext uri="{FF2B5EF4-FFF2-40B4-BE49-F238E27FC236}">
                <a16:creationId xmlns:a16="http://schemas.microsoft.com/office/drawing/2014/main" id="{1D8C5952-E21D-25B2-5A12-2AD0D9F960F3}"/>
              </a:ext>
            </a:extLst>
          </p:cNvPr>
          <p:cNvCxnSpPr>
            <a:cxnSpLocks/>
            <a:stCxn id="22" idx="2"/>
            <a:endCxn id="23" idx="0"/>
          </p:cNvCxnSpPr>
          <p:nvPr/>
        </p:nvCxnSpPr>
        <p:spPr>
          <a:xfrm>
            <a:off x="3444258" y="2823232"/>
            <a:ext cx="0" cy="12112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83">
            <a:extLst>
              <a:ext uri="{FF2B5EF4-FFF2-40B4-BE49-F238E27FC236}">
                <a16:creationId xmlns:a16="http://schemas.microsoft.com/office/drawing/2014/main" id="{83C2B0E1-703A-945F-449C-CE9CD25DBA87}"/>
              </a:ext>
            </a:extLst>
          </p:cNvPr>
          <p:cNvCxnSpPr>
            <a:cxnSpLocks/>
          </p:cNvCxnSpPr>
          <p:nvPr/>
        </p:nvCxnSpPr>
        <p:spPr>
          <a:xfrm>
            <a:off x="3831098" y="2176392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702369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FAA32E-DA2D-58DF-8980-A2405CABD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长期系统方案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168B3B-4F72-FECD-6636-20D6FB6EA5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292F-1EBE-6D4A-B339-A324D614A372}" type="slidenum">
              <a:rPr kumimoji="1" lang="zh-CN" altLang="en-US" smtClean="0"/>
              <a:pPr/>
              <a:t>40</a:t>
            </a:fld>
            <a:endParaRPr kumimoji="1" lang="zh-CN" altLang="en-US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1F42C39A-397F-8DB2-9FF2-C365535968E3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5" name="Rectangle 18">
            <a:extLst>
              <a:ext uri="{FF2B5EF4-FFF2-40B4-BE49-F238E27FC236}">
                <a16:creationId xmlns:a16="http://schemas.microsoft.com/office/drawing/2014/main" id="{705441EF-A5AE-2A11-D104-2B24BB731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242" y="2091254"/>
            <a:ext cx="903921" cy="843393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BP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6" name="Rectangle 84">
            <a:extLst>
              <a:ext uri="{FF2B5EF4-FFF2-40B4-BE49-F238E27FC236}">
                <a16:creationId xmlns:a16="http://schemas.microsoft.com/office/drawing/2014/main" id="{6E3CD10E-FB8E-6872-3244-42A2AF3D45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927" y="2341200"/>
            <a:ext cx="652681" cy="21381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编制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" name="矩形 189">
            <a:extLst>
              <a:ext uri="{FF2B5EF4-FFF2-40B4-BE49-F238E27FC236}">
                <a16:creationId xmlns:a16="http://schemas.microsoft.com/office/drawing/2014/main" id="{F3457BFC-2DF2-8086-2222-C13FD0D07E26}"/>
              </a:ext>
            </a:extLst>
          </p:cNvPr>
          <p:cNvSpPr/>
          <p:nvPr/>
        </p:nvSpPr>
        <p:spPr>
          <a:xfrm>
            <a:off x="9377460" y="893050"/>
            <a:ext cx="2549409" cy="5537892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050" b="1">
                <a:latin typeface="+mj-ea"/>
                <a:ea typeface="+mj-ea"/>
              </a:rPr>
              <a:t>PBF</a:t>
            </a:r>
            <a:r>
              <a:rPr lang="zh-CN" altLang="en-US" sz="1050" b="1">
                <a:latin typeface="+mj-ea"/>
                <a:ea typeface="+mj-ea"/>
              </a:rPr>
              <a:t>系统：</a:t>
            </a:r>
            <a:r>
              <a:rPr lang="zh-CN" altLang="en-US" sz="1050" b="1">
                <a:solidFill>
                  <a:schemeClr val="accent1"/>
                </a:solidFill>
                <a:latin typeface="+mj-ea"/>
                <a:ea typeface="+mj-ea"/>
              </a:rPr>
              <a:t>推广费预算编制</a:t>
            </a:r>
            <a:r>
              <a:rPr lang="zh-CN" altLang="en-US" sz="1050">
                <a:latin typeface="+mj-ea"/>
                <a:ea typeface="+mj-ea"/>
              </a:rPr>
              <a:t>并下达至</a:t>
            </a:r>
            <a:r>
              <a:rPr lang="en-US" altLang="zh-CN" sz="1050">
                <a:latin typeface="+mj-ea"/>
                <a:ea typeface="+mj-ea"/>
              </a:rPr>
              <a:t>MPM</a:t>
            </a:r>
          </a:p>
          <a:p>
            <a:pPr marL="228600" indent="-228600">
              <a:lnSpc>
                <a:spcPct val="150000"/>
              </a:lnSpc>
              <a:buClr>
                <a:schemeClr val="tx1"/>
              </a:buClr>
              <a:buSzPct val="130000"/>
              <a:buFont typeface="+mj-ea"/>
              <a:buAutoNum type="circleNumDbPlain"/>
              <a:defRPr/>
            </a:pPr>
            <a:r>
              <a:rPr lang="zh-CN" altLang="en-US" sz="1050" b="1">
                <a:latin typeface="+mj-ea"/>
                <a:ea typeface="+mj-ea"/>
              </a:rPr>
              <a:t>费用中心：</a:t>
            </a:r>
            <a:r>
              <a:rPr lang="zh-CN" altLang="en-US" sz="1050" b="1">
                <a:solidFill>
                  <a:schemeClr val="accent1"/>
                </a:solidFill>
                <a:latin typeface="+mj-ea"/>
                <a:ea typeface="+mj-ea"/>
              </a:rPr>
              <a:t>统一预算管理平台与业务系统对接方式</a:t>
            </a:r>
            <a:r>
              <a:rPr lang="zh-CN" altLang="en-US" sz="1050">
                <a:latin typeface="+mj-ea"/>
                <a:ea typeface="+mj-ea"/>
              </a:rPr>
              <a:t>，业务系统在立项、执行等环境调用预算额度形成预占、实占，并回传各环节单据信息，</a:t>
            </a:r>
            <a:r>
              <a:rPr lang="zh-CN" altLang="en-US" sz="1050" b="1">
                <a:solidFill>
                  <a:schemeClr val="accent1"/>
                </a:solidFill>
                <a:latin typeface="+mj-ea"/>
                <a:ea typeface="+mj-ea"/>
              </a:rPr>
              <a:t>实施监控预算执行情况</a:t>
            </a:r>
            <a:endParaRPr lang="en-US" altLang="zh-CN" sz="1050" b="1">
              <a:solidFill>
                <a:schemeClr val="accent1"/>
              </a:solidFill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050" b="1">
                <a:latin typeface="+mj-ea"/>
                <a:ea typeface="+mj-ea"/>
              </a:rPr>
              <a:t>MPM</a:t>
            </a:r>
            <a:r>
              <a:rPr lang="zh-CN" altLang="en-US" sz="1050" b="1">
                <a:latin typeface="+mj-ea"/>
                <a:ea typeface="+mj-ea"/>
              </a:rPr>
              <a:t>系统：</a:t>
            </a:r>
            <a:r>
              <a:rPr lang="zh-CN" altLang="en-US" sz="1050">
                <a:latin typeface="+mj-ea"/>
                <a:ea typeface="+mj-ea"/>
              </a:rPr>
              <a:t>定位</a:t>
            </a:r>
            <a:r>
              <a:rPr lang="en-US" altLang="zh-CN" sz="1050">
                <a:latin typeface="+mj-ea"/>
                <a:ea typeface="+mj-ea"/>
              </a:rPr>
              <a:t>MPM</a:t>
            </a:r>
            <a:r>
              <a:rPr lang="zh-CN" altLang="en-US" sz="1050">
                <a:latin typeface="+mj-ea"/>
                <a:ea typeface="+mj-ea"/>
              </a:rPr>
              <a:t>系统为</a:t>
            </a:r>
            <a:r>
              <a:rPr lang="zh-CN" altLang="en-US" sz="1050" b="1">
                <a:solidFill>
                  <a:srgbClr val="FF0000"/>
                </a:solidFill>
                <a:latin typeface="+mj-ea"/>
                <a:ea typeface="+mj-ea"/>
              </a:rPr>
              <a:t>推广费项目管理系统</a:t>
            </a:r>
            <a:r>
              <a:rPr lang="zh-CN" altLang="en-US" sz="1050">
                <a:latin typeface="+mj-ea"/>
                <a:ea typeface="+mj-ea"/>
              </a:rPr>
              <a:t>，承接</a:t>
            </a:r>
            <a:r>
              <a:rPr lang="en-US" altLang="zh-CN" sz="1050">
                <a:latin typeface="+mj-ea"/>
                <a:ea typeface="+mj-ea"/>
              </a:rPr>
              <a:t>PBF</a:t>
            </a:r>
            <a:r>
              <a:rPr lang="zh-CN" altLang="en-US" sz="1050">
                <a:latin typeface="+mj-ea"/>
                <a:ea typeface="+mj-ea"/>
              </a:rPr>
              <a:t>下达的推广费预算，搭建项目预算管理、预算拆解、预算调整等功能；</a:t>
            </a:r>
            <a:endParaRPr lang="en-US" altLang="zh-CN" sz="105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050" b="1">
                <a:latin typeface="+mj-ea"/>
                <a:ea typeface="+mj-ea"/>
              </a:rPr>
              <a:t>SRM</a:t>
            </a:r>
            <a:r>
              <a:rPr lang="zh-CN" altLang="en-US" sz="1050" b="1">
                <a:latin typeface="+mj-ea"/>
                <a:ea typeface="+mj-ea"/>
              </a:rPr>
              <a:t>系统：</a:t>
            </a:r>
            <a:r>
              <a:rPr lang="zh-CN" altLang="en-US" sz="1050">
                <a:latin typeface="+mj-ea"/>
                <a:ea typeface="+mj-ea"/>
              </a:rPr>
              <a:t>接收</a:t>
            </a:r>
            <a:r>
              <a:rPr lang="en-US" altLang="zh-CN" sz="1050">
                <a:latin typeface="+mj-ea"/>
                <a:ea typeface="+mj-ea"/>
              </a:rPr>
              <a:t>MPM</a:t>
            </a:r>
            <a:r>
              <a:rPr lang="zh-CN" altLang="en-US" sz="1050">
                <a:latin typeface="+mj-ea"/>
                <a:ea typeface="+mj-ea"/>
              </a:rPr>
              <a:t>系统项目预算，发起采购申请，搭建推广业务</a:t>
            </a:r>
            <a:r>
              <a:rPr lang="zh-CN" altLang="en-US" sz="1050" b="1">
                <a:solidFill>
                  <a:srgbClr val="FF0000"/>
                </a:solidFill>
                <a:latin typeface="+mj-ea"/>
                <a:ea typeface="+mj-ea"/>
              </a:rPr>
              <a:t>供应商、寻源报价、采购合同、订单履行、对账等功能</a:t>
            </a:r>
            <a:r>
              <a:rPr lang="zh-CN" altLang="en-US" sz="1050">
                <a:latin typeface="+mj-ea"/>
                <a:ea typeface="+mj-ea"/>
              </a:rPr>
              <a:t>；</a:t>
            </a:r>
            <a:endParaRPr lang="en-US" altLang="zh-CN" sz="105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050" b="1">
                <a:latin typeface="+mj-ea"/>
                <a:ea typeface="+mj-ea"/>
              </a:rPr>
              <a:t>SAP</a:t>
            </a:r>
            <a:r>
              <a:rPr lang="zh-CN" altLang="en-US" sz="1050" b="1">
                <a:latin typeface="+mj-ea"/>
                <a:ea typeface="+mj-ea"/>
              </a:rPr>
              <a:t>系统：</a:t>
            </a:r>
            <a:r>
              <a:rPr lang="zh-CN" altLang="en-US" sz="1050">
                <a:latin typeface="+mj-ea"/>
                <a:ea typeface="+mj-ea"/>
              </a:rPr>
              <a:t>承接各系统业务执行结果，实现多维度推广费核算；</a:t>
            </a:r>
            <a:endParaRPr lang="en-US" altLang="zh-CN" sz="105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050" b="1">
                <a:latin typeface="+mj-ea"/>
                <a:ea typeface="+mj-ea"/>
              </a:rPr>
              <a:t>FSSC</a:t>
            </a:r>
            <a:r>
              <a:rPr lang="zh-CN" altLang="en-US" sz="1050" b="1">
                <a:latin typeface="+mj-ea"/>
                <a:ea typeface="+mj-ea"/>
              </a:rPr>
              <a:t>系统</a:t>
            </a:r>
            <a:r>
              <a:rPr lang="zh-CN" altLang="en-US" sz="1050">
                <a:latin typeface="+mj-ea"/>
                <a:ea typeface="+mj-ea"/>
              </a:rPr>
              <a:t>：对于</a:t>
            </a:r>
            <a:r>
              <a:rPr lang="zh-CN" altLang="en-US" sz="1050" b="1">
                <a:solidFill>
                  <a:schemeClr val="accent1"/>
                </a:solidFill>
                <a:latin typeface="+mj-ea"/>
                <a:ea typeface="+mj-ea"/>
              </a:rPr>
              <a:t>小额零星与不适用</a:t>
            </a:r>
            <a:r>
              <a:rPr lang="en-US" altLang="zh-CN" sz="1050" b="1">
                <a:solidFill>
                  <a:schemeClr val="accent1"/>
                </a:solidFill>
                <a:latin typeface="+mj-ea"/>
                <a:ea typeface="+mj-ea"/>
              </a:rPr>
              <a:t>PTP</a:t>
            </a:r>
            <a:r>
              <a:rPr lang="zh-CN" altLang="en-US" sz="1050" b="1">
                <a:solidFill>
                  <a:schemeClr val="accent1"/>
                </a:solidFill>
                <a:latin typeface="+mj-ea"/>
                <a:ea typeface="+mj-ea"/>
              </a:rPr>
              <a:t>流程</a:t>
            </a:r>
            <a:r>
              <a:rPr lang="zh-CN" altLang="en-US" sz="1050">
                <a:latin typeface="+mj-ea"/>
                <a:ea typeface="+mj-ea"/>
              </a:rPr>
              <a:t>的采购直接发起报销</a:t>
            </a:r>
            <a:endParaRPr lang="en-US" altLang="zh-CN" sz="1050">
              <a:latin typeface="+mj-ea"/>
              <a:ea typeface="+mj-ea"/>
            </a:endParaRPr>
          </a:p>
          <a:p>
            <a:pPr marL="228600" indent="-228600">
              <a:lnSpc>
                <a:spcPct val="150000"/>
              </a:lnSpc>
              <a:buClr>
                <a:schemeClr val="tx1"/>
              </a:buClr>
              <a:buSzPct val="130000"/>
              <a:buFont typeface="+mj-ea"/>
              <a:buAutoNum type="circleNumDbPlain"/>
              <a:defRPr/>
            </a:pPr>
            <a:r>
              <a:rPr lang="zh-CN" altLang="en-US" sz="1050" b="1">
                <a:latin typeface="+mj-ea"/>
                <a:ea typeface="+mj-ea"/>
              </a:rPr>
              <a:t>推广费系统：</a:t>
            </a:r>
            <a:r>
              <a:rPr lang="zh-CN" altLang="en-US" sz="1050">
                <a:latin typeface="+mj-ea"/>
                <a:ea typeface="+mj-ea"/>
              </a:rPr>
              <a:t>从功能上来说与</a:t>
            </a:r>
            <a:r>
              <a:rPr lang="en-US" altLang="zh-CN" sz="1050">
                <a:latin typeface="+mj-ea"/>
                <a:ea typeface="+mj-ea"/>
              </a:rPr>
              <a:t>MPM</a:t>
            </a:r>
            <a:r>
              <a:rPr lang="zh-CN" altLang="en-US" sz="1050">
                <a:latin typeface="+mj-ea"/>
                <a:ea typeface="+mj-ea"/>
              </a:rPr>
              <a:t>定位重叠，建议未来由</a:t>
            </a:r>
            <a:r>
              <a:rPr lang="en-US" altLang="zh-CN" sz="1050" b="1">
                <a:solidFill>
                  <a:srgbClr val="FF0000"/>
                </a:solidFill>
                <a:latin typeface="+mj-ea"/>
                <a:ea typeface="+mj-ea"/>
              </a:rPr>
              <a:t>MPM</a:t>
            </a:r>
            <a:r>
              <a:rPr lang="zh-CN" altLang="en-US" sz="1050" b="1">
                <a:solidFill>
                  <a:srgbClr val="FF0000"/>
                </a:solidFill>
                <a:latin typeface="+mj-ea"/>
                <a:ea typeface="+mj-ea"/>
              </a:rPr>
              <a:t>与</a:t>
            </a:r>
            <a:r>
              <a:rPr lang="en-US" altLang="zh-CN" sz="1050" b="1">
                <a:solidFill>
                  <a:srgbClr val="FF0000"/>
                </a:solidFill>
                <a:latin typeface="+mj-ea"/>
                <a:ea typeface="+mj-ea"/>
              </a:rPr>
              <a:t>SRM</a:t>
            </a:r>
            <a:r>
              <a:rPr lang="zh-CN" altLang="en-US" sz="1050" b="1">
                <a:solidFill>
                  <a:srgbClr val="FF0000"/>
                </a:solidFill>
                <a:latin typeface="+mj-ea"/>
                <a:ea typeface="+mj-ea"/>
              </a:rPr>
              <a:t>系统承接目前推广费系统对应功能</a:t>
            </a:r>
            <a:r>
              <a:rPr lang="en-US" altLang="zh-CN" sz="1050" b="1">
                <a:solidFill>
                  <a:srgbClr val="FF0000"/>
                </a:solidFill>
                <a:latin typeface="+mj-ea"/>
                <a:ea typeface="+mj-ea"/>
              </a:rPr>
              <a:t>(</a:t>
            </a:r>
            <a:r>
              <a:rPr lang="zh-CN" altLang="en-US" sz="1050" b="1">
                <a:solidFill>
                  <a:srgbClr val="FF0000"/>
                </a:solidFill>
                <a:latin typeface="+mj-ea"/>
                <a:ea typeface="+mj-ea"/>
              </a:rPr>
              <a:t>需与</a:t>
            </a:r>
            <a:r>
              <a:rPr lang="en-US" altLang="zh-CN" sz="1050" b="1">
                <a:solidFill>
                  <a:srgbClr val="FF0000"/>
                </a:solidFill>
                <a:latin typeface="+mj-ea"/>
                <a:ea typeface="+mj-ea"/>
              </a:rPr>
              <a:t>CBG</a:t>
            </a:r>
            <a:r>
              <a:rPr lang="zh-CN" altLang="en-US" sz="1050" b="1">
                <a:solidFill>
                  <a:srgbClr val="FF0000"/>
                </a:solidFill>
                <a:latin typeface="+mj-ea"/>
                <a:ea typeface="+mj-ea"/>
              </a:rPr>
              <a:t>架构拉通</a:t>
            </a:r>
            <a:r>
              <a:rPr lang="en-US" altLang="zh-CN" sz="1050" b="1">
                <a:solidFill>
                  <a:srgbClr val="FF0000"/>
                </a:solidFill>
                <a:latin typeface="+mj-ea"/>
                <a:ea typeface="+mj-ea"/>
              </a:rPr>
              <a:t>)</a:t>
            </a:r>
            <a:r>
              <a:rPr lang="zh-CN" altLang="en-US" sz="1050">
                <a:latin typeface="+mj-ea"/>
                <a:ea typeface="+mj-ea"/>
              </a:rPr>
              <a:t>。</a:t>
            </a:r>
            <a:endParaRPr lang="en-US" altLang="zh-CN" sz="1050">
              <a:latin typeface="+mj-ea"/>
              <a:ea typeface="+mj-ea"/>
            </a:endParaRPr>
          </a:p>
        </p:txBody>
      </p:sp>
      <p:grpSp>
        <p:nvGrpSpPr>
          <p:cNvPr id="8" name="组合 79">
            <a:extLst>
              <a:ext uri="{FF2B5EF4-FFF2-40B4-BE49-F238E27FC236}">
                <a16:creationId xmlns:a16="http://schemas.microsoft.com/office/drawing/2014/main" id="{76DEBE2D-BA9A-7334-207B-4BE71600E473}"/>
              </a:ext>
            </a:extLst>
          </p:cNvPr>
          <p:cNvGrpSpPr/>
          <p:nvPr/>
        </p:nvGrpSpPr>
        <p:grpSpPr>
          <a:xfrm>
            <a:off x="311499" y="817173"/>
            <a:ext cx="8865467" cy="307776"/>
            <a:chOff x="197325" y="1071756"/>
            <a:chExt cx="8151545" cy="307776"/>
          </a:xfrm>
        </p:grpSpPr>
        <p:cxnSp>
          <p:nvCxnSpPr>
            <p:cNvPr id="9" name="Straight Connector 38">
              <a:extLst>
                <a:ext uri="{FF2B5EF4-FFF2-40B4-BE49-F238E27FC236}">
                  <a16:creationId xmlns:a16="http://schemas.microsoft.com/office/drawing/2014/main" id="{B08C05AC-B9A3-BD2A-450C-3C1B6B8723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7325" y="1218242"/>
              <a:ext cx="8151545" cy="27766"/>
            </a:xfrm>
            <a:prstGeom prst="line">
              <a:avLst/>
            </a:prstGeom>
            <a:noFill/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diamond"/>
              <a:tailEnd type="diamond"/>
            </a:ln>
            <a:effectLst/>
          </p:spPr>
        </p:cxnSp>
        <p:sp>
          <p:nvSpPr>
            <p:cNvPr id="10" name="Rectangle 24">
              <a:extLst>
                <a:ext uri="{FF2B5EF4-FFF2-40B4-BE49-F238E27FC236}">
                  <a16:creationId xmlns:a16="http://schemas.microsoft.com/office/drawing/2014/main" id="{6659C776-4DBE-8CFD-2EA6-D4C19A31691A}"/>
                </a:ext>
              </a:extLst>
            </p:cNvPr>
            <p:cNvSpPr/>
            <p:nvPr/>
          </p:nvSpPr>
          <p:spPr>
            <a:xfrm>
              <a:off x="3546889" y="1071756"/>
              <a:ext cx="2103120" cy="307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r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400" b="1">
                  <a:latin typeface="Microsoft YaHei"/>
                  <a:ea typeface="Microsoft YaHei"/>
                  <a:cs typeface="Arial" panose="020B0604020202020204" pitchFamily="34" charset="0"/>
                </a:rPr>
                <a:t>推广费长</a:t>
              </a:r>
              <a:r>
                <a:rPr kumimoji="1" lang="zh-CN" altLang="en-US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YaHei"/>
                  <a:ea typeface="Microsoft YaHei"/>
                  <a:cs typeface="Arial" panose="020B0604020202020204" pitchFamily="34" charset="0"/>
                </a:rPr>
                <a:t>期系统方案</a:t>
              </a:r>
              <a:endParaRPr kumimoji="1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Arial" panose="020B0604020202020204" pitchFamily="34" charset="0"/>
              </a:endParaRPr>
            </a:p>
          </p:txBody>
        </p:sp>
        <p:grpSp>
          <p:nvGrpSpPr>
            <p:cNvPr id="11" name="Group 55">
              <a:extLst>
                <a:ext uri="{FF2B5EF4-FFF2-40B4-BE49-F238E27FC236}">
                  <a16:creationId xmlns:a16="http://schemas.microsoft.com/office/drawing/2014/main" id="{BB3F3726-A05D-F8E9-9018-ACD9313CECF0}"/>
                </a:ext>
              </a:extLst>
            </p:cNvPr>
            <p:cNvGrpSpPr/>
            <p:nvPr/>
          </p:nvGrpSpPr>
          <p:grpSpPr>
            <a:xfrm>
              <a:off x="3432303" y="1071757"/>
              <a:ext cx="431104" cy="307775"/>
              <a:chOff x="3126173" y="1114361"/>
              <a:chExt cx="431104" cy="307775"/>
            </a:xfrm>
          </p:grpSpPr>
          <p:sp>
            <p:nvSpPr>
              <p:cNvPr id="12" name="Rectangle 49">
                <a:extLst>
                  <a:ext uri="{FF2B5EF4-FFF2-40B4-BE49-F238E27FC236}">
                    <a16:creationId xmlns:a16="http://schemas.microsoft.com/office/drawing/2014/main" id="{3356825D-906B-02D4-3D9F-067A19469905}"/>
                  </a:ext>
                </a:extLst>
              </p:cNvPr>
              <p:cNvSpPr/>
              <p:nvPr/>
            </p:nvSpPr>
            <p:spPr>
              <a:xfrm>
                <a:off x="3126173" y="1114361"/>
                <a:ext cx="431104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13" name="Graphic 44">
                <a:extLst>
                  <a:ext uri="{FF2B5EF4-FFF2-40B4-BE49-F238E27FC236}">
                    <a16:creationId xmlns:a16="http://schemas.microsoft.com/office/drawing/2014/main" id="{966BA452-C55B-27F6-D497-EF13887A2E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204565" y="1122751"/>
                <a:ext cx="274320" cy="252882"/>
              </a:xfrm>
              <a:prstGeom prst="rect">
                <a:avLst/>
              </a:prstGeom>
            </p:spPr>
          </p:pic>
        </p:grpSp>
      </p:grpSp>
      <p:sp>
        <p:nvSpPr>
          <p:cNvPr id="14" name="Rectangle 18">
            <a:extLst>
              <a:ext uri="{FF2B5EF4-FFF2-40B4-BE49-F238E27FC236}">
                <a16:creationId xmlns:a16="http://schemas.microsoft.com/office/drawing/2014/main" id="{F6B02501-607F-FF77-5CE3-E8D6C34639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9119" y="3304799"/>
            <a:ext cx="973758" cy="1735786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7" name="Rectangle 18">
            <a:extLst>
              <a:ext uri="{FF2B5EF4-FFF2-40B4-BE49-F238E27FC236}">
                <a16:creationId xmlns:a16="http://schemas.microsoft.com/office/drawing/2014/main" id="{01AB0D23-2F6A-84DD-F6E7-C04E772F51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2925" y="2104808"/>
            <a:ext cx="903921" cy="842313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费用中心</a:t>
            </a:r>
          </a:p>
        </p:txBody>
      </p:sp>
      <p:sp>
        <p:nvSpPr>
          <p:cNvPr id="18" name="Rectangle 84">
            <a:extLst>
              <a:ext uri="{FF2B5EF4-FFF2-40B4-BE49-F238E27FC236}">
                <a16:creationId xmlns:a16="http://schemas.microsoft.com/office/drawing/2014/main" id="{5834268A-99D2-EB51-339E-5D7CED9771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1364" y="2409270"/>
            <a:ext cx="805210" cy="385321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拆解、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调整、控制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19" name="直接箭头连接符 205">
            <a:extLst>
              <a:ext uri="{FF2B5EF4-FFF2-40B4-BE49-F238E27FC236}">
                <a16:creationId xmlns:a16="http://schemas.microsoft.com/office/drawing/2014/main" id="{104B8E54-FC36-0FB7-8606-57B8F35F56A7}"/>
              </a:ext>
            </a:extLst>
          </p:cNvPr>
          <p:cNvCxnSpPr>
            <a:cxnSpLocks/>
          </p:cNvCxnSpPr>
          <p:nvPr/>
        </p:nvCxnSpPr>
        <p:spPr>
          <a:xfrm flipV="1">
            <a:off x="1465023" y="2457883"/>
            <a:ext cx="462271" cy="1080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29">
            <a:extLst>
              <a:ext uri="{FF2B5EF4-FFF2-40B4-BE49-F238E27FC236}">
                <a16:creationId xmlns:a16="http://schemas.microsoft.com/office/drawing/2014/main" id="{1B39588B-071E-C3EB-224C-9B839E900FBD}"/>
              </a:ext>
            </a:extLst>
          </p:cNvPr>
          <p:cNvSpPr txBox="1"/>
          <p:nvPr/>
        </p:nvSpPr>
        <p:spPr>
          <a:xfrm>
            <a:off x="1367769" y="1970772"/>
            <a:ext cx="533897" cy="3944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推广费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预算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21" name="Rectangle 18">
            <a:extLst>
              <a:ext uri="{FF2B5EF4-FFF2-40B4-BE49-F238E27FC236}">
                <a16:creationId xmlns:a16="http://schemas.microsoft.com/office/drawing/2014/main" id="{CE60FEED-946E-6695-D42B-4BE733FAB0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8726" y="2091254"/>
            <a:ext cx="919189" cy="835991"/>
          </a:xfrm>
          <a:prstGeom prst="rect">
            <a:avLst/>
          </a:prstGeom>
          <a:solidFill>
            <a:srgbClr val="F2F2F2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MP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22" name="Rectangle 30">
            <a:extLst>
              <a:ext uri="{FF2B5EF4-FFF2-40B4-BE49-F238E27FC236}">
                <a16:creationId xmlns:a16="http://schemas.microsoft.com/office/drawing/2014/main" id="{9D67633D-3B2E-E027-B85D-DEB29F9D2B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5833" y="2450366"/>
            <a:ext cx="684480" cy="242754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推广费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项目立项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3" name="文本框 29">
            <a:extLst>
              <a:ext uri="{FF2B5EF4-FFF2-40B4-BE49-F238E27FC236}">
                <a16:creationId xmlns:a16="http://schemas.microsoft.com/office/drawing/2014/main" id="{FB8547B7-D55C-73B1-1273-A3E0EC73528F}"/>
              </a:ext>
            </a:extLst>
          </p:cNvPr>
          <p:cNvSpPr txBox="1"/>
          <p:nvPr/>
        </p:nvSpPr>
        <p:spPr>
          <a:xfrm>
            <a:off x="2867856" y="2001096"/>
            <a:ext cx="465882" cy="325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预算调用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回传立项信息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28" name="文本框 29">
            <a:extLst>
              <a:ext uri="{FF2B5EF4-FFF2-40B4-BE49-F238E27FC236}">
                <a16:creationId xmlns:a16="http://schemas.microsoft.com/office/drawing/2014/main" id="{3342CE98-48FC-C8A2-89D6-D184C0CCE771}"/>
              </a:ext>
            </a:extLst>
          </p:cNvPr>
          <p:cNvSpPr txBox="1"/>
          <p:nvPr/>
        </p:nvSpPr>
        <p:spPr>
          <a:xfrm>
            <a:off x="4742878" y="2015567"/>
            <a:ext cx="736481" cy="39370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立项信息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35" name="Rectangle 84">
            <a:extLst>
              <a:ext uri="{FF2B5EF4-FFF2-40B4-BE49-F238E27FC236}">
                <a16:creationId xmlns:a16="http://schemas.microsoft.com/office/drawing/2014/main" id="{F0CA3F8A-9183-2FCB-B8B5-9D6BC5478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555" y="2617385"/>
            <a:ext cx="682053" cy="177208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财务预算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8" name="Rectangle 18">
            <a:extLst>
              <a:ext uri="{FF2B5EF4-FFF2-40B4-BE49-F238E27FC236}">
                <a16:creationId xmlns:a16="http://schemas.microsoft.com/office/drawing/2014/main" id="{2BBE97AF-5296-54C5-A614-21A38CDC06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347" y="2121873"/>
            <a:ext cx="1022714" cy="592346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R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39" name="Rectangle 84">
            <a:extLst>
              <a:ext uri="{FF2B5EF4-FFF2-40B4-BE49-F238E27FC236}">
                <a16:creationId xmlns:a16="http://schemas.microsoft.com/office/drawing/2014/main" id="{BAF573AD-EDDB-5C63-0A2D-7645C4C0E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27226" y="2379408"/>
            <a:ext cx="767256" cy="237977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1F326899-96AE-3680-A040-98360152ECDF}"/>
              </a:ext>
            </a:extLst>
          </p:cNvPr>
          <p:cNvCxnSpPr/>
          <p:nvPr/>
        </p:nvCxnSpPr>
        <p:spPr>
          <a:xfrm>
            <a:off x="2989089" y="2477162"/>
            <a:ext cx="689298" cy="0"/>
          </a:xfrm>
          <a:prstGeom prst="straightConnector1">
            <a:avLst/>
          </a:prstGeom>
          <a:ln w="28575">
            <a:solidFill>
              <a:srgbClr val="7030A0"/>
            </a:solidFill>
            <a:headEnd type="triangle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0" name="TextBox 53">
            <a:extLst>
              <a:ext uri="{FF2B5EF4-FFF2-40B4-BE49-F238E27FC236}">
                <a16:creationId xmlns:a16="http://schemas.microsoft.com/office/drawing/2014/main" id="{5625C48B-2ED6-0F6F-D9F8-756B49F44E15}"/>
              </a:ext>
            </a:extLst>
          </p:cNvPr>
          <p:cNvSpPr txBox="1"/>
          <p:nvPr/>
        </p:nvSpPr>
        <p:spPr>
          <a:xfrm>
            <a:off x="257893" y="1220555"/>
            <a:ext cx="1992858" cy="825606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经过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MPM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立项的推广费项目，适用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：</a:t>
            </a:r>
            <a:endParaRPr kumimoji="0" lang="en-US" altLang="zh-CN" sz="10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chemeClr val="accent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>
              <a:defRPr/>
            </a:pPr>
            <a:r>
              <a:rPr kumimoji="0" lang="en-US" altLang="zh-CN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管控的推广费（做重） ：大宗商品采购、服务类采购；</a:t>
            </a: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A2904D8-FC78-1077-CB00-5690B6C525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1292" y="2141679"/>
            <a:ext cx="926602" cy="551441"/>
          </a:xfrm>
          <a:prstGeom prst="rect">
            <a:avLst/>
          </a:prstGeom>
          <a:solidFill>
            <a:srgbClr val="C0E9FF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AP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53" name="文本框 126">
            <a:extLst>
              <a:ext uri="{FF2B5EF4-FFF2-40B4-BE49-F238E27FC236}">
                <a16:creationId xmlns:a16="http://schemas.microsoft.com/office/drawing/2014/main" id="{96BD7D97-0BE1-34D0-C00C-02AE84796740}"/>
              </a:ext>
            </a:extLst>
          </p:cNvPr>
          <p:cNvSpPr txBox="1"/>
          <p:nvPr/>
        </p:nvSpPr>
        <p:spPr>
          <a:xfrm>
            <a:off x="7160687" y="2354396"/>
            <a:ext cx="726023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费用计提</a:t>
            </a:r>
            <a:endParaRPr lang="en-US" altLang="zh-CN" sz="1200" kern="1200">
              <a:solidFill>
                <a:schemeClr val="tx1"/>
              </a:solidFill>
              <a:cs typeface="+mn-ea"/>
              <a:sym typeface="+mn-lt"/>
            </a:endParaRPr>
          </a:p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应付账款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95359DB3-FB27-F817-FDAF-3F2ECA73B795}"/>
              </a:ext>
            </a:extLst>
          </p:cNvPr>
          <p:cNvCxnSpPr>
            <a:cxnSpLocks/>
          </p:cNvCxnSpPr>
          <p:nvPr/>
        </p:nvCxnSpPr>
        <p:spPr>
          <a:xfrm flipV="1">
            <a:off x="6531061" y="2457560"/>
            <a:ext cx="520230" cy="646"/>
          </a:xfrm>
          <a:prstGeom prst="straightConnector1">
            <a:avLst/>
          </a:prstGeom>
          <a:ln w="28575">
            <a:solidFill>
              <a:srgbClr val="7030A0"/>
            </a:solidFill>
            <a:headEnd type="triangle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7" name="文本框 29">
            <a:extLst>
              <a:ext uri="{FF2B5EF4-FFF2-40B4-BE49-F238E27FC236}">
                <a16:creationId xmlns:a16="http://schemas.microsoft.com/office/drawing/2014/main" id="{EF844E9A-40E7-2235-50B2-FE1C760EE1EA}"/>
              </a:ext>
            </a:extLst>
          </p:cNvPr>
          <p:cNvSpPr txBox="1"/>
          <p:nvPr/>
        </p:nvSpPr>
        <p:spPr>
          <a:xfrm>
            <a:off x="6443355" y="1947351"/>
            <a:ext cx="736481" cy="3937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服务验收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发票校验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58" name="TextBox 53">
            <a:extLst>
              <a:ext uri="{FF2B5EF4-FFF2-40B4-BE49-F238E27FC236}">
                <a16:creationId xmlns:a16="http://schemas.microsoft.com/office/drawing/2014/main" id="{19D1906F-723F-CBFB-CE19-EF90E74A1B7D}"/>
              </a:ext>
            </a:extLst>
          </p:cNvPr>
          <p:cNvSpPr txBox="1"/>
          <p:nvPr/>
        </p:nvSpPr>
        <p:spPr>
          <a:xfrm>
            <a:off x="326242" y="5121795"/>
            <a:ext cx="1937885" cy="1314902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>
              <a:defRPr/>
            </a:pP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>
              <a:defRPr/>
            </a:pP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经过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MPM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立项的推广费项目，不适用</a:t>
            </a:r>
            <a:r>
              <a:rPr kumimoji="0" lang="en-US" altLang="zh-CN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：</a:t>
            </a:r>
            <a:endParaRPr kumimoji="0" lang="en-US" altLang="zh-CN" sz="10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chemeClr val="accent6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>
              <a:defRPr/>
            </a:pP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线上店铺类推广费，如发放京东平台优惠券，无合同，采取预充值后报销的方式，对账、结算均在对方系统；</a:t>
            </a: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en-US" altLang="zh-CN" sz="10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3EEAE37-1206-4DFD-98E2-FEA2824713C7}"/>
              </a:ext>
            </a:extLst>
          </p:cNvPr>
          <p:cNvSpPr txBox="1"/>
          <p:nvPr/>
        </p:nvSpPr>
        <p:spPr>
          <a:xfrm>
            <a:off x="276641" y="3494450"/>
            <a:ext cx="205628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经过</a:t>
            </a:r>
            <a:r>
              <a:rPr kumimoji="0" lang="en-US" altLang="zh-CN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MPM</a:t>
            </a: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立项的推广费项目，不适用</a:t>
            </a:r>
            <a:r>
              <a:rPr kumimoji="0" lang="en-US" altLang="zh-CN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TP</a:t>
            </a: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流程：</a:t>
            </a:r>
            <a:endParaRPr kumimoji="0" lang="en-US" altLang="zh-CN" sz="105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chemeClr val="accent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zh-CN" altLang="en-US" sz="105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保持现有报销流程的推广费（做轻） ：小额、零星采购；</a:t>
            </a:r>
            <a:endParaRPr kumimoji="0" lang="en-US" altLang="zh-CN" sz="105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sp>
        <p:nvSpPr>
          <p:cNvPr id="61" name="文本框 29">
            <a:extLst>
              <a:ext uri="{FF2B5EF4-FFF2-40B4-BE49-F238E27FC236}">
                <a16:creationId xmlns:a16="http://schemas.microsoft.com/office/drawing/2014/main" id="{8E095121-0D87-5DA8-7812-90DDD4A43061}"/>
              </a:ext>
            </a:extLst>
          </p:cNvPr>
          <p:cNvSpPr txBox="1"/>
          <p:nvPr/>
        </p:nvSpPr>
        <p:spPr>
          <a:xfrm>
            <a:off x="3533893" y="2890641"/>
            <a:ext cx="736481" cy="39370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立项信息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sp>
        <p:nvSpPr>
          <p:cNvPr id="83" name="Rectangle 84">
            <a:extLst>
              <a:ext uri="{FF2B5EF4-FFF2-40B4-BE49-F238E27FC236}">
                <a16:creationId xmlns:a16="http://schemas.microsoft.com/office/drawing/2014/main" id="{F651378E-1A23-A639-A394-BE5F688C4F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9496" y="3592825"/>
            <a:ext cx="848420" cy="29552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4" name="Rectangle 84">
            <a:extLst>
              <a:ext uri="{FF2B5EF4-FFF2-40B4-BE49-F238E27FC236}">
                <a16:creationId xmlns:a16="http://schemas.microsoft.com/office/drawing/2014/main" id="{8F2B87EF-986C-CFD9-9E00-29BDC60F5B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6846" y="4119188"/>
            <a:ext cx="867057" cy="29552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报销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89" name="直接箭头连接符 205">
            <a:extLst>
              <a:ext uri="{FF2B5EF4-FFF2-40B4-BE49-F238E27FC236}">
                <a16:creationId xmlns:a16="http://schemas.microsoft.com/office/drawing/2014/main" id="{B074A053-EF39-815C-0C4B-2BF4570E5893}"/>
              </a:ext>
            </a:extLst>
          </p:cNvPr>
          <p:cNvCxnSpPr>
            <a:cxnSpLocks/>
            <a:stCxn id="83" idx="2"/>
            <a:endCxn id="84" idx="0"/>
          </p:cNvCxnSpPr>
          <p:nvPr/>
        </p:nvCxnSpPr>
        <p:spPr>
          <a:xfrm>
            <a:off x="4263706" y="3888347"/>
            <a:ext cx="6669" cy="230841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直接箭头连接符 205">
            <a:extLst>
              <a:ext uri="{FF2B5EF4-FFF2-40B4-BE49-F238E27FC236}">
                <a16:creationId xmlns:a16="http://schemas.microsoft.com/office/drawing/2014/main" id="{9FE584F9-EB89-BFA6-D0C0-E60CA2A16820}"/>
              </a:ext>
            </a:extLst>
          </p:cNvPr>
          <p:cNvCxnSpPr>
            <a:cxnSpLocks/>
            <a:endCxn id="21" idx="2"/>
          </p:cNvCxnSpPr>
          <p:nvPr/>
        </p:nvCxnSpPr>
        <p:spPr>
          <a:xfrm flipV="1">
            <a:off x="4228320" y="2927245"/>
            <a:ext cx="1" cy="357099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8">
            <a:extLst>
              <a:ext uri="{FF2B5EF4-FFF2-40B4-BE49-F238E27FC236}">
                <a16:creationId xmlns:a16="http://schemas.microsoft.com/office/drawing/2014/main" id="{F34D176C-A932-A732-8806-DBCD7DE548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21874" y="2161999"/>
            <a:ext cx="921734" cy="632555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16" name="Rectangle 85">
            <a:extLst>
              <a:ext uri="{FF2B5EF4-FFF2-40B4-BE49-F238E27FC236}">
                <a16:creationId xmlns:a16="http://schemas.microsoft.com/office/drawing/2014/main" id="{A53D4C88-56E4-0E3E-AD17-687D8AEE0C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92250" y="2426142"/>
            <a:ext cx="718128" cy="33751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付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9" name="文本框 29">
            <a:extLst>
              <a:ext uri="{FF2B5EF4-FFF2-40B4-BE49-F238E27FC236}">
                <a16:creationId xmlns:a16="http://schemas.microsoft.com/office/drawing/2014/main" id="{EA8D6CB2-1AA0-84A8-A28E-832EEF023BAE}"/>
              </a:ext>
            </a:extLst>
          </p:cNvPr>
          <p:cNvSpPr txBox="1"/>
          <p:nvPr/>
        </p:nvSpPr>
        <p:spPr>
          <a:xfrm>
            <a:off x="7840092" y="2001539"/>
            <a:ext cx="736481" cy="3937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付款计划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cxnSp>
        <p:nvCxnSpPr>
          <p:cNvPr id="117" name="直接箭头连接符 205">
            <a:extLst>
              <a:ext uri="{FF2B5EF4-FFF2-40B4-BE49-F238E27FC236}">
                <a16:creationId xmlns:a16="http://schemas.microsoft.com/office/drawing/2014/main" id="{1B76E3B9-E014-2AB7-C0F2-642E707649AF}"/>
              </a:ext>
            </a:extLst>
          </p:cNvPr>
          <p:cNvCxnSpPr>
            <a:cxnSpLocks/>
          </p:cNvCxnSpPr>
          <p:nvPr/>
        </p:nvCxnSpPr>
        <p:spPr>
          <a:xfrm flipV="1">
            <a:off x="7994791" y="2460570"/>
            <a:ext cx="462271" cy="1080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tangle 84">
            <a:extLst>
              <a:ext uri="{FF2B5EF4-FFF2-40B4-BE49-F238E27FC236}">
                <a16:creationId xmlns:a16="http://schemas.microsoft.com/office/drawing/2014/main" id="{0B884646-0D67-7AC7-063B-26E502C642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6846" y="4667446"/>
            <a:ext cx="867057" cy="29552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付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124" name="直接箭头连接符 205">
            <a:extLst>
              <a:ext uri="{FF2B5EF4-FFF2-40B4-BE49-F238E27FC236}">
                <a16:creationId xmlns:a16="http://schemas.microsoft.com/office/drawing/2014/main" id="{97039691-88C9-98F8-1DFA-D4AD41B92724}"/>
              </a:ext>
            </a:extLst>
          </p:cNvPr>
          <p:cNvCxnSpPr>
            <a:cxnSpLocks/>
            <a:stCxn id="84" idx="2"/>
            <a:endCxn id="123" idx="0"/>
          </p:cNvCxnSpPr>
          <p:nvPr/>
        </p:nvCxnSpPr>
        <p:spPr>
          <a:xfrm>
            <a:off x="4270375" y="4414710"/>
            <a:ext cx="0" cy="252736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0B0BB007-924E-A13F-46A5-16617A6BA7B8}"/>
              </a:ext>
            </a:extLst>
          </p:cNvPr>
          <p:cNvCxnSpPr/>
          <p:nvPr/>
        </p:nvCxnSpPr>
        <p:spPr>
          <a:xfrm>
            <a:off x="4742878" y="2477162"/>
            <a:ext cx="689298" cy="0"/>
          </a:xfrm>
          <a:prstGeom prst="straightConnector1">
            <a:avLst/>
          </a:prstGeom>
          <a:ln w="28575">
            <a:solidFill>
              <a:srgbClr val="7030A0"/>
            </a:solidFill>
            <a:headEnd type="triangle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4" name="Rectangle 18">
            <a:extLst>
              <a:ext uri="{FF2B5EF4-FFF2-40B4-BE49-F238E27FC236}">
                <a16:creationId xmlns:a16="http://schemas.microsoft.com/office/drawing/2014/main" id="{1985AF62-E988-27D9-30F6-679592CE5C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8726" y="5369362"/>
            <a:ext cx="2983766" cy="592346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48" name="文本框 29">
            <a:extLst>
              <a:ext uri="{FF2B5EF4-FFF2-40B4-BE49-F238E27FC236}">
                <a16:creationId xmlns:a16="http://schemas.microsoft.com/office/drawing/2014/main" id="{98938924-F15D-6BEB-D764-48223D2D5A52}"/>
              </a:ext>
            </a:extLst>
          </p:cNvPr>
          <p:cNvSpPr txBox="1"/>
          <p:nvPr/>
        </p:nvSpPr>
        <p:spPr>
          <a:xfrm>
            <a:off x="2719217" y="3341328"/>
            <a:ext cx="736481" cy="39370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立项信息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预算调用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cxnSp>
        <p:nvCxnSpPr>
          <p:cNvPr id="153" name="Connector: Elbow 152">
            <a:extLst>
              <a:ext uri="{FF2B5EF4-FFF2-40B4-BE49-F238E27FC236}">
                <a16:creationId xmlns:a16="http://schemas.microsoft.com/office/drawing/2014/main" id="{EB4F5261-60F5-2FA8-4A2C-CD23C0300462}"/>
              </a:ext>
            </a:extLst>
          </p:cNvPr>
          <p:cNvCxnSpPr>
            <a:cxnSpLocks/>
          </p:cNvCxnSpPr>
          <p:nvPr/>
        </p:nvCxnSpPr>
        <p:spPr>
          <a:xfrm>
            <a:off x="2578940" y="2966999"/>
            <a:ext cx="1189788" cy="748156"/>
          </a:xfrm>
          <a:prstGeom prst="bentConnector3">
            <a:avLst>
              <a:gd name="adj1" fmla="val 172"/>
            </a:avLst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Connector: Elbow 155">
            <a:extLst>
              <a:ext uri="{FF2B5EF4-FFF2-40B4-BE49-F238E27FC236}">
                <a16:creationId xmlns:a16="http://schemas.microsoft.com/office/drawing/2014/main" id="{3B7B9FFD-48DB-E526-4BDD-70018C2DB6F1}"/>
              </a:ext>
            </a:extLst>
          </p:cNvPr>
          <p:cNvCxnSpPr>
            <a:cxnSpLocks/>
            <a:stCxn id="17" idx="2"/>
            <a:endCxn id="144" idx="1"/>
          </p:cNvCxnSpPr>
          <p:nvPr/>
        </p:nvCxnSpPr>
        <p:spPr>
          <a:xfrm rot="16200000" flipH="1">
            <a:off x="1717599" y="3614408"/>
            <a:ext cx="2718414" cy="1383840"/>
          </a:xfrm>
          <a:prstGeom prst="bentConnector2">
            <a:avLst/>
          </a:prstGeom>
          <a:ln w="28575"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Rectangle 84">
            <a:extLst>
              <a:ext uri="{FF2B5EF4-FFF2-40B4-BE49-F238E27FC236}">
                <a16:creationId xmlns:a16="http://schemas.microsoft.com/office/drawing/2014/main" id="{5EA21343-4420-D585-71D1-F624DCB887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9496" y="5630494"/>
            <a:ext cx="848420" cy="29552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2" name="Rectangle 84">
            <a:extLst>
              <a:ext uri="{FF2B5EF4-FFF2-40B4-BE49-F238E27FC236}">
                <a16:creationId xmlns:a16="http://schemas.microsoft.com/office/drawing/2014/main" id="{9B1D5005-8738-0A3E-FDFB-41617A79EA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4998" y="5625375"/>
            <a:ext cx="867057" cy="29552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报销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3" name="Rectangle 84">
            <a:extLst>
              <a:ext uri="{FF2B5EF4-FFF2-40B4-BE49-F238E27FC236}">
                <a16:creationId xmlns:a16="http://schemas.microsoft.com/office/drawing/2014/main" id="{E5BA2CE3-BDB2-2831-285B-A90AC86C6A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73351" y="5625375"/>
            <a:ext cx="867057" cy="295522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付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6" name="文本框 29">
            <a:extLst>
              <a:ext uri="{FF2B5EF4-FFF2-40B4-BE49-F238E27FC236}">
                <a16:creationId xmlns:a16="http://schemas.microsoft.com/office/drawing/2014/main" id="{3C6CAAD3-F55B-5EFA-1071-1EFA37A00695}"/>
              </a:ext>
            </a:extLst>
          </p:cNvPr>
          <p:cNvSpPr txBox="1"/>
          <p:nvPr/>
        </p:nvSpPr>
        <p:spPr>
          <a:xfrm>
            <a:off x="2499615" y="5172510"/>
            <a:ext cx="736481" cy="39370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l"/>
            <a:r>
              <a:rPr lang="zh-CN" altLang="en-US" sz="1050">
                <a:solidFill>
                  <a:srgbClr val="005F92"/>
                </a:solidFill>
                <a:latin typeface="+mj-ea"/>
                <a:ea typeface="+mj-ea"/>
              </a:rPr>
              <a:t>立项信息</a:t>
            </a:r>
            <a:endParaRPr lang="en-US" altLang="zh-CN" sz="1050">
              <a:solidFill>
                <a:srgbClr val="005F92"/>
              </a:solidFill>
              <a:latin typeface="+mj-ea"/>
              <a:ea typeface="+mj-ea"/>
            </a:endParaRPr>
          </a:p>
        </p:txBody>
      </p:sp>
      <p:cxnSp>
        <p:nvCxnSpPr>
          <p:cNvPr id="167" name="Straight Connector 4">
            <a:extLst>
              <a:ext uri="{FF2B5EF4-FFF2-40B4-BE49-F238E27FC236}">
                <a16:creationId xmlns:a16="http://schemas.microsoft.com/office/drawing/2014/main" id="{B2B00B40-E4DD-FAED-7596-4C9DDABFCF2D}"/>
              </a:ext>
            </a:extLst>
          </p:cNvPr>
          <p:cNvCxnSpPr>
            <a:cxnSpLocks/>
          </p:cNvCxnSpPr>
          <p:nvPr/>
        </p:nvCxnSpPr>
        <p:spPr>
          <a:xfrm>
            <a:off x="208913" y="3161509"/>
            <a:ext cx="9001465" cy="0"/>
          </a:xfrm>
          <a:prstGeom prst="line">
            <a:avLst/>
          </a:prstGeom>
          <a:ln w="28575">
            <a:solidFill>
              <a:srgbClr val="005F9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4">
            <a:extLst>
              <a:ext uri="{FF2B5EF4-FFF2-40B4-BE49-F238E27FC236}">
                <a16:creationId xmlns:a16="http://schemas.microsoft.com/office/drawing/2014/main" id="{48B37E8C-3A46-7438-1C7E-91B9133DEE21}"/>
              </a:ext>
            </a:extLst>
          </p:cNvPr>
          <p:cNvCxnSpPr>
            <a:cxnSpLocks/>
          </p:cNvCxnSpPr>
          <p:nvPr/>
        </p:nvCxnSpPr>
        <p:spPr>
          <a:xfrm>
            <a:off x="208913" y="5040585"/>
            <a:ext cx="8812546" cy="0"/>
          </a:xfrm>
          <a:prstGeom prst="line">
            <a:avLst/>
          </a:prstGeom>
          <a:ln w="28575">
            <a:solidFill>
              <a:srgbClr val="005F9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DD9F7D09-A751-2C6F-CB31-CC7C3DA56522}"/>
              </a:ext>
            </a:extLst>
          </p:cNvPr>
          <p:cNvCxnSpPr>
            <a:cxnSpLocks/>
          </p:cNvCxnSpPr>
          <p:nvPr/>
        </p:nvCxnSpPr>
        <p:spPr>
          <a:xfrm>
            <a:off x="208913" y="971061"/>
            <a:ext cx="0" cy="2190448"/>
          </a:xfrm>
          <a:prstGeom prst="line">
            <a:avLst/>
          </a:prstGeom>
          <a:ln>
            <a:solidFill>
              <a:srgbClr val="005F9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1ADAEDB9-476D-652A-C142-77251AFEF1B3}"/>
              </a:ext>
            </a:extLst>
          </p:cNvPr>
          <p:cNvCxnSpPr>
            <a:cxnSpLocks/>
          </p:cNvCxnSpPr>
          <p:nvPr/>
        </p:nvCxnSpPr>
        <p:spPr>
          <a:xfrm>
            <a:off x="208913" y="3284344"/>
            <a:ext cx="0" cy="1678624"/>
          </a:xfrm>
          <a:prstGeom prst="line">
            <a:avLst/>
          </a:prstGeom>
          <a:ln>
            <a:solidFill>
              <a:srgbClr val="005F9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3EDEB45D-F968-E3DE-0AF5-5AA2F656DCDD}"/>
              </a:ext>
            </a:extLst>
          </p:cNvPr>
          <p:cNvCxnSpPr>
            <a:cxnSpLocks/>
          </p:cNvCxnSpPr>
          <p:nvPr/>
        </p:nvCxnSpPr>
        <p:spPr>
          <a:xfrm>
            <a:off x="208913" y="5122396"/>
            <a:ext cx="0" cy="1308548"/>
          </a:xfrm>
          <a:prstGeom prst="line">
            <a:avLst/>
          </a:prstGeom>
          <a:ln>
            <a:solidFill>
              <a:srgbClr val="005F9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4">
            <a:extLst>
              <a:ext uri="{FF2B5EF4-FFF2-40B4-BE49-F238E27FC236}">
                <a16:creationId xmlns:a16="http://schemas.microsoft.com/office/drawing/2014/main" id="{444F9ADF-A2F3-CDD2-98D2-91000FCC7B20}"/>
              </a:ext>
            </a:extLst>
          </p:cNvPr>
          <p:cNvCxnSpPr>
            <a:cxnSpLocks/>
          </p:cNvCxnSpPr>
          <p:nvPr/>
        </p:nvCxnSpPr>
        <p:spPr>
          <a:xfrm>
            <a:off x="281642" y="6430944"/>
            <a:ext cx="8812546" cy="0"/>
          </a:xfrm>
          <a:prstGeom prst="line">
            <a:avLst/>
          </a:prstGeom>
          <a:ln w="28575">
            <a:solidFill>
              <a:srgbClr val="005F9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37604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18">
            <a:extLst>
              <a:ext uri="{FF2B5EF4-FFF2-40B4-BE49-F238E27FC236}">
                <a16:creationId xmlns:a16="http://schemas.microsoft.com/office/drawing/2014/main" id="{D338BD34-600C-A13E-7B60-A3B2362F48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46" y="1263103"/>
            <a:ext cx="7702626" cy="604219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费用中心</a:t>
            </a:r>
          </a:p>
        </p:txBody>
      </p:sp>
      <p:sp>
        <p:nvSpPr>
          <p:cNvPr id="49" name="Rectangle 18">
            <a:extLst>
              <a:ext uri="{FF2B5EF4-FFF2-40B4-BE49-F238E27FC236}">
                <a16:creationId xmlns:a16="http://schemas.microsoft.com/office/drawing/2014/main" id="{67F1AB62-4748-5067-DA39-B8F8FF8DF7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31" y="3099015"/>
            <a:ext cx="1080230" cy="2971151"/>
          </a:xfrm>
          <a:prstGeom prst="rect">
            <a:avLst/>
          </a:prstGeom>
          <a:solidFill>
            <a:schemeClr val="bg1">
              <a:lumMod val="85000"/>
              <a:alpha val="70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推广费系统</a:t>
            </a:r>
          </a:p>
        </p:txBody>
      </p:sp>
      <p:sp>
        <p:nvSpPr>
          <p:cNvPr id="64" name="Rectangle 18">
            <a:extLst>
              <a:ext uri="{FF2B5EF4-FFF2-40B4-BE49-F238E27FC236}">
                <a16:creationId xmlns:a16="http://schemas.microsoft.com/office/drawing/2014/main" id="{EB298ED1-FAA3-E801-D0D5-C9B0DE061C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6067" y="3083006"/>
            <a:ext cx="2076205" cy="604219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结算平台</a:t>
            </a:r>
          </a:p>
        </p:txBody>
      </p:sp>
      <p:sp>
        <p:nvSpPr>
          <p:cNvPr id="43" name="Rectangle 18">
            <a:extLst>
              <a:ext uri="{FF2B5EF4-FFF2-40B4-BE49-F238E27FC236}">
                <a16:creationId xmlns:a16="http://schemas.microsoft.com/office/drawing/2014/main" id="{63B4EB4D-803B-B99B-F427-61856A1A59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89" y="3779591"/>
            <a:ext cx="2077961" cy="2219169"/>
          </a:xfrm>
          <a:prstGeom prst="rect">
            <a:avLst/>
          </a:prstGeom>
          <a:solidFill>
            <a:srgbClr val="C0E9FF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AP ERP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10984A-1973-E074-373C-41FA2BFB49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0729" y="3077784"/>
            <a:ext cx="2906060" cy="2999479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R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8" name="Rectangle 18">
            <a:extLst>
              <a:ext uri="{FF2B5EF4-FFF2-40B4-BE49-F238E27FC236}">
                <a16:creationId xmlns:a16="http://schemas.microsoft.com/office/drawing/2014/main" id="{404DBAC2-18F7-7509-B24D-258FC79C2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1314" y="3400292"/>
            <a:ext cx="1259736" cy="1167428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管理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3E9A57-CB75-5562-65AA-BBEC656EC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03430" y="6424571"/>
            <a:ext cx="585140" cy="232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FE292F-1EBE-6D4A-B339-A324D614A372}" type="slidenum">
              <a:rPr kumimoji="1" lang="zh-CN" altLang="en-US" smtClean="0"/>
              <a:pPr/>
              <a:t>5</a:t>
            </a:fld>
            <a:endParaRPr kumimoji="1" lang="zh-CN" alt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351361-B5FC-3B4C-93C7-23720EA44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10282312" cy="706293"/>
          </a:xfrm>
        </p:spPr>
        <p:txBody>
          <a:bodyPr/>
          <a:lstStyle/>
          <a:p>
            <a:r>
              <a:rPr lang="zh-CN" altLang="en-US"/>
              <a:t>推广费</a:t>
            </a:r>
            <a:r>
              <a:rPr lang="en-US" altLang="zh-CN"/>
              <a:t>-</a:t>
            </a:r>
            <a:r>
              <a:rPr lang="zh-CN" altLang="en-US"/>
              <a:t>长期系统方案：及时自动核算多维度推广费核算</a:t>
            </a:r>
            <a:endParaRPr lang="en-US"/>
          </a:p>
        </p:txBody>
      </p:sp>
      <p:sp>
        <p:nvSpPr>
          <p:cNvPr id="16" name="Rectangle 18">
            <a:extLst>
              <a:ext uri="{FF2B5EF4-FFF2-40B4-BE49-F238E27FC236}">
                <a16:creationId xmlns:a16="http://schemas.microsoft.com/office/drawing/2014/main" id="{E26698F4-350E-C049-E5A1-A718B51A9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6524" y="3643411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供应商准入</a:t>
            </a:r>
          </a:p>
        </p:txBody>
      </p:sp>
      <p:sp>
        <p:nvSpPr>
          <p:cNvPr id="103" name="Rectangle 30">
            <a:extLst>
              <a:ext uri="{FF2B5EF4-FFF2-40B4-BE49-F238E27FC236}">
                <a16:creationId xmlns:a16="http://schemas.microsoft.com/office/drawing/2014/main" id="{9A73E786-6CEC-FA2E-31C5-1EC4AC4A38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6524" y="3961446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0" name="Rectangle 18">
            <a:extLst>
              <a:ext uri="{FF2B5EF4-FFF2-40B4-BE49-F238E27FC236}">
                <a16:creationId xmlns:a16="http://schemas.microsoft.com/office/drawing/2014/main" id="{8215F382-68BB-1B97-CCAA-840E1E959B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5098" y="3403782"/>
            <a:ext cx="1259735" cy="1167428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寻源协同</a:t>
            </a:r>
          </a:p>
        </p:txBody>
      </p:sp>
      <p:sp>
        <p:nvSpPr>
          <p:cNvPr id="293" name="Rectangle 17">
            <a:extLst>
              <a:ext uri="{FF2B5EF4-FFF2-40B4-BE49-F238E27FC236}">
                <a16:creationId xmlns:a16="http://schemas.microsoft.com/office/drawing/2014/main" id="{1D3F46A8-6AEA-A772-BC95-CC446FDE02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7217" y="3647302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询报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5725C3B3-43B9-537F-C7B6-625F0AE8E3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7217" y="3951872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竞价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3" name="Rectangle 18">
            <a:extLst>
              <a:ext uri="{FF2B5EF4-FFF2-40B4-BE49-F238E27FC236}">
                <a16:creationId xmlns:a16="http://schemas.microsoft.com/office/drawing/2014/main" id="{542C84DF-0CFC-603E-8CE0-FE2C218111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3613" y="4643006"/>
            <a:ext cx="2572725" cy="409423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管理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A6E260C3-8A19-6E3B-53B3-51E1DD373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0754" y="5109429"/>
            <a:ext cx="2572725" cy="430310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订单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履行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0D9DE54B-B5AC-44E7-593C-AA89FD48D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3613" y="5597280"/>
            <a:ext cx="2559866" cy="411017"/>
          </a:xfrm>
          <a:prstGeom prst="rect">
            <a:avLst/>
          </a:prstGeom>
          <a:solidFill>
            <a:srgbClr val="C5D3ED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财务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协同</a:t>
            </a: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D3852551-1543-EC05-EBF5-F7FB94D8B0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4761" y="5681011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结算单对账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7E31F183-EB64-54BF-4381-1DC44EFD0C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1921" y="5681363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发票上传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审核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44136927-858F-6DA3-98D9-F71401917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1835" y="4740444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年框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B7316411-D4C5-299C-1622-5F54EC5A98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421" y="4740444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合同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6DC6D3BB-3AAF-C52A-02D2-5DCB03804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4761" y="5206001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186652DF-610C-F1BF-04ED-DD93B0BC4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4555" y="5206001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确认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7" name="Rectangle 18">
            <a:extLst>
              <a:ext uri="{FF2B5EF4-FFF2-40B4-BE49-F238E27FC236}">
                <a16:creationId xmlns:a16="http://schemas.microsoft.com/office/drawing/2014/main" id="{6278E8FF-BB7D-DCA7-2BF6-971FBC8C52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6524" y="4260334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绩效考核</a:t>
            </a:r>
          </a:p>
        </p:txBody>
      </p: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09FC2D6D-FC1A-E7EA-44DB-BD5B54CFE610}"/>
              </a:ext>
            </a:extLst>
          </p:cNvPr>
          <p:cNvGrpSpPr/>
          <p:nvPr/>
        </p:nvGrpSpPr>
        <p:grpSpPr>
          <a:xfrm>
            <a:off x="8000262" y="866137"/>
            <a:ext cx="4128789" cy="313175"/>
            <a:chOff x="10133105" y="1104727"/>
            <a:chExt cx="2058895" cy="313175"/>
          </a:xfrm>
        </p:grpSpPr>
        <p:grpSp>
          <p:nvGrpSpPr>
            <p:cNvPr id="47" name="Group 63">
              <a:extLst>
                <a:ext uri="{FF2B5EF4-FFF2-40B4-BE49-F238E27FC236}">
                  <a16:creationId xmlns:a16="http://schemas.microsoft.com/office/drawing/2014/main" id="{FF07DC3E-8926-7696-EFE5-9C8B8A49AFD5}"/>
                </a:ext>
              </a:extLst>
            </p:cNvPr>
            <p:cNvGrpSpPr/>
            <p:nvPr/>
          </p:nvGrpSpPr>
          <p:grpSpPr>
            <a:xfrm>
              <a:off x="10133105" y="1104727"/>
              <a:ext cx="2058895" cy="313175"/>
              <a:chOff x="9344415" y="1038841"/>
              <a:chExt cx="2551176" cy="313175"/>
            </a:xfrm>
          </p:grpSpPr>
          <p:cxnSp>
            <p:nvCxnSpPr>
              <p:cNvPr id="48" name="Straight Connector 38">
                <a:extLst>
                  <a:ext uri="{FF2B5EF4-FFF2-40B4-BE49-F238E27FC236}">
                    <a16:creationId xmlns:a16="http://schemas.microsoft.com/office/drawing/2014/main" id="{A4AB9685-F160-7599-DDB2-7C31B65E8C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44415" y="1225644"/>
                <a:ext cx="2551176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 type="diamond"/>
                <a:tailEnd type="diamond"/>
              </a:ln>
              <a:effectLst/>
            </p:spPr>
          </p:cxnSp>
          <p:sp>
            <p:nvSpPr>
              <p:cNvPr id="50" name="TextBox 39">
                <a:extLst>
                  <a:ext uri="{FF2B5EF4-FFF2-40B4-BE49-F238E27FC236}">
                    <a16:creationId xmlns:a16="http://schemas.microsoft.com/office/drawing/2014/main" id="{60FC412D-CA07-B12E-2A4E-460DD39CBF79}"/>
                  </a:ext>
                </a:extLst>
              </p:cNvPr>
              <p:cNvSpPr txBox="1"/>
              <p:nvPr/>
            </p:nvSpPr>
            <p:spPr>
              <a:xfrm>
                <a:off x="10193126" y="1038841"/>
                <a:ext cx="1115431" cy="307777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1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Times New Roman"/>
                    <a:ea typeface="Microsoft YaHei"/>
                    <a:cs typeface="+mn-cs"/>
                  </a:rPr>
                  <a:t>现状</a:t>
                </a:r>
                <a:r>
                  <a:rPr lang="en-US" altLang="zh-CN" sz="1400" b="1" kern="0">
                    <a:latin typeface="Times New Roman"/>
                    <a:ea typeface="Microsoft YaHei"/>
                  </a:rPr>
                  <a:t>/</a:t>
                </a:r>
                <a:r>
                  <a:rPr lang="zh-CN" altLang="en-US" sz="1400" b="1" kern="0">
                    <a:latin typeface="Times New Roman"/>
                    <a:ea typeface="Microsoft YaHei"/>
                  </a:rPr>
                  <a:t>提升方向</a:t>
                </a:r>
                <a:endParaRPr kumimoji="0" lang="zh-CN" altLang="en-US" sz="1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Times New Roman"/>
                  <a:ea typeface="Microsoft YaHei"/>
                  <a:cs typeface="+mn-cs"/>
                </a:endParaRPr>
              </a:p>
            </p:txBody>
          </p:sp>
          <p:sp>
            <p:nvSpPr>
              <p:cNvPr id="52" name="Rectangle 59">
                <a:extLst>
                  <a:ext uri="{FF2B5EF4-FFF2-40B4-BE49-F238E27FC236}">
                    <a16:creationId xmlns:a16="http://schemas.microsoft.com/office/drawing/2014/main" id="{7EBFF4C7-AE2C-5CD4-9F05-11FCAFA30191}"/>
                  </a:ext>
                </a:extLst>
              </p:cNvPr>
              <p:cNvSpPr/>
              <p:nvPr/>
            </p:nvSpPr>
            <p:spPr>
              <a:xfrm>
                <a:off x="9966693" y="1044241"/>
                <a:ext cx="253249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</p:grpSp>
        <p:pic>
          <p:nvPicPr>
            <p:cNvPr id="55" name="Graphic 66">
              <a:extLst>
                <a:ext uri="{FF2B5EF4-FFF2-40B4-BE49-F238E27FC236}">
                  <a16:creationId xmlns:a16="http://schemas.microsoft.com/office/drawing/2014/main" id="{46E33D4C-F0E4-F422-6716-A80BBCDD53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653055" y="1138070"/>
              <a:ext cx="164992" cy="256032"/>
            </a:xfrm>
            <a:prstGeom prst="rect">
              <a:avLst/>
            </a:prstGeom>
          </p:spPr>
        </p:pic>
      </p:grpSp>
      <p:sp>
        <p:nvSpPr>
          <p:cNvPr id="56" name="矩形 189">
            <a:extLst>
              <a:ext uri="{FF2B5EF4-FFF2-40B4-BE49-F238E27FC236}">
                <a16:creationId xmlns:a16="http://schemas.microsoft.com/office/drawing/2014/main" id="{C9CDC39A-79BF-9E57-BAA2-2DE9D1DAF8B3}"/>
              </a:ext>
            </a:extLst>
          </p:cNvPr>
          <p:cNvSpPr/>
          <p:nvPr/>
        </p:nvSpPr>
        <p:spPr>
          <a:xfrm>
            <a:off x="7835938" y="1242166"/>
            <a:ext cx="4331289" cy="5422278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系统现状：</a:t>
            </a:r>
            <a:endParaRPr lang="en-US" altLang="zh-CN" sz="1200" b="1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1. </a:t>
            </a:r>
            <a:r>
              <a:rPr lang="zh-CN" altLang="en-US" sz="1200" b="1">
                <a:latin typeface="+mj-ea"/>
                <a:ea typeface="+mj-ea"/>
              </a:rPr>
              <a:t>推广费计提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>
                <a:latin typeface="+mj-ea"/>
                <a:ea typeface="+mj-ea"/>
              </a:rPr>
              <a:t>FSSC</a:t>
            </a:r>
            <a:r>
              <a:rPr lang="zh-CN" altLang="en-US" sz="1200">
                <a:latin typeface="+mj-ea"/>
                <a:ea typeface="+mj-ea"/>
              </a:rPr>
              <a:t>系统中通过费用申请单计提推广费，下月全部手工冲销；</a:t>
            </a:r>
            <a:endParaRPr lang="en-US" altLang="zh-CN" sz="1200">
              <a:latin typeface="+mj-ea"/>
              <a:ea typeface="+mj-ea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2. </a:t>
            </a:r>
            <a:r>
              <a:rPr lang="zh-CN" altLang="en-US" sz="1200" b="1">
                <a:latin typeface="+mj-ea"/>
                <a:ea typeface="+mj-ea"/>
              </a:rPr>
              <a:t>推广费报销：</a:t>
            </a:r>
            <a:r>
              <a:rPr lang="zh-CN" altLang="en-US" sz="1200">
                <a:latin typeface="+mj-ea"/>
                <a:ea typeface="+mj-ea"/>
              </a:rPr>
              <a:t>在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FSSC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</a:t>
            </a:r>
            <a:r>
              <a:rPr lang="zh-CN" altLang="en-US" sz="1200">
                <a:latin typeface="+mj-ea"/>
                <a:ea typeface="+mj-ea"/>
              </a:rPr>
              <a:t>中通过费用报销单进行费用报销，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无过程管控</a:t>
            </a:r>
            <a:r>
              <a:rPr lang="zh-CN" altLang="en-US" sz="1200" b="1">
                <a:latin typeface="+mj-ea"/>
                <a:ea typeface="+mj-ea"/>
              </a:rPr>
              <a:t>。</a:t>
            </a:r>
            <a:endParaRPr lang="en-US" altLang="zh-CN" sz="1200">
              <a:latin typeface="+mj-ea"/>
              <a:ea typeface="+mj-ea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提升方向：</a:t>
            </a:r>
            <a:endParaRPr lang="en-US" altLang="zh-CN" sz="1200" b="1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PBF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推广费预算下达至</a:t>
            </a:r>
            <a:r>
              <a:rPr lang="en-US" altLang="zh-CN" sz="1200">
                <a:latin typeface="+mj-ea"/>
                <a:ea typeface="+mj-ea"/>
              </a:rPr>
              <a:t>MPM</a:t>
            </a:r>
            <a:r>
              <a:rPr lang="zh-CN" altLang="en-US" sz="1200">
                <a:latin typeface="+mj-ea"/>
                <a:ea typeface="+mj-ea"/>
              </a:rPr>
              <a:t>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MPM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定位</a:t>
            </a:r>
            <a:r>
              <a:rPr lang="en-US" altLang="zh-CN" sz="1200">
                <a:latin typeface="+mj-ea"/>
                <a:ea typeface="+mj-ea"/>
              </a:rPr>
              <a:t>MPM</a:t>
            </a:r>
            <a:r>
              <a:rPr lang="zh-CN" altLang="en-US" sz="1200">
                <a:latin typeface="+mj-ea"/>
                <a:ea typeface="+mj-ea"/>
              </a:rPr>
              <a:t>系统为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推广费项目管理系统</a:t>
            </a:r>
            <a:r>
              <a:rPr lang="zh-CN" altLang="en-US" sz="1200">
                <a:latin typeface="+mj-ea"/>
                <a:ea typeface="+mj-ea"/>
              </a:rPr>
              <a:t>，承接</a:t>
            </a:r>
            <a:r>
              <a:rPr lang="en-US" altLang="zh-CN" sz="1200">
                <a:latin typeface="+mj-ea"/>
                <a:ea typeface="+mj-ea"/>
              </a:rPr>
              <a:t>PBF</a:t>
            </a:r>
            <a:r>
              <a:rPr lang="zh-CN" altLang="en-US" sz="1200">
                <a:latin typeface="+mj-ea"/>
                <a:ea typeface="+mj-ea"/>
              </a:rPr>
              <a:t>下达的推广费预算，搭建项目预算管理、预算拆解、预算调整等功能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SRM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接收</a:t>
            </a:r>
            <a:r>
              <a:rPr lang="en-US" altLang="zh-CN" sz="1200">
                <a:latin typeface="+mj-ea"/>
                <a:ea typeface="+mj-ea"/>
              </a:rPr>
              <a:t>MPM</a:t>
            </a:r>
            <a:r>
              <a:rPr lang="zh-CN" altLang="en-US" sz="1200">
                <a:latin typeface="+mj-ea"/>
                <a:ea typeface="+mj-ea"/>
              </a:rPr>
              <a:t>系统项目预算，发起采购申请，搭建推广业务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供应商、寻源报价、采购合同、订单履行、对账等功能</a:t>
            </a:r>
            <a:r>
              <a:rPr lang="zh-CN" altLang="en-US" sz="1200">
                <a:latin typeface="+mj-ea"/>
                <a:ea typeface="+mj-ea"/>
              </a:rPr>
              <a:t>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en-US" altLang="zh-CN" sz="1200" b="1">
                <a:latin typeface="+mj-ea"/>
                <a:ea typeface="+mj-ea"/>
              </a:rPr>
              <a:t>SAP</a:t>
            </a:r>
            <a:r>
              <a:rPr lang="zh-CN" altLang="en-US" sz="1200" b="1">
                <a:latin typeface="+mj-ea"/>
                <a:ea typeface="+mj-ea"/>
              </a:rPr>
              <a:t>系统：</a:t>
            </a:r>
            <a:r>
              <a:rPr lang="zh-CN" altLang="en-US" sz="1200">
                <a:latin typeface="+mj-ea"/>
                <a:ea typeface="+mj-ea"/>
              </a:rPr>
              <a:t>承接各系统业务执行结果，实现多维度推广费核算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结算平台：</a:t>
            </a:r>
            <a:r>
              <a:rPr lang="zh-CN" altLang="en-US" sz="1200">
                <a:latin typeface="+mj-ea"/>
                <a:ea typeface="+mj-ea"/>
              </a:rPr>
              <a:t>搭建结算平台，对接</a:t>
            </a:r>
            <a:r>
              <a:rPr lang="en-US" altLang="zh-CN" sz="1200">
                <a:latin typeface="+mj-ea"/>
                <a:ea typeface="+mj-ea"/>
              </a:rPr>
              <a:t>ERP</a:t>
            </a:r>
            <a:r>
              <a:rPr lang="zh-CN" altLang="en-US" sz="1200">
                <a:latin typeface="+mj-ea"/>
                <a:ea typeface="+mj-ea"/>
              </a:rPr>
              <a:t>系统中推广费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费用明细清单及应付账款余额</a:t>
            </a:r>
            <a:r>
              <a:rPr lang="zh-CN" altLang="en-US" sz="1200">
                <a:latin typeface="+mj-ea"/>
                <a:ea typeface="+mj-ea"/>
              </a:rPr>
              <a:t>，推送</a:t>
            </a:r>
            <a:r>
              <a:rPr lang="en-US" altLang="zh-CN" sz="1200">
                <a:latin typeface="+mj-ea"/>
                <a:ea typeface="+mj-ea"/>
              </a:rPr>
              <a:t>SRM</a:t>
            </a:r>
            <a:r>
              <a:rPr lang="zh-CN" altLang="en-US" sz="1200">
                <a:latin typeface="+mj-ea"/>
                <a:ea typeface="+mj-ea"/>
              </a:rPr>
              <a:t>系统进行供应商对账；</a:t>
            </a:r>
            <a:endParaRPr lang="en-US" altLang="zh-CN" sz="1200">
              <a:latin typeface="+mj-ea"/>
              <a:ea typeface="+mj-ea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30000"/>
              <a:buFont typeface="+mj-ea"/>
              <a:buAutoNum type="circleNumDbPlain"/>
              <a:tabLst/>
              <a:defRPr/>
            </a:pPr>
            <a:r>
              <a:rPr lang="zh-CN" altLang="en-US" sz="1200" b="1">
                <a:latin typeface="+mj-ea"/>
                <a:ea typeface="+mj-ea"/>
              </a:rPr>
              <a:t>费用中心：</a:t>
            </a:r>
            <a:r>
              <a:rPr lang="zh-CN" altLang="en-US" sz="1200">
                <a:latin typeface="+mj-ea"/>
                <a:ea typeface="+mj-ea"/>
              </a:rPr>
              <a:t>建设推广费各视角费用分析查询功能；</a:t>
            </a:r>
            <a:endParaRPr lang="en-US" altLang="zh-CN" sz="1200">
              <a:latin typeface="+mj-ea"/>
              <a:ea typeface="+mj-ea"/>
            </a:endParaRPr>
          </a:p>
          <a:p>
            <a:pPr marL="228600" indent="-228600">
              <a:lnSpc>
                <a:spcPct val="150000"/>
              </a:lnSpc>
              <a:buClr>
                <a:schemeClr val="tx1"/>
              </a:buClr>
              <a:buSzPct val="130000"/>
              <a:buFont typeface="+mj-ea"/>
              <a:buAutoNum type="circleNumDbPlain"/>
              <a:defRPr/>
            </a:pPr>
            <a:r>
              <a:rPr lang="zh-CN" altLang="en-US" sz="1200" b="1">
                <a:latin typeface="+mj-ea"/>
                <a:ea typeface="+mj-ea"/>
              </a:rPr>
              <a:t>推广费系统：</a:t>
            </a:r>
            <a:r>
              <a:rPr lang="zh-CN" altLang="en-US" sz="1200">
                <a:latin typeface="+mj-ea"/>
                <a:ea typeface="+mj-ea"/>
              </a:rPr>
              <a:t>建议未来由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MPM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与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SRM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系统承接目前推广费系统对应功能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(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需与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CBG IT</a:t>
            </a:r>
            <a:r>
              <a:rPr lang="zh-CN" altLang="en-US" sz="1200" b="1">
                <a:solidFill>
                  <a:srgbClr val="FF0000"/>
                </a:solidFill>
                <a:latin typeface="+mj-ea"/>
                <a:ea typeface="+mj-ea"/>
              </a:rPr>
              <a:t>架构拉通</a:t>
            </a:r>
            <a:r>
              <a:rPr lang="en-US" altLang="zh-CN" sz="1200" b="1">
                <a:solidFill>
                  <a:srgbClr val="FF0000"/>
                </a:solidFill>
                <a:latin typeface="+mj-ea"/>
                <a:ea typeface="+mj-ea"/>
              </a:rPr>
              <a:t>)</a:t>
            </a:r>
            <a:r>
              <a:rPr lang="zh-CN" altLang="en-US" sz="1200">
                <a:latin typeface="+mj-ea"/>
                <a:ea typeface="+mj-ea"/>
              </a:rPr>
              <a:t>。</a:t>
            </a:r>
            <a:endParaRPr lang="en-US" altLang="zh-CN" sz="1200">
              <a:latin typeface="+mj-ea"/>
              <a:ea typeface="+mj-ea"/>
            </a:endParaRPr>
          </a:p>
        </p:txBody>
      </p: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E55475C0-EEA7-6FC8-07A8-9B1D970C7AE3}"/>
              </a:ext>
            </a:extLst>
          </p:cNvPr>
          <p:cNvGrpSpPr/>
          <p:nvPr/>
        </p:nvGrpSpPr>
        <p:grpSpPr>
          <a:xfrm>
            <a:off x="62948" y="904656"/>
            <a:ext cx="7709724" cy="307776"/>
            <a:chOff x="393790" y="1071756"/>
            <a:chExt cx="7955080" cy="307776"/>
          </a:xfrm>
        </p:grpSpPr>
        <p:cxnSp>
          <p:nvCxnSpPr>
            <p:cNvPr id="81" name="Straight Connector 38">
              <a:extLst>
                <a:ext uri="{FF2B5EF4-FFF2-40B4-BE49-F238E27FC236}">
                  <a16:creationId xmlns:a16="http://schemas.microsoft.com/office/drawing/2014/main" id="{A2F57F02-A4EE-079F-E620-EC487EA988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790" y="1218242"/>
              <a:ext cx="7955080" cy="7402"/>
            </a:xfrm>
            <a:prstGeom prst="line">
              <a:avLst/>
            </a:prstGeom>
            <a:noFill/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diamond"/>
              <a:tailEnd type="diamond"/>
            </a:ln>
            <a:effectLst/>
          </p:spPr>
        </p:cxnSp>
        <p:sp>
          <p:nvSpPr>
            <p:cNvPr id="82" name="Rectangle 24">
              <a:extLst>
                <a:ext uri="{FF2B5EF4-FFF2-40B4-BE49-F238E27FC236}">
                  <a16:creationId xmlns:a16="http://schemas.microsoft.com/office/drawing/2014/main" id="{161D99B6-FF3E-1D66-D890-AD0BA723250A}"/>
                </a:ext>
              </a:extLst>
            </p:cNvPr>
            <p:cNvSpPr/>
            <p:nvPr/>
          </p:nvSpPr>
          <p:spPr>
            <a:xfrm>
              <a:off x="3546889" y="1071756"/>
              <a:ext cx="2103120" cy="307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r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400" b="1">
                  <a:latin typeface="Microsoft YaHei"/>
                  <a:ea typeface="Microsoft YaHei"/>
                  <a:cs typeface="Arial" panose="020B0604020202020204" pitchFamily="34" charset="0"/>
                </a:rPr>
                <a:t>推广费长</a:t>
              </a:r>
              <a:r>
                <a:rPr kumimoji="1" lang="zh-CN" altLang="en-US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YaHei"/>
                  <a:ea typeface="Microsoft YaHei"/>
                  <a:cs typeface="Arial" panose="020B0604020202020204" pitchFamily="34" charset="0"/>
                </a:rPr>
                <a:t>期方案</a:t>
              </a:r>
              <a:endParaRPr kumimoji="1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icrosoft YaHei"/>
                <a:ea typeface="Microsoft YaHei"/>
                <a:cs typeface="Arial" panose="020B0604020202020204" pitchFamily="34" charset="0"/>
              </a:endParaRPr>
            </a:p>
          </p:txBody>
        </p:sp>
        <p:grpSp>
          <p:nvGrpSpPr>
            <p:cNvPr id="83" name="Group 55">
              <a:extLst>
                <a:ext uri="{FF2B5EF4-FFF2-40B4-BE49-F238E27FC236}">
                  <a16:creationId xmlns:a16="http://schemas.microsoft.com/office/drawing/2014/main" id="{748F363F-598A-5DBE-07A4-E7706396C922}"/>
                </a:ext>
              </a:extLst>
            </p:cNvPr>
            <p:cNvGrpSpPr/>
            <p:nvPr/>
          </p:nvGrpSpPr>
          <p:grpSpPr>
            <a:xfrm>
              <a:off x="3432303" y="1071757"/>
              <a:ext cx="431104" cy="307775"/>
              <a:chOff x="3126173" y="1114361"/>
              <a:chExt cx="431104" cy="307775"/>
            </a:xfrm>
          </p:grpSpPr>
          <p:sp>
            <p:nvSpPr>
              <p:cNvPr id="85" name="Rectangle 49">
                <a:extLst>
                  <a:ext uri="{FF2B5EF4-FFF2-40B4-BE49-F238E27FC236}">
                    <a16:creationId xmlns:a16="http://schemas.microsoft.com/office/drawing/2014/main" id="{41959D13-B337-0497-F283-252FB5609711}"/>
                  </a:ext>
                </a:extLst>
              </p:cNvPr>
              <p:cNvSpPr/>
              <p:nvPr/>
            </p:nvSpPr>
            <p:spPr>
              <a:xfrm>
                <a:off x="3126173" y="1114361"/>
                <a:ext cx="431104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86" name="Graphic 44">
                <a:extLst>
                  <a:ext uri="{FF2B5EF4-FFF2-40B4-BE49-F238E27FC236}">
                    <a16:creationId xmlns:a16="http://schemas.microsoft.com/office/drawing/2014/main" id="{7DBEA2AB-F8B5-08BD-1641-5CCA8D47DC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204565" y="1122751"/>
                <a:ext cx="274320" cy="252882"/>
              </a:xfrm>
              <a:prstGeom prst="rect">
                <a:avLst/>
              </a:prstGeom>
            </p:spPr>
          </p:pic>
        </p:grpSp>
      </p:grpSp>
      <p:sp>
        <p:nvSpPr>
          <p:cNvPr id="99" name="Rectangle 17">
            <a:extLst>
              <a:ext uri="{FF2B5EF4-FFF2-40B4-BE49-F238E27FC236}">
                <a16:creationId xmlns:a16="http://schemas.microsoft.com/office/drawing/2014/main" id="{271B20AC-F24A-6727-E5CF-95D6D300F1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7217" y="4264754"/>
            <a:ext cx="1008000" cy="252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招投标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0" name="矩形 189">
            <a:extLst>
              <a:ext uri="{FF2B5EF4-FFF2-40B4-BE49-F238E27FC236}">
                <a16:creationId xmlns:a16="http://schemas.microsoft.com/office/drawing/2014/main" id="{1DA86A75-B960-2B54-8DEB-60CB24714A25}"/>
              </a:ext>
            </a:extLst>
          </p:cNvPr>
          <p:cNvSpPr/>
          <p:nvPr/>
        </p:nvSpPr>
        <p:spPr>
          <a:xfrm>
            <a:off x="55851" y="1250994"/>
            <a:ext cx="7709724" cy="5426813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81323"/>
              </a:buClr>
              <a:buSzPct val="130000"/>
              <a:tabLst/>
              <a:defRPr/>
            </a:pPr>
            <a:endParaRPr lang="en-US" altLang="zh-CN" sz="1200" b="1">
              <a:latin typeface="+mj-ea"/>
              <a:ea typeface="+mj-ea"/>
            </a:endParaRPr>
          </a:p>
        </p:txBody>
      </p:sp>
      <p:sp>
        <p:nvSpPr>
          <p:cNvPr id="109" name="Rectangle 18">
            <a:extLst>
              <a:ext uri="{FF2B5EF4-FFF2-40B4-BE49-F238E27FC236}">
                <a16:creationId xmlns:a16="http://schemas.microsoft.com/office/drawing/2014/main" id="{B7214C6E-0F32-2725-6DCC-13C740D2A0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466" y="6144965"/>
            <a:ext cx="7702626" cy="531258"/>
          </a:xfrm>
          <a:prstGeom prst="rect">
            <a:avLst/>
          </a:prstGeom>
          <a:solidFill>
            <a:srgbClr val="1084D0">
              <a:alpha val="7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vert="eaVert"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10" name="TextBox 48">
            <a:extLst>
              <a:ext uri="{FF2B5EF4-FFF2-40B4-BE49-F238E27FC236}">
                <a16:creationId xmlns:a16="http://schemas.microsoft.com/office/drawing/2014/main" id="{0246DDA4-1652-16BA-CB24-12EB02CE0D55}"/>
              </a:ext>
            </a:extLst>
          </p:cNvPr>
          <p:cNvSpPr txBox="1"/>
          <p:nvPr/>
        </p:nvSpPr>
        <p:spPr>
          <a:xfrm>
            <a:off x="-90690" y="6181484"/>
            <a:ext cx="810816" cy="539323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>
            <a:defPPr>
              <a:defRPr lang="zh-CN"/>
            </a:defPPr>
            <a:lvl1pPr algn="ctr">
              <a:defRPr sz="1400"/>
            </a:lvl1pPr>
          </a:lstStyle>
          <a:p>
            <a:r>
              <a:rPr lang="en-US" altLang="zh-CN" b="1">
                <a:latin typeface="+mn-ea"/>
              </a:rPr>
              <a:t>MDM</a:t>
            </a:r>
            <a:endParaRPr lang="en-US" b="1">
              <a:latin typeface="+mn-ea"/>
            </a:endParaRPr>
          </a:p>
        </p:txBody>
      </p:sp>
      <p:sp>
        <p:nvSpPr>
          <p:cNvPr id="112" name="Rectangle 17">
            <a:extLst>
              <a:ext uri="{FF2B5EF4-FFF2-40B4-BE49-F238E27FC236}">
                <a16:creationId xmlns:a16="http://schemas.microsoft.com/office/drawing/2014/main" id="{044A6CA2-F78F-5A2B-40C5-F01A38F76C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098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5" name="Rectangle 17">
            <a:extLst>
              <a:ext uri="{FF2B5EF4-FFF2-40B4-BE49-F238E27FC236}">
                <a16:creationId xmlns:a16="http://schemas.microsoft.com/office/drawing/2014/main" id="{803B49B9-0E73-5981-A97B-828E591DA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7421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服务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7" name="Rectangle 17">
            <a:extLst>
              <a:ext uri="{FF2B5EF4-FFF2-40B4-BE49-F238E27FC236}">
                <a16:creationId xmlns:a16="http://schemas.microsoft.com/office/drawing/2014/main" id="{1C799E89-17D7-50FB-1171-1AFCD878F2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4712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账户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8" name="Rectangle 17">
            <a:extLst>
              <a:ext uri="{FF2B5EF4-FFF2-40B4-BE49-F238E27FC236}">
                <a16:creationId xmlns:a16="http://schemas.microsoft.com/office/drawing/2014/main" id="{B6EBD142-5AB5-D181-5E4B-F84EDA2602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6744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渠道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2" name="Rectangle 17">
            <a:extLst>
              <a:ext uri="{FF2B5EF4-FFF2-40B4-BE49-F238E27FC236}">
                <a16:creationId xmlns:a16="http://schemas.microsoft.com/office/drawing/2014/main" id="{5B2D1DA8-90A9-F18E-DCE7-167B3FFDB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6067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区域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4" name="Rectangle 18">
            <a:extLst>
              <a:ext uri="{FF2B5EF4-FFF2-40B4-BE49-F238E27FC236}">
                <a16:creationId xmlns:a16="http://schemas.microsoft.com/office/drawing/2014/main" id="{62D3B640-4A90-B350-049B-3E2334A461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3630" y="1955429"/>
            <a:ext cx="5033317" cy="1052003"/>
          </a:xfrm>
          <a:prstGeom prst="rect">
            <a:avLst/>
          </a:prstGeom>
          <a:solidFill>
            <a:srgbClr val="F2F2F2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MPM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26" name="Rectangle 50">
            <a:extLst>
              <a:ext uri="{FF2B5EF4-FFF2-40B4-BE49-F238E27FC236}">
                <a16:creationId xmlns:a16="http://schemas.microsoft.com/office/drawing/2014/main" id="{ACE84A0D-155F-43A8-8A57-79E56688D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5939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结项复盘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34" name="Rectangle 17">
            <a:extLst>
              <a:ext uri="{FF2B5EF4-FFF2-40B4-BE49-F238E27FC236}">
                <a16:creationId xmlns:a16="http://schemas.microsoft.com/office/drawing/2014/main" id="{55054CB2-60FD-98A9-5029-40AF50469F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1172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预算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" name="Rectangle 17">
            <a:extLst>
              <a:ext uri="{FF2B5EF4-FFF2-40B4-BE49-F238E27FC236}">
                <a16:creationId xmlns:a16="http://schemas.microsoft.com/office/drawing/2014/main" id="{9860A6DF-5C68-C31A-94E8-8A78C161F1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6285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附件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箭头: 右 3">
            <a:extLst>
              <a:ext uri="{FF2B5EF4-FFF2-40B4-BE49-F238E27FC236}">
                <a16:creationId xmlns:a16="http://schemas.microsoft.com/office/drawing/2014/main" id="{F2744372-ED7F-C1E4-437F-42D7D85A9001}"/>
              </a:ext>
            </a:extLst>
          </p:cNvPr>
          <p:cNvSpPr/>
          <p:nvPr/>
        </p:nvSpPr>
        <p:spPr>
          <a:xfrm rot="16200000">
            <a:off x="577987" y="596504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箭头: 右 50">
            <a:extLst>
              <a:ext uri="{FF2B5EF4-FFF2-40B4-BE49-F238E27FC236}">
                <a16:creationId xmlns:a16="http://schemas.microsoft.com/office/drawing/2014/main" id="{94AE6377-D923-D7E4-77F4-E910CEC12EB6}"/>
              </a:ext>
            </a:extLst>
          </p:cNvPr>
          <p:cNvSpPr/>
          <p:nvPr/>
        </p:nvSpPr>
        <p:spPr>
          <a:xfrm rot="10800000">
            <a:off x="4161388" y="520600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箭头: 右 52">
            <a:extLst>
              <a:ext uri="{FF2B5EF4-FFF2-40B4-BE49-F238E27FC236}">
                <a16:creationId xmlns:a16="http://schemas.microsoft.com/office/drawing/2014/main" id="{9D717655-90B3-B672-A51F-CBDA17DAEAC8}"/>
              </a:ext>
            </a:extLst>
          </p:cNvPr>
          <p:cNvSpPr/>
          <p:nvPr/>
        </p:nvSpPr>
        <p:spPr>
          <a:xfrm>
            <a:off x="4148455" y="446027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Rectangle 30">
            <a:extLst>
              <a:ext uri="{FF2B5EF4-FFF2-40B4-BE49-F238E27FC236}">
                <a16:creationId xmlns:a16="http://schemas.microsoft.com/office/drawing/2014/main" id="{5C039F13-0454-07BF-6A56-3A3BEC837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7326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立项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8" name="Rectangle 5">
            <a:extLst>
              <a:ext uri="{FF2B5EF4-FFF2-40B4-BE49-F238E27FC236}">
                <a16:creationId xmlns:a16="http://schemas.microsoft.com/office/drawing/2014/main" id="{F4278DE9-3955-53EB-9783-BF9CF760E40D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40" name="Rectangle 18">
            <a:extLst>
              <a:ext uri="{FF2B5EF4-FFF2-40B4-BE49-F238E27FC236}">
                <a16:creationId xmlns:a16="http://schemas.microsoft.com/office/drawing/2014/main" id="{FBD981CB-3606-A850-645B-4404AB7FD3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2440" y="1954329"/>
            <a:ext cx="1309832" cy="2738186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FSSC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38" name="Rectangle 84">
            <a:extLst>
              <a:ext uri="{FF2B5EF4-FFF2-40B4-BE49-F238E27FC236}">
                <a16:creationId xmlns:a16="http://schemas.microsoft.com/office/drawing/2014/main" id="{79517A75-9E37-67DD-ED9E-E12247BF27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1252" y="3279352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提出付款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1" name="Rectangle 85">
            <a:extLst>
              <a:ext uri="{FF2B5EF4-FFF2-40B4-BE49-F238E27FC236}">
                <a16:creationId xmlns:a16="http://schemas.microsoft.com/office/drawing/2014/main" id="{98B473A6-18A4-B43F-F7A3-3761F6CCE6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1252" y="3783531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通知银行付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4" name="Rectangle 85">
            <a:extLst>
              <a:ext uri="{FF2B5EF4-FFF2-40B4-BE49-F238E27FC236}">
                <a16:creationId xmlns:a16="http://schemas.microsoft.com/office/drawing/2014/main" id="{552D9B66-B4AD-4B1E-1599-38BC2BFD28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1252" y="4287711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银行付款确认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银企直连）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DB22AF5-BAC5-902E-F5C8-B86B603DE846}"/>
              </a:ext>
            </a:extLst>
          </p:cNvPr>
          <p:cNvSpPr txBox="1"/>
          <p:nvPr/>
        </p:nvSpPr>
        <p:spPr>
          <a:xfrm>
            <a:off x="5373154" y="4068644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服务主数据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1AC2D51-2161-8661-1945-3EE380E4E1BA}"/>
              </a:ext>
            </a:extLst>
          </p:cNvPr>
          <p:cNvSpPr txBox="1"/>
          <p:nvPr/>
        </p:nvSpPr>
        <p:spPr>
          <a:xfrm>
            <a:off x="4351465" y="4581479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申请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A84FDE8-FCF8-2DF5-B5BF-6A5DCD206B12}"/>
              </a:ext>
            </a:extLst>
          </p:cNvPr>
          <p:cNvSpPr txBox="1"/>
          <p:nvPr/>
        </p:nvSpPr>
        <p:spPr>
          <a:xfrm>
            <a:off x="4351465" y="5087967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服务确认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C112D3C-A170-C5DA-72CE-C6599B5C9BA0}"/>
              </a:ext>
            </a:extLst>
          </p:cNvPr>
          <p:cNvSpPr txBox="1"/>
          <p:nvPr/>
        </p:nvSpPr>
        <p:spPr>
          <a:xfrm>
            <a:off x="4351465" y="5594455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应付账款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DE2A1E0-4BD9-F0F2-A8BB-B3E97ECBBB14}"/>
              </a:ext>
            </a:extLst>
          </p:cNvPr>
          <p:cNvSpPr txBox="1"/>
          <p:nvPr/>
        </p:nvSpPr>
        <p:spPr>
          <a:xfrm>
            <a:off x="5384640" y="4574050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采购订单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94C7ED8-678D-FE15-F153-7B7A84033A2B}"/>
              </a:ext>
            </a:extLst>
          </p:cNvPr>
          <p:cNvSpPr txBox="1"/>
          <p:nvPr/>
        </p:nvSpPr>
        <p:spPr>
          <a:xfrm>
            <a:off x="5384640" y="5079456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发票校验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9" name="箭头: 右 58">
            <a:extLst>
              <a:ext uri="{FF2B5EF4-FFF2-40B4-BE49-F238E27FC236}">
                <a16:creationId xmlns:a16="http://schemas.microsoft.com/office/drawing/2014/main" id="{100F6A83-0C25-7843-96C1-E74EA2F6037E}"/>
              </a:ext>
            </a:extLst>
          </p:cNvPr>
          <p:cNvSpPr/>
          <p:nvPr/>
        </p:nvSpPr>
        <p:spPr>
          <a:xfrm rot="16200000">
            <a:off x="5240350" y="362864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6D967CCF-5E54-4443-F254-F5EF3F13B6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25390" y="6299424"/>
            <a:ext cx="1008000" cy="288000"/>
          </a:xfrm>
          <a:prstGeom prst="rect">
            <a:avLst/>
          </a:prstGeom>
          <a:solidFill>
            <a:srgbClr val="007FC3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主数据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8" name="Rectangle 18">
            <a:extLst>
              <a:ext uri="{FF2B5EF4-FFF2-40B4-BE49-F238E27FC236}">
                <a16:creationId xmlns:a16="http://schemas.microsoft.com/office/drawing/2014/main" id="{5A40EAB2-F340-89D1-CAC7-C7EBE81A0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98" y="1932862"/>
            <a:ext cx="1106586" cy="1074570"/>
          </a:xfrm>
          <a:prstGeom prst="rect">
            <a:avLst/>
          </a:prstGeom>
          <a:solidFill>
            <a:srgbClr val="E8EDF8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PBF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62" name="Rectangle 84">
            <a:extLst>
              <a:ext uri="{FF2B5EF4-FFF2-40B4-BE49-F238E27FC236}">
                <a16:creationId xmlns:a16="http://schemas.microsoft.com/office/drawing/2014/main" id="{D0A540FA-02CA-2729-343D-ACD21C960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7486" y="2204904"/>
            <a:ext cx="900000" cy="252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编制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5" name="Rectangle 17">
            <a:extLst>
              <a:ext uri="{FF2B5EF4-FFF2-40B4-BE49-F238E27FC236}">
                <a16:creationId xmlns:a16="http://schemas.microsoft.com/office/drawing/2014/main" id="{41D8764D-010E-967C-8C56-4B8D04D27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078" y="4936016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购订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8" name="文本框 127">
            <a:extLst>
              <a:ext uri="{FF2B5EF4-FFF2-40B4-BE49-F238E27FC236}">
                <a16:creationId xmlns:a16="http://schemas.microsoft.com/office/drawing/2014/main" id="{51A7BC38-8138-F466-285C-40E73BED99D6}"/>
              </a:ext>
            </a:extLst>
          </p:cNvPr>
          <p:cNvSpPr txBox="1"/>
          <p:nvPr/>
        </p:nvSpPr>
        <p:spPr>
          <a:xfrm>
            <a:off x="5384640" y="5584862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往来清账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2" name="Rectangle 17">
            <a:extLst>
              <a:ext uri="{FF2B5EF4-FFF2-40B4-BE49-F238E27FC236}">
                <a16:creationId xmlns:a16="http://schemas.microsoft.com/office/drawing/2014/main" id="{B369E46F-C620-11FD-B784-38AFBDCF9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078" y="4558942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供应商接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7" name="文本框 126">
            <a:extLst>
              <a:ext uri="{FF2B5EF4-FFF2-40B4-BE49-F238E27FC236}">
                <a16:creationId xmlns:a16="http://schemas.microsoft.com/office/drawing/2014/main" id="{537F6AF6-3D1C-E755-E43A-2DF5AD845BFF}"/>
              </a:ext>
            </a:extLst>
          </p:cNvPr>
          <p:cNvSpPr txBox="1"/>
          <p:nvPr/>
        </p:nvSpPr>
        <p:spPr>
          <a:xfrm>
            <a:off x="4351465" y="4074991"/>
            <a:ext cx="900000" cy="288000"/>
          </a:xfrm>
          <a:prstGeom prst="rect">
            <a:avLst/>
          </a:prstGeom>
          <a:solidFill>
            <a:srgbClr val="81D3FF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1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项目</a:t>
            </a: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主数据</a:t>
            </a:r>
            <a:endParaRPr lang="de-DE" sz="1200" kern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7" name="Rectangle 17">
            <a:extLst>
              <a:ext uri="{FF2B5EF4-FFF2-40B4-BE49-F238E27FC236}">
                <a16:creationId xmlns:a16="http://schemas.microsoft.com/office/drawing/2014/main" id="{87CF77C4-AE11-BAC1-2210-776C1E4AFF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3851" y="3322108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明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96" name="Rectangle 17">
            <a:extLst>
              <a:ext uri="{FF2B5EF4-FFF2-40B4-BE49-F238E27FC236}">
                <a16:creationId xmlns:a16="http://schemas.microsoft.com/office/drawing/2014/main" id="{4064D806-2FE2-E53D-B694-BE159914C0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078" y="5313090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验收管理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98" name="Rectangle 17">
            <a:extLst>
              <a:ext uri="{FF2B5EF4-FFF2-40B4-BE49-F238E27FC236}">
                <a16:creationId xmlns:a16="http://schemas.microsoft.com/office/drawing/2014/main" id="{766E9DE0-3AD9-A620-6FC5-55E745111B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154" y="3326725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付账款余额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" name="Rectangle 84">
            <a:extLst>
              <a:ext uri="{FF2B5EF4-FFF2-40B4-BE49-F238E27FC236}">
                <a16:creationId xmlns:a16="http://schemas.microsoft.com/office/drawing/2014/main" id="{8FE2089A-7FFE-140B-A8E9-C4EF0AEB79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518" y="2581976"/>
            <a:ext cx="900000" cy="252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下达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5" name="Rectangle 18">
            <a:extLst>
              <a:ext uri="{FF2B5EF4-FFF2-40B4-BE49-F238E27FC236}">
                <a16:creationId xmlns:a16="http://schemas.microsoft.com/office/drawing/2014/main" id="{3772F819-D521-B498-F383-8AD75EFA82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2473" y="4771154"/>
            <a:ext cx="1317969" cy="1227606"/>
          </a:xfrm>
          <a:prstGeom prst="rect">
            <a:avLst/>
          </a:prstGeom>
          <a:solidFill>
            <a:srgbClr val="C5D3ED">
              <a:alpha val="40000"/>
            </a:srgb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资金管理平台</a:t>
            </a:r>
          </a:p>
        </p:txBody>
      </p:sp>
      <p:sp>
        <p:nvSpPr>
          <p:cNvPr id="54" name="Rectangle 84">
            <a:extLst>
              <a:ext uri="{FF2B5EF4-FFF2-40B4-BE49-F238E27FC236}">
                <a16:creationId xmlns:a16="http://schemas.microsoft.com/office/drawing/2014/main" id="{5D294140-2CC3-07F8-16A7-3793A4E17E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3896" y="5066848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资金支付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7" name="Rectangle 84">
            <a:extLst>
              <a:ext uri="{FF2B5EF4-FFF2-40B4-BE49-F238E27FC236}">
                <a16:creationId xmlns:a16="http://schemas.microsoft.com/office/drawing/2014/main" id="{75D60AE7-FBF4-74BB-376F-A245638942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3896" y="5581157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回单确认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1" name="箭头: 右 100">
            <a:extLst>
              <a:ext uri="{FF2B5EF4-FFF2-40B4-BE49-F238E27FC236}">
                <a16:creationId xmlns:a16="http://schemas.microsoft.com/office/drawing/2014/main" id="{3CB2492A-8AB6-B52F-ED4E-97767A7D8949}"/>
              </a:ext>
            </a:extLst>
          </p:cNvPr>
          <p:cNvSpPr/>
          <p:nvPr/>
        </p:nvSpPr>
        <p:spPr>
          <a:xfrm rot="16200000">
            <a:off x="1863486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箭头: 右 101">
            <a:extLst>
              <a:ext uri="{FF2B5EF4-FFF2-40B4-BE49-F238E27FC236}">
                <a16:creationId xmlns:a16="http://schemas.microsoft.com/office/drawing/2014/main" id="{32B07F15-F498-0570-42EE-6CD7711831EC}"/>
              </a:ext>
            </a:extLst>
          </p:cNvPr>
          <p:cNvSpPr/>
          <p:nvPr/>
        </p:nvSpPr>
        <p:spPr>
          <a:xfrm rot="16200000">
            <a:off x="3148985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箭头: 右 104">
            <a:extLst>
              <a:ext uri="{FF2B5EF4-FFF2-40B4-BE49-F238E27FC236}">
                <a16:creationId xmlns:a16="http://schemas.microsoft.com/office/drawing/2014/main" id="{15AB6091-B7BE-608D-0100-028F8701EDA3}"/>
              </a:ext>
            </a:extLst>
          </p:cNvPr>
          <p:cNvSpPr/>
          <p:nvPr/>
        </p:nvSpPr>
        <p:spPr>
          <a:xfrm rot="16200000">
            <a:off x="4434484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箭头: 右 105">
            <a:extLst>
              <a:ext uri="{FF2B5EF4-FFF2-40B4-BE49-F238E27FC236}">
                <a16:creationId xmlns:a16="http://schemas.microsoft.com/office/drawing/2014/main" id="{83773241-E896-11C4-AD72-A7D44727E069}"/>
              </a:ext>
            </a:extLst>
          </p:cNvPr>
          <p:cNvSpPr/>
          <p:nvPr/>
        </p:nvSpPr>
        <p:spPr>
          <a:xfrm rot="16200000">
            <a:off x="5719983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箭头: 右 106">
            <a:extLst>
              <a:ext uri="{FF2B5EF4-FFF2-40B4-BE49-F238E27FC236}">
                <a16:creationId xmlns:a16="http://schemas.microsoft.com/office/drawing/2014/main" id="{BD052F94-FE10-E276-F88F-3B7939B0DB8A}"/>
              </a:ext>
            </a:extLst>
          </p:cNvPr>
          <p:cNvSpPr/>
          <p:nvPr/>
        </p:nvSpPr>
        <p:spPr>
          <a:xfrm rot="16200000">
            <a:off x="7005481" y="596504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箭头: 右 107">
            <a:extLst>
              <a:ext uri="{FF2B5EF4-FFF2-40B4-BE49-F238E27FC236}">
                <a16:creationId xmlns:a16="http://schemas.microsoft.com/office/drawing/2014/main" id="{6D754720-5B2F-26B5-27E5-ACA9DE958D1E}"/>
              </a:ext>
            </a:extLst>
          </p:cNvPr>
          <p:cNvSpPr/>
          <p:nvPr/>
        </p:nvSpPr>
        <p:spPr>
          <a:xfrm rot="5400000">
            <a:off x="2057164" y="2966881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1" name="箭头: 右 110">
            <a:extLst>
              <a:ext uri="{FF2B5EF4-FFF2-40B4-BE49-F238E27FC236}">
                <a16:creationId xmlns:a16="http://schemas.microsoft.com/office/drawing/2014/main" id="{F3F2B00A-42FE-7D3E-A2CA-05A93A29FC63}"/>
              </a:ext>
            </a:extLst>
          </p:cNvPr>
          <p:cNvSpPr/>
          <p:nvPr/>
        </p:nvSpPr>
        <p:spPr>
          <a:xfrm rot="5400000">
            <a:off x="3280607" y="2964929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3" name="箭头: 右 122">
            <a:extLst>
              <a:ext uri="{FF2B5EF4-FFF2-40B4-BE49-F238E27FC236}">
                <a16:creationId xmlns:a16="http://schemas.microsoft.com/office/drawing/2014/main" id="{6B52A992-F0B6-49A2-18FD-743C8D68A4B6}"/>
              </a:ext>
            </a:extLst>
          </p:cNvPr>
          <p:cNvSpPr/>
          <p:nvPr/>
        </p:nvSpPr>
        <p:spPr>
          <a:xfrm rot="10800000">
            <a:off x="4147591" y="342390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4" name="箭头: 右 123">
            <a:extLst>
              <a:ext uri="{FF2B5EF4-FFF2-40B4-BE49-F238E27FC236}">
                <a16:creationId xmlns:a16="http://schemas.microsoft.com/office/drawing/2014/main" id="{743C2350-44EC-EA34-BFB9-3F1A11C91113}"/>
              </a:ext>
            </a:extLst>
          </p:cNvPr>
          <p:cNvSpPr/>
          <p:nvPr/>
        </p:nvSpPr>
        <p:spPr>
          <a:xfrm>
            <a:off x="4147591" y="317848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5" name="箭头: 右 124">
            <a:extLst>
              <a:ext uri="{FF2B5EF4-FFF2-40B4-BE49-F238E27FC236}">
                <a16:creationId xmlns:a16="http://schemas.microsoft.com/office/drawing/2014/main" id="{916FF9D9-516F-0452-930C-32D531C562C8}"/>
              </a:ext>
            </a:extLst>
          </p:cNvPr>
          <p:cNvSpPr/>
          <p:nvPr/>
        </p:nvSpPr>
        <p:spPr>
          <a:xfrm rot="10800000">
            <a:off x="6316044" y="430327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6" name="箭头: 右 125">
            <a:extLst>
              <a:ext uri="{FF2B5EF4-FFF2-40B4-BE49-F238E27FC236}">
                <a16:creationId xmlns:a16="http://schemas.microsoft.com/office/drawing/2014/main" id="{8D82F92B-51C1-9DFE-9D97-323638004835}"/>
              </a:ext>
            </a:extLst>
          </p:cNvPr>
          <p:cNvSpPr/>
          <p:nvPr/>
        </p:nvSpPr>
        <p:spPr>
          <a:xfrm>
            <a:off x="6343755" y="3911414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Rectangle 17">
            <a:extLst>
              <a:ext uri="{FF2B5EF4-FFF2-40B4-BE49-F238E27FC236}">
                <a16:creationId xmlns:a16="http://schemas.microsoft.com/office/drawing/2014/main" id="{B10521D2-53C2-FF33-93B7-850D7860B0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078" y="3427720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立项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5" name="Rectangle 17">
            <a:extLst>
              <a:ext uri="{FF2B5EF4-FFF2-40B4-BE49-F238E27FC236}">
                <a16:creationId xmlns:a16="http://schemas.microsoft.com/office/drawing/2014/main" id="{C9E8BE40-6EAD-92FE-7E1A-BFD92FFC7D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078" y="4181868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派单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6" name="Rectangle 17">
            <a:extLst>
              <a:ext uri="{FF2B5EF4-FFF2-40B4-BE49-F238E27FC236}">
                <a16:creationId xmlns:a16="http://schemas.microsoft.com/office/drawing/2014/main" id="{0FE68884-A7CB-3112-81F7-FF44447AB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078" y="3804794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7" name="Rectangle 17">
            <a:extLst>
              <a:ext uri="{FF2B5EF4-FFF2-40B4-BE49-F238E27FC236}">
                <a16:creationId xmlns:a16="http://schemas.microsoft.com/office/drawing/2014/main" id="{315821CD-4198-9A5B-3BEA-3345B977A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078" y="5690162"/>
            <a:ext cx="900000" cy="252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报销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0" name="Rectangle 17">
            <a:extLst>
              <a:ext uri="{FF2B5EF4-FFF2-40B4-BE49-F238E27FC236}">
                <a16:creationId xmlns:a16="http://schemas.microsoft.com/office/drawing/2014/main" id="{F050CBE3-49EA-A9CF-8CB2-266A06DF37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1613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算拆解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4" name="Rectangle 84">
            <a:extLst>
              <a:ext uri="{FF2B5EF4-FFF2-40B4-BE49-F238E27FC236}">
                <a16:creationId xmlns:a16="http://schemas.microsoft.com/office/drawing/2014/main" id="{AE1A1E8D-0C93-55A4-47BD-8CF30CF70F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1252" y="2270994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申请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6" name="Rectangle 84">
            <a:extLst>
              <a:ext uri="{FF2B5EF4-FFF2-40B4-BE49-F238E27FC236}">
                <a16:creationId xmlns:a16="http://schemas.microsoft.com/office/drawing/2014/main" id="{1BB32611-D945-FBBF-A3D8-C48DB8C617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1252" y="2775173"/>
            <a:ext cx="1008000" cy="288000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费用报销</a:t>
            </a:r>
            <a:endParaRPr lang="en-US" altLang="zh-CN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8" name="箭头: 右 77">
            <a:extLst>
              <a:ext uri="{FF2B5EF4-FFF2-40B4-BE49-F238E27FC236}">
                <a16:creationId xmlns:a16="http://schemas.microsoft.com/office/drawing/2014/main" id="{052E2156-6930-BF1F-908F-9B25F495DB67}"/>
              </a:ext>
            </a:extLst>
          </p:cNvPr>
          <p:cNvSpPr/>
          <p:nvPr/>
        </p:nvSpPr>
        <p:spPr>
          <a:xfrm rot="10800000">
            <a:off x="6295522" y="265880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箭头: 右 78">
            <a:extLst>
              <a:ext uri="{FF2B5EF4-FFF2-40B4-BE49-F238E27FC236}">
                <a16:creationId xmlns:a16="http://schemas.microsoft.com/office/drawing/2014/main" id="{73DA05AA-093D-504D-A3DA-8FEF860526F2}"/>
              </a:ext>
            </a:extLst>
          </p:cNvPr>
          <p:cNvSpPr/>
          <p:nvPr/>
        </p:nvSpPr>
        <p:spPr>
          <a:xfrm>
            <a:off x="6323233" y="2266942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箭头: 右 83">
            <a:extLst>
              <a:ext uri="{FF2B5EF4-FFF2-40B4-BE49-F238E27FC236}">
                <a16:creationId xmlns:a16="http://schemas.microsoft.com/office/drawing/2014/main" id="{2B69AAAE-B97A-F539-7D02-8BA67F0E0B85}"/>
              </a:ext>
            </a:extLst>
          </p:cNvPr>
          <p:cNvSpPr/>
          <p:nvPr/>
        </p:nvSpPr>
        <p:spPr>
          <a:xfrm rot="16200000">
            <a:off x="6840612" y="178415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" name="箭头: 右 87">
            <a:extLst>
              <a:ext uri="{FF2B5EF4-FFF2-40B4-BE49-F238E27FC236}">
                <a16:creationId xmlns:a16="http://schemas.microsoft.com/office/drawing/2014/main" id="{94770DC7-234B-764B-3522-C3FD48D89472}"/>
              </a:ext>
            </a:extLst>
          </p:cNvPr>
          <p:cNvSpPr/>
          <p:nvPr/>
        </p:nvSpPr>
        <p:spPr>
          <a:xfrm rot="16200000">
            <a:off x="5271497" y="1784157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箭头: 右 88">
            <a:extLst>
              <a:ext uri="{FF2B5EF4-FFF2-40B4-BE49-F238E27FC236}">
                <a16:creationId xmlns:a16="http://schemas.microsoft.com/office/drawing/2014/main" id="{6B4082B8-0391-3703-1A0B-1927AA066B9B}"/>
              </a:ext>
            </a:extLst>
          </p:cNvPr>
          <p:cNvSpPr/>
          <p:nvPr/>
        </p:nvSpPr>
        <p:spPr>
          <a:xfrm rot="16200000">
            <a:off x="3702383" y="178415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1" name="箭头: 右 90">
            <a:extLst>
              <a:ext uri="{FF2B5EF4-FFF2-40B4-BE49-F238E27FC236}">
                <a16:creationId xmlns:a16="http://schemas.microsoft.com/office/drawing/2014/main" id="{B455937C-7A11-349F-2F8C-E724F156C7F4}"/>
              </a:ext>
            </a:extLst>
          </p:cNvPr>
          <p:cNvSpPr/>
          <p:nvPr/>
        </p:nvSpPr>
        <p:spPr>
          <a:xfrm rot="16200000">
            <a:off x="564155" y="178415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3" name="箭头: 右 112">
            <a:extLst>
              <a:ext uri="{FF2B5EF4-FFF2-40B4-BE49-F238E27FC236}">
                <a16:creationId xmlns:a16="http://schemas.microsoft.com/office/drawing/2014/main" id="{0B443D9D-81DA-50D5-22E9-69FD2ABD9673}"/>
              </a:ext>
            </a:extLst>
          </p:cNvPr>
          <p:cNvSpPr/>
          <p:nvPr/>
        </p:nvSpPr>
        <p:spPr>
          <a:xfrm rot="16200000">
            <a:off x="2133269" y="1784158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6" name="箭头: 右 115">
            <a:extLst>
              <a:ext uri="{FF2B5EF4-FFF2-40B4-BE49-F238E27FC236}">
                <a16:creationId xmlns:a16="http://schemas.microsoft.com/office/drawing/2014/main" id="{DE9E7195-BE69-6CC7-7891-5A2E10331846}"/>
              </a:ext>
            </a:extLst>
          </p:cNvPr>
          <p:cNvSpPr/>
          <p:nvPr/>
        </p:nvSpPr>
        <p:spPr>
          <a:xfrm rot="5400000">
            <a:off x="6767110" y="461156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9" name="箭头: 右 118">
            <a:extLst>
              <a:ext uri="{FF2B5EF4-FFF2-40B4-BE49-F238E27FC236}">
                <a16:creationId xmlns:a16="http://schemas.microsoft.com/office/drawing/2014/main" id="{7B2621EC-64FE-3A4A-2D0C-21C7A0E86821}"/>
              </a:ext>
            </a:extLst>
          </p:cNvPr>
          <p:cNvSpPr/>
          <p:nvPr/>
        </p:nvSpPr>
        <p:spPr>
          <a:xfrm rot="16200000">
            <a:off x="7257433" y="4599126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1" name="Rectangle 50">
            <a:extLst>
              <a:ext uri="{FF2B5EF4-FFF2-40B4-BE49-F238E27FC236}">
                <a16:creationId xmlns:a16="http://schemas.microsoft.com/office/drawing/2014/main" id="{646F9E71-1BD5-4C25-8557-F88EBB3400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2935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项目考核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2" name="Rectangle 17">
            <a:extLst>
              <a:ext uri="{FF2B5EF4-FFF2-40B4-BE49-F238E27FC236}">
                <a16:creationId xmlns:a16="http://schemas.microsoft.com/office/drawing/2014/main" id="{475679F0-B833-5851-5FBB-E61D434530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6632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任务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33" name="Rectangle 30">
            <a:extLst>
              <a:ext uri="{FF2B5EF4-FFF2-40B4-BE49-F238E27FC236}">
                <a16:creationId xmlns:a16="http://schemas.microsoft.com/office/drawing/2014/main" id="{E11B18C3-31AC-3C29-7DC5-B4D802BEF6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6979" y="2214329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流程审批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4" name="Rectangle 50">
            <a:extLst>
              <a:ext uri="{FF2B5EF4-FFF2-40B4-BE49-F238E27FC236}">
                <a16:creationId xmlns:a16="http://schemas.microsoft.com/office/drawing/2014/main" id="{63696F22-9B00-F0FE-93FE-28464012D5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2054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费用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5" name="Rectangle 50">
            <a:extLst>
              <a:ext uri="{FF2B5EF4-FFF2-40B4-BE49-F238E27FC236}">
                <a16:creationId xmlns:a16="http://schemas.microsoft.com/office/drawing/2014/main" id="{82043D1C-B00B-F813-38B8-9167E3E692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495" y="2624361"/>
            <a:ext cx="900000" cy="288000"/>
          </a:xfrm>
          <a:prstGeom prst="rect">
            <a:avLst/>
          </a:prstGeom>
          <a:solidFill>
            <a:srgbClr val="E3DED1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指标管理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6" name="箭头: 右 135">
            <a:extLst>
              <a:ext uri="{FF2B5EF4-FFF2-40B4-BE49-F238E27FC236}">
                <a16:creationId xmlns:a16="http://schemas.microsoft.com/office/drawing/2014/main" id="{1D41288A-B276-32EB-F428-8316C58AB564}"/>
              </a:ext>
            </a:extLst>
          </p:cNvPr>
          <p:cNvSpPr/>
          <p:nvPr/>
        </p:nvSpPr>
        <p:spPr>
          <a:xfrm>
            <a:off x="1151826" y="2426565"/>
            <a:ext cx="125518" cy="23224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Rectangle 17">
            <a:extLst>
              <a:ext uri="{FF2B5EF4-FFF2-40B4-BE49-F238E27FC236}">
                <a16:creationId xmlns:a16="http://schemas.microsoft.com/office/drawing/2014/main" id="{53972670-BC75-8115-5567-FF315840C4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81" y="1520546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费用查询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7" name="Rectangle 17">
            <a:extLst>
              <a:ext uri="{FF2B5EF4-FFF2-40B4-BE49-F238E27FC236}">
                <a16:creationId xmlns:a16="http://schemas.microsoft.com/office/drawing/2014/main" id="{56032294-B650-7257-AA8E-45A082324D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35903" y="1522042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预算查询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5278B1AD-58FD-C5CE-2FB1-9E5525395F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8107" y="1521215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科目费用查询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0" name="Rectangle 17">
            <a:extLst>
              <a:ext uri="{FF2B5EF4-FFF2-40B4-BE49-F238E27FC236}">
                <a16:creationId xmlns:a16="http://schemas.microsoft.com/office/drawing/2014/main" id="{9E07AFD9-5A22-607C-59C3-CEB4D147B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1662" y="1521100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动因费用查询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1" name="Rectangle 17">
            <a:extLst>
              <a:ext uri="{FF2B5EF4-FFF2-40B4-BE49-F238E27FC236}">
                <a16:creationId xmlns:a16="http://schemas.microsoft.com/office/drawing/2014/main" id="{F9CDAAC2-F706-046C-761D-DAF8B1BEF4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0145" y="1522042"/>
            <a:ext cx="900000" cy="288000"/>
          </a:xfrm>
          <a:prstGeom prst="rect">
            <a:avLst/>
          </a:prstGeom>
          <a:solidFill>
            <a:srgbClr val="7C9CD6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预实分析</a:t>
            </a: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1" name="Oval 510">
            <a:extLst>
              <a:ext uri="{FF2B5EF4-FFF2-40B4-BE49-F238E27FC236}">
                <a16:creationId xmlns:a16="http://schemas.microsoft.com/office/drawing/2014/main" id="{7F1D12B8-7BBB-7570-3A11-549195A3243A}"/>
              </a:ext>
            </a:extLst>
          </p:cNvPr>
          <p:cNvSpPr/>
          <p:nvPr/>
        </p:nvSpPr>
        <p:spPr>
          <a:xfrm>
            <a:off x="161876" y="1882812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1</a:t>
            </a:r>
          </a:p>
        </p:txBody>
      </p:sp>
      <p:sp>
        <p:nvSpPr>
          <p:cNvPr id="73" name="Oval 510">
            <a:extLst>
              <a:ext uri="{FF2B5EF4-FFF2-40B4-BE49-F238E27FC236}">
                <a16:creationId xmlns:a16="http://schemas.microsoft.com/office/drawing/2014/main" id="{6E65EC3F-FF48-9B95-A785-B384250A13B2}"/>
              </a:ext>
            </a:extLst>
          </p:cNvPr>
          <p:cNvSpPr/>
          <p:nvPr/>
        </p:nvSpPr>
        <p:spPr>
          <a:xfrm>
            <a:off x="2221546" y="3086462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3</a:t>
            </a:r>
          </a:p>
        </p:txBody>
      </p:sp>
      <p:sp>
        <p:nvSpPr>
          <p:cNvPr id="94" name="Oval 510">
            <a:extLst>
              <a:ext uri="{FF2B5EF4-FFF2-40B4-BE49-F238E27FC236}">
                <a16:creationId xmlns:a16="http://schemas.microsoft.com/office/drawing/2014/main" id="{44BBE95D-A158-811D-1769-1377B0FBC9E5}"/>
              </a:ext>
            </a:extLst>
          </p:cNvPr>
          <p:cNvSpPr/>
          <p:nvPr/>
        </p:nvSpPr>
        <p:spPr>
          <a:xfrm>
            <a:off x="4613363" y="3755301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4</a:t>
            </a:r>
          </a:p>
        </p:txBody>
      </p:sp>
      <p:sp>
        <p:nvSpPr>
          <p:cNvPr id="72" name="Oval 510">
            <a:extLst>
              <a:ext uri="{FF2B5EF4-FFF2-40B4-BE49-F238E27FC236}">
                <a16:creationId xmlns:a16="http://schemas.microsoft.com/office/drawing/2014/main" id="{73BE0095-B33D-CE3C-8AE5-953BB91FD4CE}"/>
              </a:ext>
            </a:extLst>
          </p:cNvPr>
          <p:cNvSpPr/>
          <p:nvPr/>
        </p:nvSpPr>
        <p:spPr>
          <a:xfrm>
            <a:off x="3252554" y="1949677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2</a:t>
            </a:r>
          </a:p>
        </p:txBody>
      </p:sp>
      <p:sp>
        <p:nvSpPr>
          <p:cNvPr id="141" name="Oval 510">
            <a:extLst>
              <a:ext uri="{FF2B5EF4-FFF2-40B4-BE49-F238E27FC236}">
                <a16:creationId xmlns:a16="http://schemas.microsoft.com/office/drawing/2014/main" id="{4E2E81F9-341B-F92C-5EC0-AA8277E4B415}"/>
              </a:ext>
            </a:extLst>
          </p:cNvPr>
          <p:cNvSpPr/>
          <p:nvPr/>
        </p:nvSpPr>
        <p:spPr>
          <a:xfrm>
            <a:off x="4593492" y="3041326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5</a:t>
            </a:r>
          </a:p>
        </p:txBody>
      </p:sp>
      <p:sp>
        <p:nvSpPr>
          <p:cNvPr id="142" name="Oval 510">
            <a:extLst>
              <a:ext uri="{FF2B5EF4-FFF2-40B4-BE49-F238E27FC236}">
                <a16:creationId xmlns:a16="http://schemas.microsoft.com/office/drawing/2014/main" id="{E2202677-B239-3195-B011-9B53EFCBFB3A}"/>
              </a:ext>
            </a:extLst>
          </p:cNvPr>
          <p:cNvSpPr/>
          <p:nvPr/>
        </p:nvSpPr>
        <p:spPr>
          <a:xfrm>
            <a:off x="3190704" y="1242768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6</a:t>
            </a:r>
          </a:p>
        </p:txBody>
      </p:sp>
      <p:sp>
        <p:nvSpPr>
          <p:cNvPr id="69" name="Oval 510">
            <a:extLst>
              <a:ext uri="{FF2B5EF4-FFF2-40B4-BE49-F238E27FC236}">
                <a16:creationId xmlns:a16="http://schemas.microsoft.com/office/drawing/2014/main" id="{F7B396A0-18A0-106B-3CFC-711DBC023222}"/>
              </a:ext>
            </a:extLst>
          </p:cNvPr>
          <p:cNvSpPr/>
          <p:nvPr/>
        </p:nvSpPr>
        <p:spPr>
          <a:xfrm>
            <a:off x="95686" y="2887056"/>
            <a:ext cx="274320" cy="274320"/>
          </a:xfrm>
          <a:prstGeom prst="ellipse">
            <a:avLst/>
          </a:prstGeom>
          <a:solidFill>
            <a:srgbClr val="E81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0179490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ctangle 18">
            <a:extLst>
              <a:ext uri="{FF2B5EF4-FFF2-40B4-BE49-F238E27FC236}">
                <a16:creationId xmlns:a16="http://schemas.microsoft.com/office/drawing/2014/main" id="{6603B00F-12B9-7172-8DC9-77E8CA0F43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76611" y="1959701"/>
            <a:ext cx="1022714" cy="71078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cmpd="sng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t" anchorCtr="0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</a:rPr>
              <a:t>FSSC</a:t>
            </a:r>
            <a:endParaRPr kumimoji="0" lang="zh-CN" alt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</a:endParaRPr>
          </a:p>
        </p:txBody>
      </p:sp>
      <p:sp>
        <p:nvSpPr>
          <p:cNvPr id="80" name="Rectangle 18">
            <a:extLst>
              <a:ext uri="{FF2B5EF4-FFF2-40B4-BE49-F238E27FC236}">
                <a16:creationId xmlns:a16="http://schemas.microsoft.com/office/drawing/2014/main" id="{66478E30-C868-984D-2320-19FB3878F6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3796" y="1960913"/>
            <a:ext cx="1022714" cy="71078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</a:rPr>
              <a:t>SAP</a:t>
            </a:r>
            <a:endParaRPr kumimoji="0" lang="zh-CN" alt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23E4EC-AED0-0D54-8686-5C70E4547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latin typeface="+mn-ea"/>
                <a:ea typeface="+mn-ea"/>
              </a:rPr>
              <a:t>推广费</a:t>
            </a:r>
            <a:r>
              <a:rPr lang="en-US" altLang="zh-CN">
                <a:latin typeface="+mn-ea"/>
                <a:ea typeface="+mn-ea"/>
              </a:rPr>
              <a:t>-</a:t>
            </a:r>
            <a:r>
              <a:rPr lang="zh-CN" altLang="en-US">
                <a:latin typeface="+mn-ea"/>
                <a:ea typeface="+mn-ea"/>
              </a:rPr>
              <a:t>长期系统方案</a:t>
            </a:r>
            <a:endParaRPr lang="en-US">
              <a:latin typeface="+mn-ea"/>
              <a:ea typeface="+mn-ea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AB591D-F4E5-600E-C93C-E7C59A7E6A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FE292F-1EBE-6D4A-B339-A324D614A372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4" name="矩形 189">
            <a:extLst>
              <a:ext uri="{FF2B5EF4-FFF2-40B4-BE49-F238E27FC236}">
                <a16:creationId xmlns:a16="http://schemas.microsoft.com/office/drawing/2014/main" id="{8FADB6F4-CC43-460D-7341-8DD3AE0765CC}"/>
              </a:ext>
            </a:extLst>
          </p:cNvPr>
          <p:cNvSpPr/>
          <p:nvPr/>
        </p:nvSpPr>
        <p:spPr>
          <a:xfrm>
            <a:off x="9124475" y="1028631"/>
            <a:ext cx="2828766" cy="5256647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30000"/>
              <a:buFont typeface="+mj-ea"/>
              <a:buAutoNum type="circleNumDbPlain"/>
              <a:tabLst/>
              <a:defRPr/>
            </a:pPr>
            <a:r>
              <a:rPr kumimoji="0" lang="en-US" altLang="zh-CN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BPC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系统：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推广费预算编制</a:t>
            </a: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并下达至费用中心</a:t>
            </a:r>
            <a:endParaRPr kumimoji="0" lang="en-US" altLang="zh-CN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30000"/>
              <a:buFont typeface="+mj-ea"/>
              <a:buAutoNum type="circleNumDbPlain"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费用中心：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统一预算管理平台与业务系统对接方式</a:t>
            </a: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，业务系统在立项、执行等环境调用预算额度形成预占、实占，并回传各环节单据信息，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实施监控预算执行情况</a:t>
            </a:r>
            <a:endParaRPr kumimoji="0" lang="en-US" altLang="zh-CN" sz="105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30000"/>
              <a:buFont typeface="+mj-ea"/>
              <a:buAutoNum type="circleNumDbPlain"/>
              <a:tabLst/>
              <a:defRPr/>
            </a:pPr>
            <a:r>
              <a:rPr kumimoji="0" lang="en-US" altLang="zh-CN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MPM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系统：</a:t>
            </a: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定位</a:t>
            </a:r>
            <a:r>
              <a:rPr kumimoji="0" lang="en-US" altLang="zh-CN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MPM</a:t>
            </a: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系统为集团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推广费项目管理系统</a:t>
            </a: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，通过费用中心承接推广费项目预算，对项目进行全生命周期管理</a:t>
            </a:r>
            <a:endParaRPr kumimoji="0" lang="en-US" altLang="zh-CN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30000"/>
              <a:buFont typeface="+mj-ea"/>
              <a:buAutoNum type="circleNumDbPlain"/>
              <a:tabLst/>
              <a:defRPr/>
            </a:pPr>
            <a:r>
              <a:rPr kumimoji="0" lang="en-US" altLang="zh-CN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SRM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系统：</a:t>
            </a: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接收</a:t>
            </a:r>
            <a:r>
              <a:rPr kumimoji="0" lang="en-US" altLang="zh-CN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MPM</a:t>
            </a: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系统项目立项信息，发起采购申请，搭建推广业务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供应商、寻源报价、采购合同、订单履行、对账等功能</a:t>
            </a: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；</a:t>
            </a:r>
            <a:endParaRPr kumimoji="0" lang="en-US" altLang="zh-CN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30000"/>
              <a:buFont typeface="+mj-ea"/>
              <a:buAutoNum type="circleNumDbPlain"/>
              <a:tabLst/>
              <a:defRPr/>
            </a:pPr>
            <a:r>
              <a:rPr kumimoji="0" lang="en-US" altLang="zh-CN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SAP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系统：</a:t>
            </a: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承接各系统业务执行结果，实现多维度推广费核算；</a:t>
            </a:r>
            <a:endParaRPr kumimoji="0" lang="en-US" altLang="zh-CN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30000"/>
              <a:buFont typeface="+mj-ea"/>
              <a:buAutoNum type="circleNumDbPlain"/>
              <a:tabLst/>
              <a:defRPr/>
            </a:pPr>
            <a:r>
              <a:rPr kumimoji="0" lang="en-US" altLang="zh-CN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FSSC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系统</a:t>
            </a: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：对于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小额零星与不适用</a:t>
            </a:r>
            <a:r>
              <a:rPr kumimoji="0" lang="en-US" altLang="zh-CN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PTP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流程</a:t>
            </a: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的采购直接发起报销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推广费系统：</a:t>
            </a: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从功能上来说与</a:t>
            </a:r>
            <a:r>
              <a:rPr kumimoji="0" lang="en-US" altLang="zh-CN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MPM</a:t>
            </a: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定位重叠，建议未来由</a:t>
            </a:r>
            <a:r>
              <a:rPr kumimoji="0" lang="en-US" altLang="zh-CN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MPM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与</a:t>
            </a:r>
            <a:r>
              <a:rPr kumimoji="0" lang="en-US" altLang="zh-CN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SRM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系统承接目前推广费系统对应功能</a:t>
            </a:r>
            <a:r>
              <a:rPr kumimoji="0" lang="en-US" altLang="zh-CN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(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需与</a:t>
            </a:r>
            <a:r>
              <a:rPr kumimoji="0" lang="en-US" altLang="zh-CN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CBG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架构拉通</a:t>
            </a:r>
            <a:r>
              <a:rPr kumimoji="0" lang="en-US" altLang="zh-CN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)</a:t>
            </a: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。</a:t>
            </a:r>
            <a:endParaRPr kumimoji="0" lang="en-US" altLang="zh-CN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76" name="TextBox 53">
            <a:extLst>
              <a:ext uri="{FF2B5EF4-FFF2-40B4-BE49-F238E27FC236}">
                <a16:creationId xmlns:a16="http://schemas.microsoft.com/office/drawing/2014/main" id="{829A16CE-E0D2-AD81-1A39-5BCE8E0983E6}"/>
              </a:ext>
            </a:extLst>
          </p:cNvPr>
          <p:cNvSpPr txBox="1"/>
          <p:nvPr/>
        </p:nvSpPr>
        <p:spPr>
          <a:xfrm>
            <a:off x="564778" y="5165816"/>
            <a:ext cx="1992858" cy="825606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场景</a:t>
            </a:r>
            <a:r>
              <a:rPr kumimoji="0" lang="en-US" altLang="zh-CN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1 </a:t>
            </a: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：经过</a:t>
            </a:r>
            <a:r>
              <a:rPr kumimoji="0" lang="en-US" altLang="zh-CN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MPM</a:t>
            </a: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立项的推广费项目，适用</a:t>
            </a:r>
            <a:r>
              <a:rPr kumimoji="0" lang="en-US" altLang="zh-CN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PTP</a:t>
            </a: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流程</a:t>
            </a:r>
            <a:endParaRPr kumimoji="0" lang="en-US" altLang="zh-CN" sz="105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cs typeface="Arial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" charset="0"/>
              </a:rPr>
              <a:t>E.g.</a:t>
            </a: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" charset="0"/>
              </a:rPr>
              <a:t>通用类物料采购、服务类采购；</a:t>
            </a: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82B8215-C061-DBF3-8BBF-7674787DADA2}"/>
              </a:ext>
            </a:extLst>
          </p:cNvPr>
          <p:cNvSpPr txBox="1"/>
          <p:nvPr/>
        </p:nvSpPr>
        <p:spPr>
          <a:xfrm>
            <a:off x="3326380" y="5165816"/>
            <a:ext cx="2410890" cy="10310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场景</a:t>
            </a:r>
            <a:r>
              <a:rPr kumimoji="0" lang="en-US" altLang="zh-CN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2</a:t>
            </a: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：经过</a:t>
            </a:r>
            <a:r>
              <a:rPr kumimoji="0" lang="en-US" altLang="zh-CN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MPM</a:t>
            </a: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立项的推广费项目，不适用</a:t>
            </a:r>
            <a:r>
              <a:rPr kumimoji="0" lang="en-US" altLang="zh-CN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PTP</a:t>
            </a: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流程（费用报销模式）</a:t>
            </a:r>
            <a:endParaRPr kumimoji="0" lang="en-US" altLang="zh-CN" sz="105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cs typeface="Arial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" charset="0"/>
              </a:rPr>
              <a:t>根据集团招投标制度要求，金额未达到一定标准（如：</a:t>
            </a:r>
            <a:r>
              <a:rPr kumimoji="0" lang="en-US" altLang="zh-CN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" charset="0"/>
              </a:rPr>
              <a:t>2</a:t>
            </a: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" charset="0"/>
              </a:rPr>
              <a:t>万），无需进行招投标且由个人垫付后报销的费用</a:t>
            </a: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 charset="0"/>
            </a:endParaRPr>
          </a:p>
        </p:txBody>
      </p:sp>
      <p:sp>
        <p:nvSpPr>
          <p:cNvPr id="78" name="TextBox 53">
            <a:extLst>
              <a:ext uri="{FF2B5EF4-FFF2-40B4-BE49-F238E27FC236}">
                <a16:creationId xmlns:a16="http://schemas.microsoft.com/office/drawing/2014/main" id="{98B422C9-02C3-8D22-1AD2-26CEB0050A23}"/>
              </a:ext>
            </a:extLst>
          </p:cNvPr>
          <p:cNvSpPr txBox="1"/>
          <p:nvPr/>
        </p:nvSpPr>
        <p:spPr>
          <a:xfrm>
            <a:off x="6341914" y="5165816"/>
            <a:ext cx="2342403" cy="1053368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场景</a:t>
            </a:r>
            <a:r>
              <a:rPr kumimoji="0" lang="en-US" altLang="zh-CN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3</a:t>
            </a: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：经过</a:t>
            </a:r>
            <a:r>
              <a:rPr kumimoji="0" lang="en-US" altLang="zh-CN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MPM</a:t>
            </a: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立项的推广费项目，不适用</a:t>
            </a:r>
            <a:r>
              <a:rPr kumimoji="0" lang="en-US" altLang="zh-CN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PTP</a:t>
            </a:r>
            <a:r>
              <a:rPr kumimoji="0" lang="zh-CN" altLang="en-US" sz="105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流程（预付款模式）</a:t>
            </a:r>
            <a:endParaRPr kumimoji="0" lang="en-US" altLang="zh-CN" sz="105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+mn-ea"/>
              <a:cs typeface="Arial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05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" charset="0"/>
              </a:rPr>
              <a:t>线上店铺类推广费，如发放京东平台优惠券，无合同，采取预充值后报销的方式，对账、结算均在对方系统；</a:t>
            </a:r>
            <a:endParaRPr kumimoji="0" lang="en-US" altLang="zh-CN" sz="1000" b="0" i="0" u="none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000" b="1" i="0" u="sng" strike="noStrike" kern="0" cap="none" spc="0" normalizeH="0" baseline="0" noProof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 charset="0"/>
            </a:endParaRPr>
          </a:p>
        </p:txBody>
      </p:sp>
      <p:grpSp>
        <p:nvGrpSpPr>
          <p:cNvPr id="87" name="组合 79">
            <a:extLst>
              <a:ext uri="{FF2B5EF4-FFF2-40B4-BE49-F238E27FC236}">
                <a16:creationId xmlns:a16="http://schemas.microsoft.com/office/drawing/2014/main" id="{C8B246A5-F320-D654-EE83-0DFA37243217}"/>
              </a:ext>
            </a:extLst>
          </p:cNvPr>
          <p:cNvGrpSpPr/>
          <p:nvPr/>
        </p:nvGrpSpPr>
        <p:grpSpPr>
          <a:xfrm>
            <a:off x="311500" y="817172"/>
            <a:ext cx="8701872" cy="315455"/>
            <a:chOff x="197325" y="1071756"/>
            <a:chExt cx="8151545" cy="307776"/>
          </a:xfrm>
        </p:grpSpPr>
        <p:cxnSp>
          <p:nvCxnSpPr>
            <p:cNvPr id="88" name="Straight Connector 38">
              <a:extLst>
                <a:ext uri="{FF2B5EF4-FFF2-40B4-BE49-F238E27FC236}">
                  <a16:creationId xmlns:a16="http://schemas.microsoft.com/office/drawing/2014/main" id="{2114A5EB-BAFB-22BB-44D4-A0210025BF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7325" y="1218242"/>
              <a:ext cx="8151545" cy="27766"/>
            </a:xfrm>
            <a:prstGeom prst="line">
              <a:avLst/>
            </a:prstGeom>
            <a:noFill/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diamond"/>
              <a:tailEnd type="diamond"/>
            </a:ln>
            <a:effectLst/>
          </p:spPr>
        </p:cxnSp>
        <p:sp>
          <p:nvSpPr>
            <p:cNvPr id="89" name="Rectangle 24">
              <a:extLst>
                <a:ext uri="{FF2B5EF4-FFF2-40B4-BE49-F238E27FC236}">
                  <a16:creationId xmlns:a16="http://schemas.microsoft.com/office/drawing/2014/main" id="{915BAA2E-DEE3-34B5-CC34-BF05579EC206}"/>
                </a:ext>
              </a:extLst>
            </p:cNvPr>
            <p:cNvSpPr/>
            <p:nvPr/>
          </p:nvSpPr>
          <p:spPr>
            <a:xfrm>
              <a:off x="3546889" y="1071756"/>
              <a:ext cx="2103120" cy="307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r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Arial" panose="020B0604020202020204" pitchFamily="34" charset="0"/>
                </a:rPr>
                <a:t>推广费长期系统方案</a:t>
              </a:r>
              <a:endParaRPr kumimoji="1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panose="020B0604020202020204" pitchFamily="34" charset="0"/>
              </a:endParaRPr>
            </a:p>
          </p:txBody>
        </p:sp>
        <p:grpSp>
          <p:nvGrpSpPr>
            <p:cNvPr id="90" name="Group 55">
              <a:extLst>
                <a:ext uri="{FF2B5EF4-FFF2-40B4-BE49-F238E27FC236}">
                  <a16:creationId xmlns:a16="http://schemas.microsoft.com/office/drawing/2014/main" id="{1B1E145B-E77E-F3BD-A59A-DEE2DD3D73BE}"/>
                </a:ext>
              </a:extLst>
            </p:cNvPr>
            <p:cNvGrpSpPr/>
            <p:nvPr/>
          </p:nvGrpSpPr>
          <p:grpSpPr>
            <a:xfrm>
              <a:off x="3432303" y="1071757"/>
              <a:ext cx="431104" cy="307775"/>
              <a:chOff x="3126173" y="1114361"/>
              <a:chExt cx="431104" cy="307775"/>
            </a:xfrm>
          </p:grpSpPr>
          <p:sp>
            <p:nvSpPr>
              <p:cNvPr id="91" name="Rectangle 49">
                <a:extLst>
                  <a:ext uri="{FF2B5EF4-FFF2-40B4-BE49-F238E27FC236}">
                    <a16:creationId xmlns:a16="http://schemas.microsoft.com/office/drawing/2014/main" id="{366027C5-2FB7-6FEA-EE07-CD7078E202BD}"/>
                  </a:ext>
                </a:extLst>
              </p:cNvPr>
              <p:cNvSpPr/>
              <p:nvPr/>
            </p:nvSpPr>
            <p:spPr>
              <a:xfrm>
                <a:off x="3126173" y="1114361"/>
                <a:ext cx="431104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marR="0" lvl="0" indent="-23495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</a:endParaRPr>
              </a:p>
            </p:txBody>
          </p:sp>
          <p:pic>
            <p:nvPicPr>
              <p:cNvPr id="92" name="Graphic 44">
                <a:extLst>
                  <a:ext uri="{FF2B5EF4-FFF2-40B4-BE49-F238E27FC236}">
                    <a16:creationId xmlns:a16="http://schemas.microsoft.com/office/drawing/2014/main" id="{38415AE4-454A-B906-3573-EFBCCCB034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204565" y="1122751"/>
                <a:ext cx="274320" cy="252882"/>
              </a:xfrm>
              <a:prstGeom prst="rect">
                <a:avLst/>
              </a:prstGeom>
            </p:spPr>
          </p:pic>
        </p:grpSp>
      </p:grpSp>
      <p:sp>
        <p:nvSpPr>
          <p:cNvPr id="100" name="矩形 189">
            <a:extLst>
              <a:ext uri="{FF2B5EF4-FFF2-40B4-BE49-F238E27FC236}">
                <a16:creationId xmlns:a16="http://schemas.microsoft.com/office/drawing/2014/main" id="{4052DAB5-33DA-128E-823E-DF5E6A18DED1}"/>
              </a:ext>
            </a:extLst>
          </p:cNvPr>
          <p:cNvSpPr/>
          <p:nvPr/>
        </p:nvSpPr>
        <p:spPr>
          <a:xfrm>
            <a:off x="311500" y="1147521"/>
            <a:ext cx="8701872" cy="5137757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81323"/>
              </a:buClr>
              <a:buSzPct val="130000"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  <a:sym typeface="+mn-lt"/>
            </a:endParaRPr>
          </a:p>
        </p:txBody>
      </p:sp>
      <p:cxnSp>
        <p:nvCxnSpPr>
          <p:cNvPr id="101" name="Straight Connector 4">
            <a:extLst>
              <a:ext uri="{FF2B5EF4-FFF2-40B4-BE49-F238E27FC236}">
                <a16:creationId xmlns:a16="http://schemas.microsoft.com/office/drawing/2014/main" id="{CFA29472-F754-9FEB-A256-62271AE25C27}"/>
              </a:ext>
            </a:extLst>
          </p:cNvPr>
          <p:cNvCxnSpPr>
            <a:cxnSpLocks/>
          </p:cNvCxnSpPr>
          <p:nvPr/>
        </p:nvCxnSpPr>
        <p:spPr>
          <a:xfrm>
            <a:off x="384638" y="5104378"/>
            <a:ext cx="8673831" cy="0"/>
          </a:xfrm>
          <a:prstGeom prst="line">
            <a:avLst/>
          </a:prstGeom>
          <a:ln w="28575">
            <a:solidFill>
              <a:srgbClr val="005F9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84">
            <a:extLst>
              <a:ext uri="{FF2B5EF4-FFF2-40B4-BE49-F238E27FC236}">
                <a16:creationId xmlns:a16="http://schemas.microsoft.com/office/drawing/2014/main" id="{8BE5F52D-F442-E5CB-B24E-CFA164B7E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243" y="1212656"/>
            <a:ext cx="1207332" cy="285484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预算编制</a:t>
            </a:r>
            <a:endParaRPr kumimoji="0" lang="en-US" altLang="zh-CN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ea"/>
              <a:sym typeface="+mn-lt"/>
            </a:endParaRPr>
          </a:p>
        </p:txBody>
      </p:sp>
      <p:sp>
        <p:nvSpPr>
          <p:cNvPr id="17" name="Rectangle 84">
            <a:extLst>
              <a:ext uri="{FF2B5EF4-FFF2-40B4-BE49-F238E27FC236}">
                <a16:creationId xmlns:a16="http://schemas.microsoft.com/office/drawing/2014/main" id="{D29FCCB3-365E-F18A-CEC7-8BE84A664D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9480" y="1206729"/>
            <a:ext cx="1805397" cy="328841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预算控制</a:t>
            </a:r>
            <a:endParaRPr kumimoji="0" lang="en-US" altLang="zh-CN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ea"/>
              <a:sym typeface="+mn-lt"/>
            </a:endParaRPr>
          </a:p>
        </p:txBody>
      </p:sp>
      <p:sp>
        <p:nvSpPr>
          <p:cNvPr id="22" name="Rectangle 84">
            <a:extLst>
              <a:ext uri="{FF2B5EF4-FFF2-40B4-BE49-F238E27FC236}">
                <a16:creationId xmlns:a16="http://schemas.microsoft.com/office/drawing/2014/main" id="{B3588CD5-ECA6-5A13-98A9-0CA5E52D33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3326" y="1212655"/>
            <a:ext cx="1295631" cy="322931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业务立项</a:t>
            </a:r>
            <a:endParaRPr kumimoji="0" lang="en-US" altLang="zh-CN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ea"/>
              <a:sym typeface="+mn-lt"/>
            </a:endParaRPr>
          </a:p>
        </p:txBody>
      </p:sp>
      <p:sp>
        <p:nvSpPr>
          <p:cNvPr id="41" name="Rectangle 18">
            <a:extLst>
              <a:ext uri="{FF2B5EF4-FFF2-40B4-BE49-F238E27FC236}">
                <a16:creationId xmlns:a16="http://schemas.microsoft.com/office/drawing/2014/main" id="{E0C48BDE-6F5D-BF50-108D-FE5C74197F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526" y="4194910"/>
            <a:ext cx="908393" cy="367836"/>
          </a:xfrm>
          <a:prstGeom prst="rect">
            <a:avLst/>
          </a:prstGeom>
          <a:solidFill>
            <a:srgbClr val="336699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marL="12700" marR="0" lvl="0" indent="-1270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cs typeface="+mn-cs"/>
              </a:rPr>
              <a:t>预算下达</a:t>
            </a:r>
          </a:p>
        </p:txBody>
      </p:sp>
      <p:sp>
        <p:nvSpPr>
          <p:cNvPr id="43" name="Rectangle 18">
            <a:extLst>
              <a:ext uri="{FF2B5EF4-FFF2-40B4-BE49-F238E27FC236}">
                <a16:creationId xmlns:a16="http://schemas.microsoft.com/office/drawing/2014/main" id="{9F893049-1328-F29E-3BCC-0757850F9F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9053" y="1764738"/>
            <a:ext cx="838803" cy="392350"/>
          </a:xfrm>
          <a:prstGeom prst="rect">
            <a:avLst/>
          </a:prstGeom>
          <a:solidFill>
            <a:srgbClr val="336699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marL="12700" marR="0" lvl="0" indent="-1270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cs typeface="+mn-cs"/>
              </a:rPr>
              <a:t>下达额度查询</a:t>
            </a:r>
          </a:p>
        </p:txBody>
      </p:sp>
      <p:sp>
        <p:nvSpPr>
          <p:cNvPr id="40" name="Rectangle 18">
            <a:extLst>
              <a:ext uri="{FF2B5EF4-FFF2-40B4-BE49-F238E27FC236}">
                <a16:creationId xmlns:a16="http://schemas.microsoft.com/office/drawing/2014/main" id="{42DFEBC7-93CA-50BC-51D4-29A1EBFDAE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527" y="2347528"/>
            <a:ext cx="908393" cy="367843"/>
          </a:xfrm>
          <a:prstGeom prst="rect">
            <a:avLst/>
          </a:prstGeom>
          <a:solidFill>
            <a:srgbClr val="336699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marL="12700" marR="0" lvl="0" indent="-1270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cs typeface="+mn-cs"/>
              </a:rPr>
              <a:t>滚动预测</a:t>
            </a:r>
          </a:p>
        </p:txBody>
      </p:sp>
      <p:sp>
        <p:nvSpPr>
          <p:cNvPr id="112" name="Rectangle 18">
            <a:extLst>
              <a:ext uri="{FF2B5EF4-FFF2-40B4-BE49-F238E27FC236}">
                <a16:creationId xmlns:a16="http://schemas.microsoft.com/office/drawing/2014/main" id="{31BF50EE-8B6D-8044-BC29-E6C2727484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80944" y="1960913"/>
            <a:ext cx="1022714" cy="71078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</a:rPr>
              <a:t>SRM</a:t>
            </a:r>
            <a:endParaRPr kumimoji="0" lang="zh-CN" alt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</a:endParaRPr>
          </a:p>
        </p:txBody>
      </p:sp>
      <p:sp>
        <p:nvSpPr>
          <p:cNvPr id="117" name="Rectangle 85">
            <a:extLst>
              <a:ext uri="{FF2B5EF4-FFF2-40B4-BE49-F238E27FC236}">
                <a16:creationId xmlns:a16="http://schemas.microsoft.com/office/drawing/2014/main" id="{12D6394D-F394-40F4-1382-0984AD24FC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6129" y="2192870"/>
            <a:ext cx="718128" cy="429747"/>
          </a:xfrm>
          <a:prstGeom prst="rect">
            <a:avLst/>
          </a:prstGeom>
          <a:solidFill>
            <a:schemeClr val="bg1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银企付款</a:t>
            </a: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  <a:sym typeface="+mn-lt"/>
            </a:endParaRPr>
          </a:p>
        </p:txBody>
      </p:sp>
      <p:cxnSp>
        <p:nvCxnSpPr>
          <p:cNvPr id="119" name="直接箭头连接符 205">
            <a:extLst>
              <a:ext uri="{FF2B5EF4-FFF2-40B4-BE49-F238E27FC236}">
                <a16:creationId xmlns:a16="http://schemas.microsoft.com/office/drawing/2014/main" id="{FB0F63F2-BE30-FF50-055A-FAD969AF5927}"/>
              </a:ext>
            </a:extLst>
          </p:cNvPr>
          <p:cNvCxnSpPr>
            <a:cxnSpLocks/>
            <a:stCxn id="79" idx="3"/>
            <a:endCxn id="117" idx="1"/>
          </p:cNvCxnSpPr>
          <p:nvPr/>
        </p:nvCxnSpPr>
        <p:spPr>
          <a:xfrm>
            <a:off x="7528164" y="2401933"/>
            <a:ext cx="557965" cy="581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>
            <a:extLst>
              <a:ext uri="{FF2B5EF4-FFF2-40B4-BE49-F238E27FC236}">
                <a16:creationId xmlns:a16="http://schemas.microsoft.com/office/drawing/2014/main" id="{3ABDA3A5-8013-45F5-0410-C0D124932EC4}"/>
              </a:ext>
            </a:extLst>
          </p:cNvPr>
          <p:cNvSpPr txBox="1"/>
          <p:nvPr/>
        </p:nvSpPr>
        <p:spPr>
          <a:xfrm>
            <a:off x="3366911" y="2489440"/>
            <a:ext cx="5916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预算占用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122" name="文本框 29">
            <a:extLst>
              <a:ext uri="{FF2B5EF4-FFF2-40B4-BE49-F238E27FC236}">
                <a16:creationId xmlns:a16="http://schemas.microsoft.com/office/drawing/2014/main" id="{34DB2E15-527B-8A50-C098-A23735AF8B79}"/>
              </a:ext>
            </a:extLst>
          </p:cNvPr>
          <p:cNvSpPr txBox="1"/>
          <p:nvPr/>
        </p:nvSpPr>
        <p:spPr>
          <a:xfrm>
            <a:off x="7471414" y="2013294"/>
            <a:ext cx="736481" cy="3937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+mn-ea"/>
                <a:cs typeface="+mn-cs"/>
              </a:rPr>
              <a:t>付款计划</a:t>
            </a:r>
            <a:endParaRPr kumimoji="0" lang="en-US" altLang="zh-CN" sz="900" b="0" i="0" u="none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126" name="Rectangle 18">
            <a:extLst>
              <a:ext uri="{FF2B5EF4-FFF2-40B4-BE49-F238E27FC236}">
                <a16:creationId xmlns:a16="http://schemas.microsoft.com/office/drawing/2014/main" id="{44A10760-F526-5170-439F-138F460793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8617" y="2205080"/>
            <a:ext cx="767397" cy="393703"/>
          </a:xfrm>
          <a:prstGeom prst="rect">
            <a:avLst/>
          </a:prstGeom>
          <a:solidFill>
            <a:srgbClr val="FFFFFF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</a:rPr>
              <a:t>采购申请</a:t>
            </a:r>
            <a:endParaRPr kumimoji="0" lang="en-US" altLang="zh-CN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</a:rPr>
              <a:t>采购订单</a:t>
            </a:r>
          </a:p>
        </p:txBody>
      </p:sp>
      <p:sp>
        <p:nvSpPr>
          <p:cNvPr id="128" name="Rectangle 84">
            <a:extLst>
              <a:ext uri="{FF2B5EF4-FFF2-40B4-BE49-F238E27FC236}">
                <a16:creationId xmlns:a16="http://schemas.microsoft.com/office/drawing/2014/main" id="{B9ED2DED-1247-A41B-36B6-CB0F65C2AA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3620" y="1202579"/>
            <a:ext cx="3442065" cy="322931"/>
          </a:xfrm>
          <a:prstGeom prst="rect">
            <a:avLst/>
          </a:prstGeom>
          <a:solidFill>
            <a:srgbClr val="4472C4"/>
          </a:solidFill>
          <a:ln w="12700" cmpd="sng" algn="ctr">
            <a:solidFill>
              <a:srgbClr val="4472C4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业务执行</a:t>
            </a:r>
            <a:endParaRPr kumimoji="0" lang="en-US" altLang="zh-CN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ea"/>
              <a:sym typeface="+mn-lt"/>
            </a:endParaRPr>
          </a:p>
        </p:txBody>
      </p:sp>
      <p:sp>
        <p:nvSpPr>
          <p:cNvPr id="129" name="Rectangle 6">
            <a:extLst>
              <a:ext uri="{FF2B5EF4-FFF2-40B4-BE49-F238E27FC236}">
                <a16:creationId xmlns:a16="http://schemas.microsoft.com/office/drawing/2014/main" id="{5399D158-78BF-8BD0-D89A-81F5544FCC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527" y="1764738"/>
            <a:ext cx="914400" cy="367844"/>
          </a:xfrm>
          <a:prstGeom prst="rect">
            <a:avLst/>
          </a:prstGeom>
          <a:solidFill>
            <a:srgbClr val="336699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marL="12700" marR="0" lvl="0" indent="-1270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cs typeface="+mn-cs"/>
              </a:rPr>
              <a:t>年度预算编制</a:t>
            </a:r>
          </a:p>
        </p:txBody>
      </p:sp>
      <p:sp>
        <p:nvSpPr>
          <p:cNvPr id="140" name="Rectangle 18">
            <a:extLst>
              <a:ext uri="{FF2B5EF4-FFF2-40B4-BE49-F238E27FC236}">
                <a16:creationId xmlns:a16="http://schemas.microsoft.com/office/drawing/2014/main" id="{52A70DAB-3C7C-ED1B-E341-E342E17EF0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527" y="2842915"/>
            <a:ext cx="908393" cy="367843"/>
          </a:xfrm>
          <a:prstGeom prst="rect">
            <a:avLst/>
          </a:prstGeom>
          <a:solidFill>
            <a:srgbClr val="336699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marL="12700" marR="0" lvl="0" indent="-1270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cs typeface="+mn-cs"/>
              </a:rPr>
              <a:t>预算调整</a:t>
            </a:r>
          </a:p>
        </p:txBody>
      </p:sp>
      <p:cxnSp>
        <p:nvCxnSpPr>
          <p:cNvPr id="141" name="AutoShape 22">
            <a:extLst>
              <a:ext uri="{FF2B5EF4-FFF2-40B4-BE49-F238E27FC236}">
                <a16:creationId xmlns:a16="http://schemas.microsoft.com/office/drawing/2014/main" id="{ECB2CD49-1228-DF27-AADB-CFADBBDA471B}"/>
              </a:ext>
            </a:extLst>
          </p:cNvPr>
          <p:cNvCxnSpPr>
            <a:cxnSpLocks noChangeShapeType="1"/>
            <a:stCxn id="129" idx="2"/>
            <a:endCxn id="40" idx="0"/>
          </p:cNvCxnSpPr>
          <p:nvPr/>
        </p:nvCxnSpPr>
        <p:spPr bwMode="auto">
          <a:xfrm flipH="1">
            <a:off x="1160724" y="2132582"/>
            <a:ext cx="3003" cy="214946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44" name="AutoShape 22">
            <a:extLst>
              <a:ext uri="{FF2B5EF4-FFF2-40B4-BE49-F238E27FC236}">
                <a16:creationId xmlns:a16="http://schemas.microsoft.com/office/drawing/2014/main" id="{1183CA08-9766-8C5D-4413-B28CB5E77760}"/>
              </a:ext>
            </a:extLst>
          </p:cNvPr>
          <p:cNvCxnSpPr>
            <a:cxnSpLocks noChangeShapeType="1"/>
            <a:stCxn id="40" idx="2"/>
            <a:endCxn id="140" idx="0"/>
          </p:cNvCxnSpPr>
          <p:nvPr/>
        </p:nvCxnSpPr>
        <p:spPr bwMode="auto">
          <a:xfrm>
            <a:off x="1160724" y="2715371"/>
            <a:ext cx="0" cy="127544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47" name="AutoShape 22">
            <a:extLst>
              <a:ext uri="{FF2B5EF4-FFF2-40B4-BE49-F238E27FC236}">
                <a16:creationId xmlns:a16="http://schemas.microsoft.com/office/drawing/2014/main" id="{2C6FC6DB-DCD9-E46F-3A16-7815162E4F4A}"/>
              </a:ext>
            </a:extLst>
          </p:cNvPr>
          <p:cNvCxnSpPr>
            <a:cxnSpLocks noChangeShapeType="1"/>
            <a:stCxn id="140" idx="2"/>
            <a:endCxn id="41" idx="0"/>
          </p:cNvCxnSpPr>
          <p:nvPr/>
        </p:nvCxnSpPr>
        <p:spPr bwMode="auto">
          <a:xfrm flipH="1">
            <a:off x="1160723" y="3210758"/>
            <a:ext cx="1" cy="984152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54" name="Connector: Elbow 153">
            <a:extLst>
              <a:ext uri="{FF2B5EF4-FFF2-40B4-BE49-F238E27FC236}">
                <a16:creationId xmlns:a16="http://schemas.microsoft.com/office/drawing/2014/main" id="{9D6DE90D-45DE-CD11-D87A-E36E49BE1BD7}"/>
              </a:ext>
            </a:extLst>
          </p:cNvPr>
          <p:cNvCxnSpPr>
            <a:stCxn id="41" idx="3"/>
            <a:endCxn id="43" idx="1"/>
          </p:cNvCxnSpPr>
          <p:nvPr/>
        </p:nvCxnSpPr>
        <p:spPr>
          <a:xfrm flipV="1">
            <a:off x="1614919" y="1960913"/>
            <a:ext cx="494134" cy="2417915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8">
            <a:extLst>
              <a:ext uri="{FF2B5EF4-FFF2-40B4-BE49-F238E27FC236}">
                <a16:creationId xmlns:a16="http://schemas.microsoft.com/office/drawing/2014/main" id="{A3180AAB-04CB-B52B-F792-41FAB5F2F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9053" y="3055298"/>
            <a:ext cx="838803" cy="392350"/>
          </a:xfrm>
          <a:prstGeom prst="rect">
            <a:avLst/>
          </a:prstGeom>
          <a:solidFill>
            <a:srgbClr val="336699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marL="12700" marR="0" lvl="0" indent="-1270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cs typeface="+mn-cs"/>
              </a:rPr>
              <a:t>可用预算查询</a:t>
            </a:r>
          </a:p>
        </p:txBody>
      </p:sp>
      <p:sp>
        <p:nvSpPr>
          <p:cNvPr id="164" name="Rectangle 18">
            <a:extLst>
              <a:ext uri="{FF2B5EF4-FFF2-40B4-BE49-F238E27FC236}">
                <a16:creationId xmlns:a16="http://schemas.microsoft.com/office/drawing/2014/main" id="{A8497B80-1495-B6A3-3960-B055D4C929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9053" y="2410018"/>
            <a:ext cx="838803" cy="392350"/>
          </a:xfrm>
          <a:prstGeom prst="rect">
            <a:avLst/>
          </a:prstGeom>
          <a:solidFill>
            <a:srgbClr val="336699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marL="12700" marR="0" lvl="0" indent="-1270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cs typeface="+mn-cs"/>
              </a:rPr>
              <a:t>预算颗粒度拆分</a:t>
            </a:r>
          </a:p>
        </p:txBody>
      </p:sp>
      <p:sp>
        <p:nvSpPr>
          <p:cNvPr id="165" name="Rectangle 18">
            <a:extLst>
              <a:ext uri="{FF2B5EF4-FFF2-40B4-BE49-F238E27FC236}">
                <a16:creationId xmlns:a16="http://schemas.microsoft.com/office/drawing/2014/main" id="{840E4AB3-DCC2-9A9F-65AC-1F1C647D6F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2335" y="4194910"/>
            <a:ext cx="838803" cy="392350"/>
          </a:xfrm>
          <a:prstGeom prst="rect">
            <a:avLst/>
          </a:prstGeom>
          <a:solidFill>
            <a:srgbClr val="336699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marL="12700" marR="0" lvl="0" indent="-1270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cs typeface="+mn-cs"/>
              </a:rPr>
              <a:t>预算控制策略</a:t>
            </a:r>
          </a:p>
        </p:txBody>
      </p:sp>
      <p:sp>
        <p:nvSpPr>
          <p:cNvPr id="167" name="Rectangle 18">
            <a:extLst>
              <a:ext uri="{FF2B5EF4-FFF2-40B4-BE49-F238E27FC236}">
                <a16:creationId xmlns:a16="http://schemas.microsoft.com/office/drawing/2014/main" id="{D3BC654A-E46F-EF3C-337A-3A6CC0372F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542" y="1964649"/>
            <a:ext cx="1052793" cy="435771"/>
          </a:xfrm>
          <a:prstGeom prst="rect">
            <a:avLst/>
          </a:prstGeom>
          <a:solidFill>
            <a:srgbClr val="336699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marL="12700" marR="0" lvl="0" indent="-1270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cs typeface="+mn-cs"/>
              </a:rPr>
              <a:t>项目立项</a:t>
            </a:r>
          </a:p>
        </p:txBody>
      </p:sp>
      <p:sp>
        <p:nvSpPr>
          <p:cNvPr id="169" name="Rectangle 18">
            <a:extLst>
              <a:ext uri="{FF2B5EF4-FFF2-40B4-BE49-F238E27FC236}">
                <a16:creationId xmlns:a16="http://schemas.microsoft.com/office/drawing/2014/main" id="{A4CC9D3B-9F3E-EED9-3219-B9E0A87A7E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540" y="4183809"/>
            <a:ext cx="1052793" cy="390140"/>
          </a:xfrm>
          <a:prstGeom prst="rect">
            <a:avLst/>
          </a:prstGeom>
          <a:solidFill>
            <a:srgbClr val="336699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marL="12700" marR="0" lvl="0" indent="-1270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cs typeface="+mn-cs"/>
              </a:rPr>
              <a:t>项目结项</a:t>
            </a:r>
          </a:p>
        </p:txBody>
      </p:sp>
      <p:grpSp>
        <p:nvGrpSpPr>
          <p:cNvPr id="9" name="Group 56">
            <a:extLst>
              <a:ext uri="{FF2B5EF4-FFF2-40B4-BE49-F238E27FC236}">
                <a16:creationId xmlns:a16="http://schemas.microsoft.com/office/drawing/2014/main" id="{BCC74929-BA34-5406-0AE0-9ACC24167AB3}"/>
              </a:ext>
            </a:extLst>
          </p:cNvPr>
          <p:cNvGrpSpPr>
            <a:grpSpLocks/>
          </p:cNvGrpSpPr>
          <p:nvPr/>
        </p:nvGrpSpPr>
        <p:grpSpPr bwMode="auto">
          <a:xfrm>
            <a:off x="432222" y="1177687"/>
            <a:ext cx="1371600" cy="3553000"/>
            <a:chOff x="419" y="1200"/>
            <a:chExt cx="864" cy="2448"/>
          </a:xfrm>
        </p:grpSpPr>
        <p:sp>
          <p:nvSpPr>
            <p:cNvPr id="10" name="Rectangle 57">
              <a:extLst>
                <a:ext uri="{FF2B5EF4-FFF2-40B4-BE49-F238E27FC236}">
                  <a16:creationId xmlns:a16="http://schemas.microsoft.com/office/drawing/2014/main" id="{B9425220-CB52-E115-A7B5-A1AE2392F4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" y="1200"/>
              <a:ext cx="864" cy="2448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41000"/>
              </a:schemeClr>
            </a:solidFill>
            <a:ln w="25400" algn="ctr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tIns="91440" bIns="91440" anchor="ctr"/>
            <a:lstStyle/>
            <a:p>
              <a:pPr marL="12700" marR="0" lvl="0" indent="-12700" algn="ctr" defTabSz="914400" rtl="0" eaLnBrk="0" fontAlgn="base" latinLnBrk="0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uLnTx/>
                  <a:uFillTx/>
                  <a:latin typeface="+mn-ea"/>
                  <a:cs typeface="+mn-cs"/>
                </a:rPr>
                <a:t>BPC</a:t>
              </a:r>
              <a:endParaRPr kumimoji="0" lang="zh-CN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11" name="Rectangle 58">
              <a:extLst>
                <a:ext uri="{FF2B5EF4-FFF2-40B4-BE49-F238E27FC236}">
                  <a16:creationId xmlns:a16="http://schemas.microsoft.com/office/drawing/2014/main" id="{F61E38C9-C4CE-9CB0-0E5E-9CD2A0EF6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" y="1200"/>
              <a:ext cx="144" cy="144"/>
            </a:xfrm>
            <a:prstGeom prst="rect">
              <a:avLst/>
            </a:prstGeom>
            <a:solidFill>
              <a:srgbClr val="800080"/>
            </a:solidFill>
            <a:ln w="25400" algn="ctr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tIns="91440" bIns="91440" anchor="ctr"/>
            <a:lstStyle/>
            <a:p>
              <a:pPr marL="12700" marR="0" lvl="0" indent="-12700" algn="r" defTabSz="914400" rtl="0" eaLnBrk="0" fontAlgn="base" latinLnBrk="0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uLnTx/>
                  <a:uFillTx/>
                  <a:latin typeface="+mn-ea"/>
                  <a:cs typeface="Arial Unicode MS" pitchFamily="34" charset="-122"/>
                </a:rPr>
                <a:t>1</a:t>
              </a:r>
            </a:p>
          </p:txBody>
        </p:sp>
      </p:grpSp>
      <p:sp>
        <p:nvSpPr>
          <p:cNvPr id="13" name="Rectangle 18">
            <a:extLst>
              <a:ext uri="{FF2B5EF4-FFF2-40B4-BE49-F238E27FC236}">
                <a16:creationId xmlns:a16="http://schemas.microsoft.com/office/drawing/2014/main" id="{FA39B728-4E03-CF9D-BC80-99144534D03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758098" y="3041648"/>
            <a:ext cx="2877339" cy="323516"/>
          </a:xfrm>
          <a:prstGeom prst="rect">
            <a:avLst/>
          </a:prstGeom>
          <a:solidFill>
            <a:srgbClr val="336699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tIns="91440" bIns="91440" anchor="ctr"/>
          <a:lstStyle/>
          <a:p>
            <a:pPr marL="12700" marR="0" lvl="0" indent="-1270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cs typeface="+mn-cs"/>
              </a:rPr>
              <a:t>预算调用接口</a:t>
            </a:r>
          </a:p>
        </p:txBody>
      </p:sp>
      <p:sp>
        <p:nvSpPr>
          <p:cNvPr id="79" name="文本框 126">
            <a:extLst>
              <a:ext uri="{FF2B5EF4-FFF2-40B4-BE49-F238E27FC236}">
                <a16:creationId xmlns:a16="http://schemas.microsoft.com/office/drawing/2014/main" id="{63AA6D57-53CB-304B-FB27-E65278A073AC}"/>
              </a:ext>
            </a:extLst>
          </p:cNvPr>
          <p:cNvSpPr txBox="1"/>
          <p:nvPr/>
        </p:nvSpPr>
        <p:spPr>
          <a:xfrm>
            <a:off x="6802141" y="2205081"/>
            <a:ext cx="726023" cy="393703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marR="0" lvl="1" indent="0" algn="ctr" defTabSz="6000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费用计提</a:t>
            </a:r>
            <a:endParaRPr kumimoji="0" lang="en-US" altLang="zh-CN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  <a:sym typeface="+mn-lt"/>
            </a:endParaRPr>
          </a:p>
          <a:p>
            <a:pPr marL="0" marR="0" lvl="1" indent="0" algn="ctr" defTabSz="6000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应付账款</a:t>
            </a:r>
            <a:endParaRPr kumimoji="0" lang="de-DE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  <a:sym typeface="+mn-lt"/>
            </a:endParaRPr>
          </a:p>
        </p:txBody>
      </p:sp>
      <p:sp>
        <p:nvSpPr>
          <p:cNvPr id="86" name="文本框 29">
            <a:extLst>
              <a:ext uri="{FF2B5EF4-FFF2-40B4-BE49-F238E27FC236}">
                <a16:creationId xmlns:a16="http://schemas.microsoft.com/office/drawing/2014/main" id="{F90FCD59-F4EF-921B-97FF-470387606EBB}"/>
              </a:ext>
            </a:extLst>
          </p:cNvPr>
          <p:cNvSpPr txBox="1"/>
          <p:nvPr/>
        </p:nvSpPr>
        <p:spPr>
          <a:xfrm>
            <a:off x="5044870" y="1934682"/>
            <a:ext cx="736481" cy="3691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5F92"/>
                </a:solidFill>
                <a:effectLst/>
                <a:uLnTx/>
                <a:uFillTx/>
                <a:latin typeface="+mn-ea"/>
                <a:cs typeface="+mn-cs"/>
              </a:rPr>
              <a:t>立项信息</a:t>
            </a:r>
            <a:endParaRPr kumimoji="0" lang="en-US" altLang="zh-CN" sz="900" b="0" i="0" u="none" strike="noStrike" kern="1200" cap="none" spc="0" normalizeH="0" baseline="0" noProof="0">
              <a:ln>
                <a:noFill/>
              </a:ln>
              <a:solidFill>
                <a:srgbClr val="005F92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A2AB992E-59CC-29E6-1DEC-7C21ABCB7EBE}"/>
              </a:ext>
            </a:extLst>
          </p:cNvPr>
          <p:cNvCxnSpPr>
            <a:cxnSpLocks/>
            <a:stCxn id="167" idx="1"/>
          </p:cNvCxnSpPr>
          <p:nvPr/>
        </p:nvCxnSpPr>
        <p:spPr>
          <a:xfrm flipH="1" flipV="1">
            <a:off x="3326379" y="2180261"/>
            <a:ext cx="717163" cy="2274"/>
          </a:xfrm>
          <a:prstGeom prst="straightConnector1">
            <a:avLst/>
          </a:prstGeom>
          <a:ln w="9525">
            <a:solidFill>
              <a:schemeClr val="accent1"/>
            </a:solidFill>
            <a:prstDash val="soli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直接箭头连接符 205">
            <a:extLst>
              <a:ext uri="{FF2B5EF4-FFF2-40B4-BE49-F238E27FC236}">
                <a16:creationId xmlns:a16="http://schemas.microsoft.com/office/drawing/2014/main" id="{00BA2A14-C519-A097-0608-2A26D8C86759}"/>
              </a:ext>
            </a:extLst>
          </p:cNvPr>
          <p:cNvCxnSpPr>
            <a:cxnSpLocks/>
            <a:stCxn id="126" idx="3"/>
            <a:endCxn id="79" idx="1"/>
          </p:cNvCxnSpPr>
          <p:nvPr/>
        </p:nvCxnSpPr>
        <p:spPr>
          <a:xfrm>
            <a:off x="6386014" y="2401932"/>
            <a:ext cx="416127" cy="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Connector: Elbow 134">
            <a:extLst>
              <a:ext uri="{FF2B5EF4-FFF2-40B4-BE49-F238E27FC236}">
                <a16:creationId xmlns:a16="http://schemas.microsoft.com/office/drawing/2014/main" id="{AD23B849-3B56-E261-5CF0-D94681593430}"/>
              </a:ext>
            </a:extLst>
          </p:cNvPr>
          <p:cNvCxnSpPr>
            <a:cxnSpLocks/>
            <a:stCxn id="167" idx="3"/>
            <a:endCxn id="126" idx="1"/>
          </p:cNvCxnSpPr>
          <p:nvPr/>
        </p:nvCxnSpPr>
        <p:spPr>
          <a:xfrm>
            <a:off x="5096335" y="2182535"/>
            <a:ext cx="522282" cy="219397"/>
          </a:xfrm>
          <a:prstGeom prst="bentConnector3">
            <a:avLst>
              <a:gd name="adj1" fmla="val 44228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6" name="Connector: Elbow 135">
            <a:extLst>
              <a:ext uri="{FF2B5EF4-FFF2-40B4-BE49-F238E27FC236}">
                <a16:creationId xmlns:a16="http://schemas.microsoft.com/office/drawing/2014/main" id="{B9BAAC6C-3074-D965-2A6D-8E1123F89672}"/>
              </a:ext>
            </a:extLst>
          </p:cNvPr>
          <p:cNvCxnSpPr>
            <a:cxnSpLocks/>
            <a:stCxn id="126" idx="2"/>
          </p:cNvCxnSpPr>
          <p:nvPr/>
        </p:nvCxnSpPr>
        <p:spPr>
          <a:xfrm rot="5400000">
            <a:off x="4627768" y="1310287"/>
            <a:ext cx="86053" cy="2663044"/>
          </a:xfrm>
          <a:prstGeom prst="bentConnector2">
            <a:avLst/>
          </a:prstGeom>
          <a:ln w="9525">
            <a:solidFill>
              <a:schemeClr val="accent1"/>
            </a:solidFill>
            <a:prstDash val="soli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4C097A3A-3E69-D5E6-8D3A-9409C92563AE}"/>
              </a:ext>
            </a:extLst>
          </p:cNvPr>
          <p:cNvSpPr txBox="1"/>
          <p:nvPr/>
        </p:nvSpPr>
        <p:spPr>
          <a:xfrm>
            <a:off x="3352112" y="1949511"/>
            <a:ext cx="5916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预算冻结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162" name="Rectangle 18">
            <a:extLst>
              <a:ext uri="{FF2B5EF4-FFF2-40B4-BE49-F238E27FC236}">
                <a16:creationId xmlns:a16="http://schemas.microsoft.com/office/drawing/2014/main" id="{C95E798F-319F-A54B-53C6-D71E3B474A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3620" y="2833495"/>
            <a:ext cx="3467390" cy="54372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</a:rPr>
              <a:t>FSSC</a:t>
            </a:r>
            <a:endParaRPr kumimoji="0" lang="zh-CN" alt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</a:endParaRPr>
          </a:p>
        </p:txBody>
      </p:sp>
      <p:sp>
        <p:nvSpPr>
          <p:cNvPr id="166" name="Rectangle 18">
            <a:extLst>
              <a:ext uri="{FF2B5EF4-FFF2-40B4-BE49-F238E27FC236}">
                <a16:creationId xmlns:a16="http://schemas.microsoft.com/office/drawing/2014/main" id="{26EE4AFE-6EB8-204C-8333-FA70FE35C1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5673" y="3050773"/>
            <a:ext cx="767397" cy="298786"/>
          </a:xfrm>
          <a:prstGeom prst="rect">
            <a:avLst/>
          </a:prstGeom>
          <a:solidFill>
            <a:srgbClr val="FFFFFF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</a:rPr>
              <a:t>费用申请</a:t>
            </a:r>
            <a:endParaRPr kumimoji="0" lang="en-US" altLang="zh-CN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</a:endParaRPr>
          </a:p>
        </p:txBody>
      </p:sp>
      <p:sp>
        <p:nvSpPr>
          <p:cNvPr id="170" name="Rectangle 18">
            <a:extLst>
              <a:ext uri="{FF2B5EF4-FFF2-40B4-BE49-F238E27FC236}">
                <a16:creationId xmlns:a16="http://schemas.microsoft.com/office/drawing/2014/main" id="{FC2B2E7A-E00E-DC04-1B50-9D4A3564E8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5719" y="3050773"/>
            <a:ext cx="767397" cy="298786"/>
          </a:xfrm>
          <a:prstGeom prst="rect">
            <a:avLst/>
          </a:prstGeom>
          <a:solidFill>
            <a:srgbClr val="FFFFFF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</a:rPr>
              <a:t>费用报销</a:t>
            </a:r>
            <a:endParaRPr kumimoji="0" lang="en-US" altLang="zh-CN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</a:endParaRPr>
          </a:p>
        </p:txBody>
      </p:sp>
      <p:sp>
        <p:nvSpPr>
          <p:cNvPr id="171" name="Rectangle 18">
            <a:extLst>
              <a:ext uri="{FF2B5EF4-FFF2-40B4-BE49-F238E27FC236}">
                <a16:creationId xmlns:a16="http://schemas.microsoft.com/office/drawing/2014/main" id="{68182C02-FADC-E495-6126-A8434A6F10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1055" y="3050773"/>
            <a:ext cx="767397" cy="298786"/>
          </a:xfrm>
          <a:prstGeom prst="rect">
            <a:avLst/>
          </a:prstGeom>
          <a:solidFill>
            <a:srgbClr val="FFFFFF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</a:rPr>
              <a:t>银企付款</a:t>
            </a:r>
            <a:endParaRPr kumimoji="0" lang="en-US" altLang="zh-CN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</a:endParaRPr>
          </a:p>
        </p:txBody>
      </p:sp>
      <p:cxnSp>
        <p:nvCxnSpPr>
          <p:cNvPr id="172" name="Connector: Elbow 171">
            <a:extLst>
              <a:ext uri="{FF2B5EF4-FFF2-40B4-BE49-F238E27FC236}">
                <a16:creationId xmlns:a16="http://schemas.microsoft.com/office/drawing/2014/main" id="{9C96129B-C404-B1A8-CA32-41612FD3C47E}"/>
              </a:ext>
            </a:extLst>
          </p:cNvPr>
          <p:cNvCxnSpPr>
            <a:cxnSpLocks/>
            <a:stCxn id="167" idx="3"/>
            <a:endCxn id="166" idx="1"/>
          </p:cNvCxnSpPr>
          <p:nvPr/>
        </p:nvCxnSpPr>
        <p:spPr>
          <a:xfrm>
            <a:off x="5096335" y="2182535"/>
            <a:ext cx="449338" cy="101763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82" name="直接箭头连接符 205">
            <a:extLst>
              <a:ext uri="{FF2B5EF4-FFF2-40B4-BE49-F238E27FC236}">
                <a16:creationId xmlns:a16="http://schemas.microsoft.com/office/drawing/2014/main" id="{FD59714F-7936-B2BA-F848-5A6E998822B0}"/>
              </a:ext>
            </a:extLst>
          </p:cNvPr>
          <p:cNvCxnSpPr>
            <a:cxnSpLocks/>
            <a:stCxn id="166" idx="3"/>
            <a:endCxn id="170" idx="1"/>
          </p:cNvCxnSpPr>
          <p:nvPr/>
        </p:nvCxnSpPr>
        <p:spPr>
          <a:xfrm>
            <a:off x="6313070" y="3200166"/>
            <a:ext cx="43264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直接箭头连接符 205">
            <a:extLst>
              <a:ext uri="{FF2B5EF4-FFF2-40B4-BE49-F238E27FC236}">
                <a16:creationId xmlns:a16="http://schemas.microsoft.com/office/drawing/2014/main" id="{9596FF3B-DC94-CC0B-3C8F-748C49F116F5}"/>
              </a:ext>
            </a:extLst>
          </p:cNvPr>
          <p:cNvCxnSpPr>
            <a:cxnSpLocks/>
            <a:endCxn id="171" idx="1"/>
          </p:cNvCxnSpPr>
          <p:nvPr/>
        </p:nvCxnSpPr>
        <p:spPr>
          <a:xfrm>
            <a:off x="7513116" y="3195089"/>
            <a:ext cx="567939" cy="507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Connector: Elbow 198">
            <a:extLst>
              <a:ext uri="{FF2B5EF4-FFF2-40B4-BE49-F238E27FC236}">
                <a16:creationId xmlns:a16="http://schemas.microsoft.com/office/drawing/2014/main" id="{5D1857AF-E39D-7683-0F51-CB45A2048CC3}"/>
              </a:ext>
            </a:extLst>
          </p:cNvPr>
          <p:cNvCxnSpPr>
            <a:cxnSpLocks/>
            <a:stCxn id="166" idx="2"/>
          </p:cNvCxnSpPr>
          <p:nvPr/>
        </p:nvCxnSpPr>
        <p:spPr>
          <a:xfrm rot="5400000">
            <a:off x="4576497" y="2099442"/>
            <a:ext cx="102758" cy="2602993"/>
          </a:xfrm>
          <a:prstGeom prst="bentConnector2">
            <a:avLst/>
          </a:prstGeom>
          <a:ln w="9525">
            <a:solidFill>
              <a:schemeClr val="accent1"/>
            </a:solidFill>
            <a:prstDash val="soli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08" name="TextBox 207">
            <a:extLst>
              <a:ext uri="{FF2B5EF4-FFF2-40B4-BE49-F238E27FC236}">
                <a16:creationId xmlns:a16="http://schemas.microsoft.com/office/drawing/2014/main" id="{B281F068-CDEB-7971-666D-267BA6C08D4E}"/>
              </a:ext>
            </a:extLst>
          </p:cNvPr>
          <p:cNvSpPr txBox="1"/>
          <p:nvPr/>
        </p:nvSpPr>
        <p:spPr>
          <a:xfrm>
            <a:off x="3352112" y="3217914"/>
            <a:ext cx="5916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预算占用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215" name="Rectangle 18">
            <a:extLst>
              <a:ext uri="{FF2B5EF4-FFF2-40B4-BE49-F238E27FC236}">
                <a16:creationId xmlns:a16="http://schemas.microsoft.com/office/drawing/2014/main" id="{D43802F3-3055-7493-E20B-229EF1E04F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24067" y="3484590"/>
            <a:ext cx="3467390" cy="54372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</a:rPr>
              <a:t>FSSC</a:t>
            </a:r>
            <a:endParaRPr kumimoji="0" lang="zh-CN" alt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</a:endParaRPr>
          </a:p>
        </p:txBody>
      </p:sp>
      <p:sp>
        <p:nvSpPr>
          <p:cNvPr id="216" name="Rectangle 18">
            <a:extLst>
              <a:ext uri="{FF2B5EF4-FFF2-40B4-BE49-F238E27FC236}">
                <a16:creationId xmlns:a16="http://schemas.microsoft.com/office/drawing/2014/main" id="{8E7631F7-DB0B-A817-DEDD-DB3935102E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6120" y="3701868"/>
            <a:ext cx="767397" cy="298786"/>
          </a:xfrm>
          <a:prstGeom prst="rect">
            <a:avLst/>
          </a:prstGeom>
          <a:solidFill>
            <a:srgbClr val="FFFFFF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</a:rPr>
              <a:t>预付申请</a:t>
            </a:r>
            <a:endParaRPr kumimoji="0" lang="en-US" altLang="zh-CN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</a:endParaRPr>
          </a:p>
        </p:txBody>
      </p:sp>
      <p:sp>
        <p:nvSpPr>
          <p:cNvPr id="217" name="Rectangle 18">
            <a:extLst>
              <a:ext uri="{FF2B5EF4-FFF2-40B4-BE49-F238E27FC236}">
                <a16:creationId xmlns:a16="http://schemas.microsoft.com/office/drawing/2014/main" id="{8E62BE41-5DAE-2F00-2F1D-3572728B7B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6166" y="3701868"/>
            <a:ext cx="767397" cy="298786"/>
          </a:xfrm>
          <a:prstGeom prst="rect">
            <a:avLst/>
          </a:prstGeom>
          <a:solidFill>
            <a:srgbClr val="FFFFFF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</a:rPr>
              <a:t>银企付款</a:t>
            </a:r>
            <a:endParaRPr kumimoji="0" lang="en-US" altLang="zh-CN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</a:endParaRPr>
          </a:p>
        </p:txBody>
      </p:sp>
      <p:sp>
        <p:nvSpPr>
          <p:cNvPr id="218" name="Rectangle 18">
            <a:extLst>
              <a:ext uri="{FF2B5EF4-FFF2-40B4-BE49-F238E27FC236}">
                <a16:creationId xmlns:a16="http://schemas.microsoft.com/office/drawing/2014/main" id="{A99341B3-7583-1279-2501-CFD85D55BB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1502" y="3701868"/>
            <a:ext cx="767397" cy="298786"/>
          </a:xfrm>
          <a:prstGeom prst="rect">
            <a:avLst/>
          </a:prstGeom>
          <a:solidFill>
            <a:srgbClr val="FFFFFF"/>
          </a:solidFill>
          <a:ln w="12700" cmpd="sng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ea"/>
              </a:rPr>
              <a:t>发票报销</a:t>
            </a:r>
            <a:endParaRPr kumimoji="0" lang="en-US" altLang="zh-CN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ea"/>
            </a:endParaRPr>
          </a:p>
        </p:txBody>
      </p:sp>
      <p:cxnSp>
        <p:nvCxnSpPr>
          <p:cNvPr id="219" name="直接箭头连接符 205">
            <a:extLst>
              <a:ext uri="{FF2B5EF4-FFF2-40B4-BE49-F238E27FC236}">
                <a16:creationId xmlns:a16="http://schemas.microsoft.com/office/drawing/2014/main" id="{D84A700D-B301-B4CD-0DDC-26E7A2E2D15D}"/>
              </a:ext>
            </a:extLst>
          </p:cNvPr>
          <p:cNvCxnSpPr>
            <a:cxnSpLocks/>
            <a:stCxn id="216" idx="3"/>
            <a:endCxn id="217" idx="1"/>
          </p:cNvCxnSpPr>
          <p:nvPr/>
        </p:nvCxnSpPr>
        <p:spPr>
          <a:xfrm>
            <a:off x="6323517" y="3851261"/>
            <a:ext cx="43264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直接箭头连接符 205">
            <a:extLst>
              <a:ext uri="{FF2B5EF4-FFF2-40B4-BE49-F238E27FC236}">
                <a16:creationId xmlns:a16="http://schemas.microsoft.com/office/drawing/2014/main" id="{E00F7B65-4C6D-0B9E-00A5-385279FABB2E}"/>
              </a:ext>
            </a:extLst>
          </p:cNvPr>
          <p:cNvCxnSpPr>
            <a:cxnSpLocks/>
            <a:endCxn id="218" idx="1"/>
          </p:cNvCxnSpPr>
          <p:nvPr/>
        </p:nvCxnSpPr>
        <p:spPr>
          <a:xfrm>
            <a:off x="7523563" y="3846184"/>
            <a:ext cx="567939" cy="507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Connector: Elbow 221">
            <a:extLst>
              <a:ext uri="{FF2B5EF4-FFF2-40B4-BE49-F238E27FC236}">
                <a16:creationId xmlns:a16="http://schemas.microsoft.com/office/drawing/2014/main" id="{F73D3718-7ED3-2335-8449-A8DEC3C76D16}"/>
              </a:ext>
            </a:extLst>
          </p:cNvPr>
          <p:cNvCxnSpPr>
            <a:cxnSpLocks/>
          </p:cNvCxnSpPr>
          <p:nvPr/>
        </p:nvCxnSpPr>
        <p:spPr>
          <a:xfrm rot="5400000">
            <a:off x="4615761" y="2752529"/>
            <a:ext cx="103489" cy="2601190"/>
          </a:xfrm>
          <a:prstGeom prst="bentConnector2">
            <a:avLst/>
          </a:prstGeom>
          <a:ln w="9525">
            <a:solidFill>
              <a:schemeClr val="accent1"/>
            </a:solidFill>
            <a:prstDash val="soli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4" name="TextBox 223">
            <a:extLst>
              <a:ext uri="{FF2B5EF4-FFF2-40B4-BE49-F238E27FC236}">
                <a16:creationId xmlns:a16="http://schemas.microsoft.com/office/drawing/2014/main" id="{5997E5F5-83AE-6978-887E-0DA328FAE6F3}"/>
              </a:ext>
            </a:extLst>
          </p:cNvPr>
          <p:cNvSpPr txBox="1"/>
          <p:nvPr/>
        </p:nvSpPr>
        <p:spPr>
          <a:xfrm>
            <a:off x="3352112" y="3909517"/>
            <a:ext cx="5916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预算占用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cxnSp>
        <p:nvCxnSpPr>
          <p:cNvPr id="225" name="Connector: Elbow 224">
            <a:extLst>
              <a:ext uri="{FF2B5EF4-FFF2-40B4-BE49-F238E27FC236}">
                <a16:creationId xmlns:a16="http://schemas.microsoft.com/office/drawing/2014/main" id="{B2D4B4B2-8F62-A836-1F51-EC7E6946B38F}"/>
              </a:ext>
            </a:extLst>
          </p:cNvPr>
          <p:cNvCxnSpPr>
            <a:cxnSpLocks/>
            <a:stCxn id="167" idx="3"/>
            <a:endCxn id="216" idx="1"/>
          </p:cNvCxnSpPr>
          <p:nvPr/>
        </p:nvCxnSpPr>
        <p:spPr>
          <a:xfrm>
            <a:off x="5096335" y="2182535"/>
            <a:ext cx="459785" cy="1668726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33" name="Straight Arrow Connector 232">
            <a:extLst>
              <a:ext uri="{FF2B5EF4-FFF2-40B4-BE49-F238E27FC236}">
                <a16:creationId xmlns:a16="http://schemas.microsoft.com/office/drawing/2014/main" id="{E1B3AAE3-48B6-9F23-B293-C3AD82DBB746}"/>
              </a:ext>
            </a:extLst>
          </p:cNvPr>
          <p:cNvCxnSpPr>
            <a:cxnSpLocks/>
            <a:stCxn id="169" idx="1"/>
          </p:cNvCxnSpPr>
          <p:nvPr/>
        </p:nvCxnSpPr>
        <p:spPr>
          <a:xfrm flipH="1">
            <a:off x="3366911" y="4378879"/>
            <a:ext cx="676629" cy="0"/>
          </a:xfrm>
          <a:prstGeom prst="straightConnector1">
            <a:avLst/>
          </a:prstGeom>
          <a:ln w="9525">
            <a:solidFill>
              <a:schemeClr val="accent1"/>
            </a:solidFill>
            <a:prstDash val="soli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0" name="TextBox 239">
            <a:extLst>
              <a:ext uri="{FF2B5EF4-FFF2-40B4-BE49-F238E27FC236}">
                <a16:creationId xmlns:a16="http://schemas.microsoft.com/office/drawing/2014/main" id="{A91585D1-6F01-8F28-09C8-5490392A135D}"/>
              </a:ext>
            </a:extLst>
          </p:cNvPr>
          <p:cNvSpPr txBox="1"/>
          <p:nvPr/>
        </p:nvSpPr>
        <p:spPr>
          <a:xfrm>
            <a:off x="3358526" y="4189816"/>
            <a:ext cx="591638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预算释放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244" name="Rectangle 18">
            <a:extLst>
              <a:ext uri="{FF2B5EF4-FFF2-40B4-BE49-F238E27FC236}">
                <a16:creationId xmlns:a16="http://schemas.microsoft.com/office/drawing/2014/main" id="{D60727EC-47EC-5BF8-5439-A7B71AB878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9053" y="3588406"/>
            <a:ext cx="838803" cy="392350"/>
          </a:xfrm>
          <a:prstGeom prst="rect">
            <a:avLst/>
          </a:prstGeom>
          <a:solidFill>
            <a:srgbClr val="336699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marL="12700" marR="0" lvl="0" indent="-1270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cs typeface="+mn-cs"/>
              </a:rPr>
              <a:t>预算外事项调整</a:t>
            </a:r>
          </a:p>
        </p:txBody>
      </p:sp>
      <p:grpSp>
        <p:nvGrpSpPr>
          <p:cNvPr id="245" name="Group 56">
            <a:extLst>
              <a:ext uri="{FF2B5EF4-FFF2-40B4-BE49-F238E27FC236}">
                <a16:creationId xmlns:a16="http://schemas.microsoft.com/office/drawing/2014/main" id="{44FC7809-2649-F806-2595-7AF5B13EB695}"/>
              </a:ext>
            </a:extLst>
          </p:cNvPr>
          <p:cNvGrpSpPr>
            <a:grpSpLocks/>
          </p:cNvGrpSpPr>
          <p:nvPr/>
        </p:nvGrpSpPr>
        <p:grpSpPr bwMode="auto">
          <a:xfrm>
            <a:off x="1901895" y="1190196"/>
            <a:ext cx="1967467" cy="3553000"/>
            <a:chOff x="419" y="1200"/>
            <a:chExt cx="864" cy="2448"/>
          </a:xfrm>
        </p:grpSpPr>
        <p:sp>
          <p:nvSpPr>
            <p:cNvPr id="246" name="Rectangle 57">
              <a:extLst>
                <a:ext uri="{FF2B5EF4-FFF2-40B4-BE49-F238E27FC236}">
                  <a16:creationId xmlns:a16="http://schemas.microsoft.com/office/drawing/2014/main" id="{915580B2-023D-6DCB-92AA-E0D4AD441A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" y="1200"/>
              <a:ext cx="864" cy="2448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41000"/>
              </a:schemeClr>
            </a:solidFill>
            <a:ln w="25400" algn="ctr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tIns="91440" bIns="91440" anchor="ctr"/>
            <a:lstStyle/>
            <a:p>
              <a:pPr marL="12700" marR="0" lvl="0" indent="-12700" algn="ctr" defTabSz="914400" rtl="0" eaLnBrk="0" fontAlgn="base" latinLnBrk="0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uLnTx/>
                  <a:uFillTx/>
                  <a:latin typeface="+mn-ea"/>
                  <a:cs typeface="+mn-cs"/>
                </a:rPr>
                <a:t>费用中心</a:t>
              </a:r>
            </a:p>
          </p:txBody>
        </p:sp>
        <p:sp>
          <p:nvSpPr>
            <p:cNvPr id="247" name="Rectangle 58">
              <a:extLst>
                <a:ext uri="{FF2B5EF4-FFF2-40B4-BE49-F238E27FC236}">
                  <a16:creationId xmlns:a16="http://schemas.microsoft.com/office/drawing/2014/main" id="{075253D7-CF46-4040-279F-101D50490B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" y="1200"/>
              <a:ext cx="109" cy="122"/>
            </a:xfrm>
            <a:prstGeom prst="rect">
              <a:avLst/>
            </a:prstGeom>
            <a:solidFill>
              <a:srgbClr val="800080"/>
            </a:solidFill>
            <a:ln w="25400" algn="ctr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tIns="91440" bIns="91440" anchor="ctr"/>
            <a:lstStyle/>
            <a:p>
              <a:pPr marL="12700" marR="0" lvl="0" indent="-12700" algn="r" defTabSz="914400" rtl="0" eaLnBrk="0" fontAlgn="base" latinLnBrk="0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uLnTx/>
                  <a:uFillTx/>
                  <a:latin typeface="+mn-ea"/>
                  <a:cs typeface="Arial Unicode MS" pitchFamily="34" charset="-122"/>
                </a:rPr>
                <a:t>2</a:t>
              </a:r>
            </a:p>
          </p:txBody>
        </p:sp>
      </p:grpSp>
      <p:grpSp>
        <p:nvGrpSpPr>
          <p:cNvPr id="248" name="Group 56">
            <a:extLst>
              <a:ext uri="{FF2B5EF4-FFF2-40B4-BE49-F238E27FC236}">
                <a16:creationId xmlns:a16="http://schemas.microsoft.com/office/drawing/2014/main" id="{AA5E3291-4E1D-3761-C918-A68D6E0F12E4}"/>
              </a:ext>
            </a:extLst>
          </p:cNvPr>
          <p:cNvGrpSpPr>
            <a:grpSpLocks/>
          </p:cNvGrpSpPr>
          <p:nvPr/>
        </p:nvGrpSpPr>
        <p:grpSpPr bwMode="auto">
          <a:xfrm>
            <a:off x="3923326" y="1177687"/>
            <a:ext cx="1338007" cy="3553000"/>
            <a:chOff x="419" y="1200"/>
            <a:chExt cx="864" cy="2448"/>
          </a:xfrm>
        </p:grpSpPr>
        <p:sp>
          <p:nvSpPr>
            <p:cNvPr id="249" name="Rectangle 57">
              <a:extLst>
                <a:ext uri="{FF2B5EF4-FFF2-40B4-BE49-F238E27FC236}">
                  <a16:creationId xmlns:a16="http://schemas.microsoft.com/office/drawing/2014/main" id="{AF13E56C-7022-7209-9B36-FCF694A796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" y="1200"/>
              <a:ext cx="864" cy="2448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41000"/>
              </a:schemeClr>
            </a:solidFill>
            <a:ln w="25400" algn="ctr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tIns="91440" bIns="91440" anchor="ctr"/>
            <a:lstStyle/>
            <a:p>
              <a:pPr marL="12700" marR="0" lvl="0" indent="-12700" algn="ctr" defTabSz="914400" rtl="0" eaLnBrk="0" fontAlgn="base" latinLnBrk="0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uLnTx/>
                  <a:uFillTx/>
                  <a:latin typeface="+mn-ea"/>
                  <a:cs typeface="+mn-cs"/>
                </a:rPr>
                <a:t>MPM</a:t>
              </a:r>
              <a:endParaRPr kumimoji="0" lang="zh-CN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50" name="Rectangle 58">
              <a:extLst>
                <a:ext uri="{FF2B5EF4-FFF2-40B4-BE49-F238E27FC236}">
                  <a16:creationId xmlns:a16="http://schemas.microsoft.com/office/drawing/2014/main" id="{C6CA9FC8-B5AD-3C37-0F1D-598DA2FCB5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" y="1200"/>
              <a:ext cx="144" cy="144"/>
            </a:xfrm>
            <a:prstGeom prst="rect">
              <a:avLst/>
            </a:prstGeom>
            <a:solidFill>
              <a:srgbClr val="800080"/>
            </a:solidFill>
            <a:ln w="25400" algn="ctr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tIns="91440" bIns="91440" anchor="ctr"/>
            <a:lstStyle/>
            <a:p>
              <a:pPr marL="12700" marR="0" lvl="0" indent="-12700" algn="r" defTabSz="914400" rtl="0" eaLnBrk="0" fontAlgn="base" latinLnBrk="0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uLnTx/>
                  <a:uFillTx/>
                  <a:latin typeface="+mn-ea"/>
                  <a:cs typeface="Arial Unicode MS" pitchFamily="34" charset="-122"/>
                </a:rPr>
                <a:t>3</a:t>
              </a:r>
            </a:p>
          </p:txBody>
        </p:sp>
      </p:grpSp>
      <p:grpSp>
        <p:nvGrpSpPr>
          <p:cNvPr id="251" name="Group 56">
            <a:extLst>
              <a:ext uri="{FF2B5EF4-FFF2-40B4-BE49-F238E27FC236}">
                <a16:creationId xmlns:a16="http://schemas.microsoft.com/office/drawing/2014/main" id="{42ACBEAC-8AE7-3D91-38AC-B3C8080171D4}"/>
              </a:ext>
            </a:extLst>
          </p:cNvPr>
          <p:cNvGrpSpPr>
            <a:grpSpLocks/>
          </p:cNvGrpSpPr>
          <p:nvPr/>
        </p:nvGrpSpPr>
        <p:grpSpPr bwMode="auto">
          <a:xfrm>
            <a:off x="5311881" y="1148472"/>
            <a:ext cx="3590860" cy="3582215"/>
            <a:chOff x="419" y="1200"/>
            <a:chExt cx="864" cy="2448"/>
          </a:xfrm>
        </p:grpSpPr>
        <p:sp>
          <p:nvSpPr>
            <p:cNvPr id="252" name="Rectangle 57">
              <a:extLst>
                <a:ext uri="{FF2B5EF4-FFF2-40B4-BE49-F238E27FC236}">
                  <a16:creationId xmlns:a16="http://schemas.microsoft.com/office/drawing/2014/main" id="{58CCF7EE-4542-B73B-F0DB-ADCAED0D79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" y="1200"/>
              <a:ext cx="864" cy="2448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41000"/>
              </a:schemeClr>
            </a:solidFill>
            <a:ln w="25400" algn="ctr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tIns="91440" bIns="91440" anchor="ctr"/>
            <a:lstStyle/>
            <a:p>
              <a:pPr marL="12700" marR="0" lvl="0" indent="-12700" algn="ctr" defTabSz="914400" rtl="0" eaLnBrk="0" fontAlgn="base" latinLnBrk="0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53" name="Rectangle 58">
              <a:extLst>
                <a:ext uri="{FF2B5EF4-FFF2-40B4-BE49-F238E27FC236}">
                  <a16:creationId xmlns:a16="http://schemas.microsoft.com/office/drawing/2014/main" id="{5571AFA6-E038-D29D-9690-E3D87BD1A2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" y="1200"/>
              <a:ext cx="51" cy="143"/>
            </a:xfrm>
            <a:prstGeom prst="rect">
              <a:avLst/>
            </a:prstGeom>
            <a:solidFill>
              <a:srgbClr val="800080"/>
            </a:solidFill>
            <a:ln w="25400" algn="ctr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tIns="91440" bIns="91440" anchor="ctr"/>
            <a:lstStyle/>
            <a:p>
              <a:pPr marL="12700" marR="0" lvl="0" indent="-12700" algn="r" defTabSz="914400" rtl="0" eaLnBrk="0" fontAlgn="base" latinLnBrk="0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uLnTx/>
                  <a:uFillTx/>
                  <a:latin typeface="+mn-ea"/>
                  <a:cs typeface="Arial Unicode MS" pitchFamily="34" charset="-122"/>
                </a:rPr>
                <a:t>4</a:t>
              </a:r>
            </a:p>
          </p:txBody>
        </p:sp>
      </p:grpSp>
      <p:sp>
        <p:nvSpPr>
          <p:cNvPr id="254" name="TextBox 253">
            <a:extLst>
              <a:ext uri="{FF2B5EF4-FFF2-40B4-BE49-F238E27FC236}">
                <a16:creationId xmlns:a16="http://schemas.microsoft.com/office/drawing/2014/main" id="{643B9E88-0ACE-9A06-924D-D9B653346C39}"/>
              </a:ext>
            </a:extLst>
          </p:cNvPr>
          <p:cNvSpPr txBox="1"/>
          <p:nvPr/>
        </p:nvSpPr>
        <p:spPr>
          <a:xfrm>
            <a:off x="7507775" y="1724717"/>
            <a:ext cx="8649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场景</a:t>
            </a:r>
            <a:r>
              <a:rPr kumimoji="0" lang="en-US" altLang="zh-CN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95BA3AF4-5090-6EC3-E8B7-E2545D34F8C6}"/>
              </a:ext>
            </a:extLst>
          </p:cNvPr>
          <p:cNvSpPr txBox="1"/>
          <p:nvPr/>
        </p:nvSpPr>
        <p:spPr>
          <a:xfrm>
            <a:off x="7471414" y="2680854"/>
            <a:ext cx="8649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场景</a:t>
            </a:r>
            <a:r>
              <a:rPr kumimoji="0" lang="en-US" altLang="zh-CN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817B0C8D-02A7-A241-2B9A-E1A0BD45E944}"/>
              </a:ext>
            </a:extLst>
          </p:cNvPr>
          <p:cNvSpPr txBox="1"/>
          <p:nvPr/>
        </p:nvSpPr>
        <p:spPr>
          <a:xfrm>
            <a:off x="7480682" y="3407503"/>
            <a:ext cx="8649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场景</a:t>
            </a:r>
            <a:r>
              <a:rPr kumimoji="0" lang="en-US" altLang="zh-CN" sz="1100" b="1" i="0" u="sng" strike="noStrike" kern="0" cap="none" spc="0" normalizeH="0" baseline="0" noProof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Arial" charset="0"/>
              </a:rPr>
              <a:t>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7" name="Rectangle 58">
            <a:extLst>
              <a:ext uri="{FF2B5EF4-FFF2-40B4-BE49-F238E27FC236}">
                <a16:creationId xmlns:a16="http://schemas.microsoft.com/office/drawing/2014/main" id="{9DF4E4EB-2DB6-0004-878C-1CC76DD61B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64307" y="1152343"/>
            <a:ext cx="211960" cy="209255"/>
          </a:xfrm>
          <a:prstGeom prst="rect">
            <a:avLst/>
          </a:prstGeom>
          <a:solidFill>
            <a:srgbClr val="800080"/>
          </a:solidFill>
          <a:ln w="25400" algn="ctr">
            <a:solidFill>
              <a:schemeClr val="accent6">
                <a:lumMod val="20000"/>
                <a:lumOff val="80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tIns="91440" bIns="91440" anchor="ctr"/>
          <a:lstStyle/>
          <a:p>
            <a:pPr marL="12700" marR="0" lvl="0" indent="-12700" algn="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cs typeface="Arial Unicode MS" pitchFamily="34" charset="-122"/>
              </a:rPr>
              <a:t>5</a:t>
            </a:r>
          </a:p>
        </p:txBody>
      </p:sp>
      <p:sp>
        <p:nvSpPr>
          <p:cNvPr id="8" name="Rectangle 58">
            <a:extLst>
              <a:ext uri="{FF2B5EF4-FFF2-40B4-BE49-F238E27FC236}">
                <a16:creationId xmlns:a16="http://schemas.microsoft.com/office/drawing/2014/main" id="{8EB4589B-CABA-7FCE-9857-143DBC0B3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8452" y="1155047"/>
            <a:ext cx="211960" cy="209255"/>
          </a:xfrm>
          <a:prstGeom prst="rect">
            <a:avLst/>
          </a:prstGeom>
          <a:solidFill>
            <a:srgbClr val="800080"/>
          </a:solidFill>
          <a:ln w="25400" algn="ctr">
            <a:solidFill>
              <a:schemeClr val="accent6">
                <a:lumMod val="20000"/>
                <a:lumOff val="80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tIns="91440" bIns="91440" anchor="ctr"/>
          <a:lstStyle/>
          <a:p>
            <a:pPr marL="12700" marR="0" lvl="0" indent="-12700" algn="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ea"/>
                <a:cs typeface="Arial Unicode MS" pitchFamily="34" charset="-122"/>
              </a:rPr>
              <a:t>6</a:t>
            </a:r>
            <a:endParaRPr kumimoji="0" lang="en-US" altLang="zh-CN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+mn-ea"/>
              <a:cs typeface="Arial Unicode MS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24622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53">
            <a:extLst>
              <a:ext uri="{FF2B5EF4-FFF2-40B4-BE49-F238E27FC236}">
                <a16:creationId xmlns:a16="http://schemas.microsoft.com/office/drawing/2014/main" id="{8CA0FEF4-766F-9E22-C017-D5D7ABB49C28}"/>
              </a:ext>
            </a:extLst>
          </p:cNvPr>
          <p:cNvSpPr/>
          <p:nvPr/>
        </p:nvSpPr>
        <p:spPr>
          <a:xfrm>
            <a:off x="1744083" y="4834896"/>
            <a:ext cx="10091603" cy="1657605"/>
          </a:xfrm>
          <a:prstGeom prst="rect">
            <a:avLst/>
          </a:prstGeom>
          <a:solidFill>
            <a:schemeClr val="bg1">
              <a:lumMod val="8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3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73" name="Rectangle 53">
            <a:extLst>
              <a:ext uri="{FF2B5EF4-FFF2-40B4-BE49-F238E27FC236}">
                <a16:creationId xmlns:a16="http://schemas.microsoft.com/office/drawing/2014/main" id="{A156F4C0-D355-160C-7392-C8742EAC051E}"/>
              </a:ext>
            </a:extLst>
          </p:cNvPr>
          <p:cNvSpPr/>
          <p:nvPr/>
        </p:nvSpPr>
        <p:spPr>
          <a:xfrm>
            <a:off x="1744083" y="997559"/>
            <a:ext cx="10091603" cy="3684126"/>
          </a:xfrm>
          <a:prstGeom prst="rect">
            <a:avLst/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3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534CB2-97F9-E782-DDF1-91C91BAA2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14230" y="6492501"/>
            <a:ext cx="585140" cy="232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FE292F-1EBE-6D4A-B339-A324D614A372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D5EE364C-4150-3381-5919-6CA7CF55B1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13" y="97704"/>
            <a:ext cx="9926956" cy="706293"/>
          </a:xfrm>
        </p:spPr>
        <p:txBody>
          <a:bodyPr/>
          <a:lstStyle/>
          <a:p>
            <a:r>
              <a:rPr lang="zh-CN" altLang="en-US"/>
              <a:t>推广费 </a:t>
            </a:r>
            <a:r>
              <a:rPr lang="en-US" altLang="zh-CN"/>
              <a:t>– </a:t>
            </a:r>
            <a:r>
              <a:rPr lang="zh-CN" altLang="en-US"/>
              <a:t>系统现状</a:t>
            </a: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AF0E56B4-330B-A3C5-3924-1B7DB40581B6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8C86B9-FEA9-C7ED-D696-F492A1FDFEAC}"/>
              </a:ext>
            </a:extLst>
          </p:cNvPr>
          <p:cNvSpPr/>
          <p:nvPr/>
        </p:nvSpPr>
        <p:spPr>
          <a:xfrm>
            <a:off x="451944" y="999122"/>
            <a:ext cx="1207563" cy="3682563"/>
          </a:xfrm>
          <a:prstGeom prst="roundRect">
            <a:avLst>
              <a:gd name="adj" fmla="val 0"/>
            </a:avLst>
          </a:prstGeom>
          <a:solidFill>
            <a:srgbClr val="007F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全球市场中心统管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32" name="Rectangle 11">
            <a:extLst>
              <a:ext uri="{FF2B5EF4-FFF2-40B4-BE49-F238E27FC236}">
                <a16:creationId xmlns:a16="http://schemas.microsoft.com/office/drawing/2014/main" id="{FFCCC6E7-EBD1-5F6B-178B-C9F256ED18F4}"/>
              </a:ext>
            </a:extLst>
          </p:cNvPr>
          <p:cNvSpPr/>
          <p:nvPr/>
        </p:nvSpPr>
        <p:spPr>
          <a:xfrm>
            <a:off x="436196" y="4838479"/>
            <a:ext cx="1213259" cy="1657605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>
                <a:solidFill>
                  <a:prstClr val="white"/>
                </a:solidFill>
                <a:latin typeface="Microsoft YaHei"/>
                <a:ea typeface="Microsoft YaHei"/>
              </a:rPr>
              <a:t>非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全球市场中心统管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AD100C24-95D5-33B2-F609-91DEA219E34B}"/>
              </a:ext>
            </a:extLst>
          </p:cNvPr>
          <p:cNvGrpSpPr/>
          <p:nvPr/>
        </p:nvGrpSpPr>
        <p:grpSpPr>
          <a:xfrm>
            <a:off x="1990725" y="1093164"/>
            <a:ext cx="9385427" cy="1466288"/>
            <a:chOff x="751753" y="2368848"/>
            <a:chExt cx="11018847" cy="1980713"/>
          </a:xfrm>
        </p:grpSpPr>
        <p:sp>
          <p:nvSpPr>
            <p:cNvPr id="34" name="iSḷiḑê">
              <a:extLst>
                <a:ext uri="{FF2B5EF4-FFF2-40B4-BE49-F238E27FC236}">
                  <a16:creationId xmlns:a16="http://schemas.microsoft.com/office/drawing/2014/main" id="{23596DDA-11B8-36DC-40E8-274E40BB5BD6}"/>
                </a:ext>
              </a:extLst>
            </p:cNvPr>
            <p:cNvSpPr/>
            <p:nvPr/>
          </p:nvSpPr>
          <p:spPr>
            <a:xfrm>
              <a:off x="7194746" y="3347006"/>
              <a:ext cx="1908914" cy="9988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08000" bIns="108000" rtlCol="0" anchor="t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kumimoji="1" lang="zh-CN" altLang="en-US" sz="1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以财务规定的报销材料及结项管理阶段相关材料为报销附件，由业务方通过绑定该项目实现完成费用报销申请；</a:t>
              </a:r>
              <a:endParaRPr kumimoji="1" lang="en-US" altLang="zh-CN" sz="1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5" name="组合 34">
              <a:extLst>
                <a:ext uri="{FF2B5EF4-FFF2-40B4-BE49-F238E27FC236}">
                  <a16:creationId xmlns:a16="http://schemas.microsoft.com/office/drawing/2014/main" id="{A2E82739-FF28-122E-5416-FDFE8026D276}"/>
                </a:ext>
              </a:extLst>
            </p:cNvPr>
            <p:cNvGrpSpPr/>
            <p:nvPr/>
          </p:nvGrpSpPr>
          <p:grpSpPr>
            <a:xfrm>
              <a:off x="751753" y="2368848"/>
              <a:ext cx="11018847" cy="1980713"/>
              <a:chOff x="751753" y="2368848"/>
              <a:chExt cx="11018847" cy="1980713"/>
            </a:xfrm>
          </p:grpSpPr>
          <p:sp>
            <p:nvSpPr>
              <p:cNvPr id="36" name="ïšḻïdé">
                <a:extLst>
                  <a:ext uri="{FF2B5EF4-FFF2-40B4-BE49-F238E27FC236}">
                    <a16:creationId xmlns:a16="http://schemas.microsoft.com/office/drawing/2014/main" id="{A472F3BF-2865-FC83-F99F-CF64F3D6E505}"/>
                  </a:ext>
                </a:extLst>
              </p:cNvPr>
              <p:cNvSpPr/>
              <p:nvPr/>
            </p:nvSpPr>
            <p:spPr>
              <a:xfrm>
                <a:off x="841481" y="2368848"/>
                <a:ext cx="2171649" cy="886342"/>
              </a:xfrm>
              <a:prstGeom prst="homePlate">
                <a:avLst/>
              </a:prstGeom>
              <a:solidFill>
                <a:schemeClr val="tx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r>
                  <a:rPr kumimoji="1" lang="zh-CN" altLang="en-US" sz="1800" b="1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预算导入</a:t>
                </a:r>
                <a:endParaRPr kumimoji="1" lang="en-US" altLang="zh-CN" sz="18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1" name="ísļiḑê">
                <a:extLst>
                  <a:ext uri="{FF2B5EF4-FFF2-40B4-BE49-F238E27FC236}">
                    <a16:creationId xmlns:a16="http://schemas.microsoft.com/office/drawing/2014/main" id="{77923958-9580-9873-2C2F-85788BE596E3}"/>
                  </a:ext>
                </a:extLst>
              </p:cNvPr>
              <p:cNvSpPr/>
              <p:nvPr/>
            </p:nvSpPr>
            <p:spPr>
              <a:xfrm>
                <a:off x="2891065" y="2368848"/>
                <a:ext cx="2293144" cy="886342"/>
              </a:xfrm>
              <a:prstGeom prst="chevron">
                <a:avLst/>
              </a:prstGeom>
              <a:solidFill>
                <a:srgbClr val="2057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r>
                  <a:rPr kumimoji="1" lang="zh-CN" altLang="en-US" sz="1800" b="1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事项申请</a:t>
                </a:r>
                <a:endParaRPr kumimoji="1" lang="en-US" altLang="zh-CN" sz="18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4" name="îsľíḑe">
                <a:extLst>
                  <a:ext uri="{FF2B5EF4-FFF2-40B4-BE49-F238E27FC236}">
                    <a16:creationId xmlns:a16="http://schemas.microsoft.com/office/drawing/2014/main" id="{C2C49510-9FF7-9BE3-C64E-E330D745F818}"/>
                  </a:ext>
                </a:extLst>
              </p:cNvPr>
              <p:cNvSpPr/>
              <p:nvPr/>
            </p:nvSpPr>
            <p:spPr>
              <a:xfrm>
                <a:off x="5086529" y="2368848"/>
                <a:ext cx="2293144" cy="886342"/>
              </a:xfrm>
              <a:prstGeom prst="chevron">
                <a:avLst/>
              </a:prstGeom>
              <a:solidFill>
                <a:srgbClr val="ECEE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zh-CN" altLang="en-US" b="1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结项管理</a:t>
                </a:r>
                <a:endParaRPr kumimoji="1" lang="en-US" altLang="zh-CN" sz="18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5" name="í$ļïdê">
                <a:extLst>
                  <a:ext uri="{FF2B5EF4-FFF2-40B4-BE49-F238E27FC236}">
                    <a16:creationId xmlns:a16="http://schemas.microsoft.com/office/drawing/2014/main" id="{27B8D002-A0C3-3902-9884-F8F6418C9C74}"/>
                  </a:ext>
                </a:extLst>
              </p:cNvPr>
              <p:cNvSpPr/>
              <p:nvPr/>
            </p:nvSpPr>
            <p:spPr>
              <a:xfrm>
                <a:off x="7281993" y="2368848"/>
                <a:ext cx="2293144" cy="886342"/>
              </a:xfrm>
              <a:prstGeom prst="chevron">
                <a:avLst/>
              </a:prstGeom>
              <a:solidFill>
                <a:srgbClr val="2057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r>
                  <a:rPr kumimoji="1" lang="zh-CN" altLang="en-US" b="1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报销申请</a:t>
                </a:r>
                <a:endParaRPr kumimoji="1" lang="en-US" altLang="zh-CN" sz="18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6" name="iŝlïḑé">
                <a:extLst>
                  <a:ext uri="{FF2B5EF4-FFF2-40B4-BE49-F238E27FC236}">
                    <a16:creationId xmlns:a16="http://schemas.microsoft.com/office/drawing/2014/main" id="{6218F884-C7E9-FA9D-DA43-89ECDAC2730B}"/>
                  </a:ext>
                </a:extLst>
              </p:cNvPr>
              <p:cNvSpPr/>
              <p:nvPr/>
            </p:nvSpPr>
            <p:spPr>
              <a:xfrm>
                <a:off x="751753" y="3347006"/>
                <a:ext cx="1729542" cy="100255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8000" tIns="108000" rIns="108000" bIns="108000" rtlCol="0" anchor="t" anchorCtr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kumimoji="1" lang="zh-CN" altLang="en-US" sz="1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根据已经通过批准的编制预算，由业务方填至</a:t>
                </a:r>
                <a:r>
                  <a:rPr kumimoji="1" lang="en-US" altLang="zh-CN" sz="1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BF</a:t>
                </a:r>
                <a:r>
                  <a:rPr kumimoji="1" lang="zh-CN" altLang="en-US" sz="1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系统，再由</a:t>
                </a:r>
                <a:r>
                  <a:rPr kumimoji="1" lang="en-US" altLang="zh-CN" sz="1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BF</a:t>
                </a:r>
                <a:r>
                  <a:rPr kumimoji="1" lang="zh-CN" altLang="en-US" sz="1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打包预算导入</a:t>
                </a:r>
                <a:r>
                  <a:rPr kumimoji="1" lang="en-US" altLang="zh-CN" sz="1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FSSC</a:t>
                </a:r>
                <a:r>
                  <a:rPr kumimoji="1" lang="zh-CN" altLang="en-US" sz="1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系统；</a:t>
                </a:r>
                <a:endParaRPr kumimoji="1" lang="en-US" altLang="zh-CN" sz="1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7" name="ïšḷíḑè">
                <a:extLst>
                  <a:ext uri="{FF2B5EF4-FFF2-40B4-BE49-F238E27FC236}">
                    <a16:creationId xmlns:a16="http://schemas.microsoft.com/office/drawing/2014/main" id="{41D0364B-21B0-0AC2-8790-AADD43D2FA89}"/>
                  </a:ext>
                </a:extLst>
              </p:cNvPr>
              <p:cNvSpPr/>
              <p:nvPr/>
            </p:nvSpPr>
            <p:spPr>
              <a:xfrm>
                <a:off x="9477456" y="2368848"/>
                <a:ext cx="2293144" cy="886342"/>
              </a:xfrm>
              <a:prstGeom prst="chevron">
                <a:avLst/>
              </a:prstGeom>
              <a:solidFill>
                <a:schemeClr val="tx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r>
                  <a:rPr kumimoji="1" lang="zh-CN" altLang="en-US" b="1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费用核算</a:t>
                </a:r>
                <a:endParaRPr kumimoji="1" lang="en-US" altLang="zh-CN" sz="18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8" name="ïs1ïḍê">
                <a:extLst>
                  <a:ext uri="{FF2B5EF4-FFF2-40B4-BE49-F238E27FC236}">
                    <a16:creationId xmlns:a16="http://schemas.microsoft.com/office/drawing/2014/main" id="{CFF953A2-05A4-F224-CF0E-63F61F23485D}"/>
                  </a:ext>
                </a:extLst>
              </p:cNvPr>
              <p:cNvSpPr/>
              <p:nvPr/>
            </p:nvSpPr>
            <p:spPr>
              <a:xfrm>
                <a:off x="2899417" y="3340081"/>
                <a:ext cx="1729542" cy="8025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8000" tIns="108000" rIns="108000" bIns="108000" rtlCol="0" anchor="t" anchorCtr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kumimoji="1" lang="zh-CN" altLang="en-US" sz="1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由业务方通过填写提报</a:t>
                </a:r>
                <a:r>
                  <a:rPr kumimoji="1" lang="en-US" altLang="zh-CN" sz="1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FSSC</a:t>
                </a:r>
                <a:r>
                  <a:rPr kumimoji="1" lang="zh-CN" altLang="en-US" sz="1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事项申请单，预提当前项目预算；</a:t>
                </a:r>
                <a:endParaRPr kumimoji="1" lang="en-US" altLang="zh-CN" sz="1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9" name="ísḻiḑé">
                <a:extLst>
                  <a:ext uri="{FF2B5EF4-FFF2-40B4-BE49-F238E27FC236}">
                    <a16:creationId xmlns:a16="http://schemas.microsoft.com/office/drawing/2014/main" id="{0C7CD918-E707-1549-FB89-249F1D8E1A3D}"/>
                  </a:ext>
                </a:extLst>
              </p:cNvPr>
              <p:cNvSpPr/>
              <p:nvPr/>
            </p:nvSpPr>
            <p:spPr>
              <a:xfrm>
                <a:off x="5047082" y="3340081"/>
                <a:ext cx="1729542" cy="100255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8000" tIns="108000" rIns="108000" bIns="108000" rtlCol="0" anchor="t" anchorCtr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kumimoji="1" lang="zh-CN" altLang="en-US" sz="1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在当前项目完成所有阶段任务并提交审核相关材料（结项报告、供应商合同等）；</a:t>
                </a:r>
                <a:endParaRPr kumimoji="1" lang="en-US" altLang="zh-CN" sz="1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0" name="ïS1ïďê">
                <a:extLst>
                  <a:ext uri="{FF2B5EF4-FFF2-40B4-BE49-F238E27FC236}">
                    <a16:creationId xmlns:a16="http://schemas.microsoft.com/office/drawing/2014/main" id="{BE7A8600-1561-8430-72B9-DCD862D11973}"/>
                  </a:ext>
                </a:extLst>
              </p:cNvPr>
              <p:cNvSpPr/>
              <p:nvPr/>
            </p:nvSpPr>
            <p:spPr>
              <a:xfrm>
                <a:off x="9342409" y="3347006"/>
                <a:ext cx="1729542" cy="8025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8000" tIns="108000" rIns="108000" bIns="108000" rtlCol="0" anchor="t" anchorCtr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kumimoji="1" lang="zh-CN" altLang="en-US" sz="1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根据财务规定的核算口径进行推广费费用核算，并沉淀数据至</a:t>
                </a:r>
                <a:r>
                  <a:rPr kumimoji="1" lang="en-US" altLang="zh-CN" sz="1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SAP</a:t>
                </a:r>
                <a:r>
                  <a:rPr kumimoji="1" lang="zh-CN" altLang="en-US" sz="1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系统。</a:t>
                </a:r>
                <a:endParaRPr kumimoji="1" lang="en-US" altLang="zh-CN" sz="1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51" name="组合 50">
            <a:extLst>
              <a:ext uri="{FF2B5EF4-FFF2-40B4-BE49-F238E27FC236}">
                <a16:creationId xmlns:a16="http://schemas.microsoft.com/office/drawing/2014/main" id="{9F7355B7-6613-6045-5761-BC4605B59223}"/>
              </a:ext>
            </a:extLst>
          </p:cNvPr>
          <p:cNvGrpSpPr/>
          <p:nvPr/>
        </p:nvGrpSpPr>
        <p:grpSpPr>
          <a:xfrm>
            <a:off x="2269360" y="3318748"/>
            <a:ext cx="7971346" cy="1077435"/>
            <a:chOff x="1117601" y="664340"/>
            <a:chExt cx="9358660" cy="1455438"/>
          </a:xfrm>
        </p:grpSpPr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91C4C63A-3B59-674D-F01B-6FAD7EA8D34F}"/>
                </a:ext>
              </a:extLst>
            </p:cNvPr>
            <p:cNvSpPr/>
            <p:nvPr/>
          </p:nvSpPr>
          <p:spPr>
            <a:xfrm>
              <a:off x="1117601" y="959294"/>
              <a:ext cx="1136276" cy="685800"/>
            </a:xfrm>
            <a:prstGeom prst="rect">
              <a:avLst/>
            </a:prstGeom>
            <a:solidFill>
              <a:srgbClr val="C0E9FF"/>
            </a:solidFill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项目管理</a:t>
              </a:r>
            </a:p>
          </p:txBody>
        </p:sp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DB3E97CF-BF10-9431-8937-A889B6A99170}"/>
                </a:ext>
              </a:extLst>
            </p:cNvPr>
            <p:cNvSpPr/>
            <p:nvPr/>
          </p:nvSpPr>
          <p:spPr>
            <a:xfrm>
              <a:off x="6599191" y="959294"/>
              <a:ext cx="1136276" cy="685800"/>
            </a:xfrm>
            <a:prstGeom prst="rect">
              <a:avLst/>
            </a:prstGeom>
            <a:solidFill>
              <a:srgbClr val="C0E9FF"/>
            </a:solidFill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提报</a:t>
              </a:r>
              <a:endParaRPr lang="en-US" altLang="zh-CN" sz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费用报销</a:t>
              </a: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20A1B400-37ED-4A28-F7A0-9C443C9012F9}"/>
                </a:ext>
              </a:extLst>
            </p:cNvPr>
            <p:cNvSpPr/>
            <p:nvPr/>
          </p:nvSpPr>
          <p:spPr>
            <a:xfrm>
              <a:off x="9339985" y="959294"/>
              <a:ext cx="1136276" cy="685800"/>
            </a:xfrm>
            <a:prstGeom prst="rect">
              <a:avLst/>
            </a:prstGeom>
            <a:solidFill>
              <a:srgbClr val="C0E9FF"/>
            </a:solidFill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费用核算</a:t>
              </a:r>
            </a:p>
          </p:txBody>
        </p:sp>
        <p:cxnSp>
          <p:nvCxnSpPr>
            <p:cNvPr id="56" name="直接箭头连接符 55">
              <a:extLst>
                <a:ext uri="{FF2B5EF4-FFF2-40B4-BE49-F238E27FC236}">
                  <a16:creationId xmlns:a16="http://schemas.microsoft.com/office/drawing/2014/main" id="{16F2AD42-9852-C47C-8802-E455ECAA8C3C}"/>
                </a:ext>
              </a:extLst>
            </p:cNvPr>
            <p:cNvCxnSpPr>
              <a:cxnSpLocks/>
              <a:stCxn id="52" idx="3"/>
              <a:endCxn id="59" idx="1"/>
            </p:cNvCxnSpPr>
            <p:nvPr/>
          </p:nvCxnSpPr>
          <p:spPr>
            <a:xfrm>
              <a:off x="2253877" y="1302194"/>
              <a:ext cx="1604519" cy="0"/>
            </a:xfrm>
            <a:prstGeom prst="straightConnector1">
              <a:avLst/>
            </a:prstGeom>
            <a:ln w="19050">
              <a:solidFill>
                <a:srgbClr val="4472C4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C4FA5857-D9DA-9327-212C-B73D9E0E47BF}"/>
                </a:ext>
              </a:extLst>
            </p:cNvPr>
            <p:cNvSpPr/>
            <p:nvPr/>
          </p:nvSpPr>
          <p:spPr>
            <a:xfrm>
              <a:off x="3858396" y="959294"/>
              <a:ext cx="1136276" cy="685800"/>
            </a:xfrm>
            <a:prstGeom prst="rect">
              <a:avLst/>
            </a:prstGeom>
            <a:solidFill>
              <a:srgbClr val="C0E9FF"/>
            </a:solidFill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提报</a:t>
              </a:r>
              <a:endParaRPr lang="en-US" altLang="zh-CN" sz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事项申请</a:t>
              </a:r>
            </a:p>
          </p:txBody>
        </p:sp>
        <p:cxnSp>
          <p:nvCxnSpPr>
            <p:cNvPr id="62" name="直接箭头连接符 61">
              <a:extLst>
                <a:ext uri="{FF2B5EF4-FFF2-40B4-BE49-F238E27FC236}">
                  <a16:creationId xmlns:a16="http://schemas.microsoft.com/office/drawing/2014/main" id="{AF2C63C5-ECAA-3C80-1597-8763FCA2E37A}"/>
                </a:ext>
              </a:extLst>
            </p:cNvPr>
            <p:cNvCxnSpPr>
              <a:cxnSpLocks/>
              <a:stCxn id="53" idx="3"/>
              <a:endCxn id="55" idx="1"/>
            </p:cNvCxnSpPr>
            <p:nvPr/>
          </p:nvCxnSpPr>
          <p:spPr>
            <a:xfrm>
              <a:off x="7735467" y="1302194"/>
              <a:ext cx="1604518" cy="0"/>
            </a:xfrm>
            <a:prstGeom prst="straightConnector1">
              <a:avLst/>
            </a:prstGeom>
            <a:ln w="19050">
              <a:solidFill>
                <a:srgbClr val="4472C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FEB3572E-08DF-28F1-8BF7-6ED388BA8CF2}"/>
                </a:ext>
              </a:extLst>
            </p:cNvPr>
            <p:cNvSpPr/>
            <p:nvPr/>
          </p:nvSpPr>
          <p:spPr>
            <a:xfrm>
              <a:off x="1144227" y="1817221"/>
              <a:ext cx="1147603" cy="302557"/>
            </a:xfrm>
            <a:prstGeom prst="rect">
              <a:avLst/>
            </a:prstGeom>
            <a:solidFill>
              <a:srgbClr val="007FC3"/>
            </a:solidFill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MPM</a:t>
              </a:r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9F57C159-221C-707C-C4A1-08C85FFEEAF5}"/>
                </a:ext>
              </a:extLst>
            </p:cNvPr>
            <p:cNvSpPr/>
            <p:nvPr/>
          </p:nvSpPr>
          <p:spPr>
            <a:xfrm>
              <a:off x="3799401" y="1812921"/>
              <a:ext cx="3936067" cy="306312"/>
            </a:xfrm>
            <a:prstGeom prst="rect">
              <a:avLst/>
            </a:prstGeom>
            <a:solidFill>
              <a:srgbClr val="007FC3"/>
            </a:solidFill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FSSC</a:t>
              </a:r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6" name="文本框 65">
              <a:extLst>
                <a:ext uri="{FF2B5EF4-FFF2-40B4-BE49-F238E27FC236}">
                  <a16:creationId xmlns:a16="http://schemas.microsoft.com/office/drawing/2014/main" id="{53E4B2C9-41DB-8189-1300-35C7B24BAB98}"/>
                </a:ext>
              </a:extLst>
            </p:cNvPr>
            <p:cNvSpPr txBox="1"/>
            <p:nvPr/>
          </p:nvSpPr>
          <p:spPr>
            <a:xfrm>
              <a:off x="4426466" y="664340"/>
              <a:ext cx="2998024" cy="3741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通过关联事项申请单进行费用报销</a:t>
              </a:r>
            </a:p>
          </p:txBody>
        </p:sp>
      </p:grpSp>
      <p:sp>
        <p:nvSpPr>
          <p:cNvPr id="74" name="文本框 73">
            <a:extLst>
              <a:ext uri="{FF2B5EF4-FFF2-40B4-BE49-F238E27FC236}">
                <a16:creationId xmlns:a16="http://schemas.microsoft.com/office/drawing/2014/main" id="{3FE3154A-E69B-3850-A1C1-58A684E5EA86}"/>
              </a:ext>
            </a:extLst>
          </p:cNvPr>
          <p:cNvSpPr txBox="1"/>
          <p:nvPr/>
        </p:nvSpPr>
        <p:spPr>
          <a:xfrm>
            <a:off x="3092319" y="3484488"/>
            <a:ext cx="144117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36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endParaRPr lang="zh-CN" altLang="en-US" sz="360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对话气泡: 圆角矩形 74">
            <a:extLst>
              <a:ext uri="{FF2B5EF4-FFF2-40B4-BE49-F238E27FC236}">
                <a16:creationId xmlns:a16="http://schemas.microsoft.com/office/drawing/2014/main" id="{A8F64F5A-F4E2-B7CF-EBA8-415F58A32ACC}"/>
              </a:ext>
            </a:extLst>
          </p:cNvPr>
          <p:cNvSpPr/>
          <p:nvPr/>
        </p:nvSpPr>
        <p:spPr>
          <a:xfrm>
            <a:off x="3383687" y="2854719"/>
            <a:ext cx="4038600" cy="396693"/>
          </a:xfrm>
          <a:prstGeom prst="wedgeRoundRectCallout">
            <a:avLst>
              <a:gd name="adj1" fmla="val -37802"/>
              <a:gd name="adj2" fmla="val 151695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>
                <a:solidFill>
                  <a:schemeClr val="tx1"/>
                </a:solidFill>
              </a:rPr>
              <a:t>费用报销单未承接</a:t>
            </a:r>
            <a:r>
              <a:rPr lang="en-US" altLang="zh-CN">
                <a:solidFill>
                  <a:schemeClr val="tx1"/>
                </a:solidFill>
              </a:rPr>
              <a:t>MPM</a:t>
            </a:r>
            <a:r>
              <a:rPr lang="zh-CN" altLang="en-US">
                <a:solidFill>
                  <a:schemeClr val="tx1"/>
                </a:solidFill>
              </a:rPr>
              <a:t>系统推广项目</a:t>
            </a:r>
          </a:p>
        </p:txBody>
      </p:sp>
      <p:cxnSp>
        <p:nvCxnSpPr>
          <p:cNvPr id="85" name="直接箭头连接符 84">
            <a:extLst>
              <a:ext uri="{FF2B5EF4-FFF2-40B4-BE49-F238E27FC236}">
                <a16:creationId xmlns:a16="http://schemas.microsoft.com/office/drawing/2014/main" id="{34FD9CAA-91A5-76F0-A928-0ED13228C7FC}"/>
              </a:ext>
            </a:extLst>
          </p:cNvPr>
          <p:cNvCxnSpPr>
            <a:cxnSpLocks/>
            <a:stCxn id="93" idx="3"/>
            <a:endCxn id="116" idx="1"/>
          </p:cNvCxnSpPr>
          <p:nvPr/>
        </p:nvCxnSpPr>
        <p:spPr>
          <a:xfrm>
            <a:off x="4304178" y="5152749"/>
            <a:ext cx="829561" cy="0"/>
          </a:xfrm>
          <a:prstGeom prst="straightConnector1">
            <a:avLst/>
          </a:prstGeom>
          <a:ln w="19050">
            <a:solidFill>
              <a:srgbClr val="4472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矩形 92">
            <a:extLst>
              <a:ext uri="{FF2B5EF4-FFF2-40B4-BE49-F238E27FC236}">
                <a16:creationId xmlns:a16="http://schemas.microsoft.com/office/drawing/2014/main" id="{020ACE26-5CC6-9023-8177-D6EEB1AA4EAA}"/>
              </a:ext>
            </a:extLst>
          </p:cNvPr>
          <p:cNvSpPr/>
          <p:nvPr/>
        </p:nvSpPr>
        <p:spPr>
          <a:xfrm>
            <a:off x="3404178" y="4972749"/>
            <a:ext cx="900000" cy="36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BG</a:t>
            </a:r>
          </a:p>
          <a:p>
            <a:pPr algn="ctr"/>
            <a:r>
              <a:rPr lang="zh-CN" altLang="en-US" sz="11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推广费系统</a:t>
            </a:r>
            <a:endParaRPr lang="en-US" altLang="zh-CN" sz="11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0C1FC772-72DC-62D5-FFEA-0E517E8CD237}"/>
              </a:ext>
            </a:extLst>
          </p:cNvPr>
          <p:cNvSpPr/>
          <p:nvPr/>
        </p:nvSpPr>
        <p:spPr>
          <a:xfrm>
            <a:off x="5133739" y="4972749"/>
            <a:ext cx="900000" cy="36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A</a:t>
            </a:r>
            <a:r>
              <a:rPr lang="zh-CN" altLang="en-US" sz="11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</a:t>
            </a:r>
            <a:endParaRPr lang="en-US" altLang="zh-CN" sz="11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53" name="直接箭头连接符 152">
            <a:extLst>
              <a:ext uri="{FF2B5EF4-FFF2-40B4-BE49-F238E27FC236}">
                <a16:creationId xmlns:a16="http://schemas.microsoft.com/office/drawing/2014/main" id="{FFA986D0-531F-1C65-69DB-696373D1A875}"/>
              </a:ext>
            </a:extLst>
          </p:cNvPr>
          <p:cNvCxnSpPr>
            <a:cxnSpLocks/>
          </p:cNvCxnSpPr>
          <p:nvPr/>
        </p:nvCxnSpPr>
        <p:spPr>
          <a:xfrm>
            <a:off x="5571700" y="3790940"/>
            <a:ext cx="1366667" cy="0"/>
          </a:xfrm>
          <a:prstGeom prst="straightConnector1">
            <a:avLst/>
          </a:prstGeom>
          <a:ln w="19050">
            <a:solidFill>
              <a:srgbClr val="4472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矩形 159">
            <a:extLst>
              <a:ext uri="{FF2B5EF4-FFF2-40B4-BE49-F238E27FC236}">
                <a16:creationId xmlns:a16="http://schemas.microsoft.com/office/drawing/2014/main" id="{5E859BF2-C830-A093-7064-29220EFB5B9E}"/>
              </a:ext>
            </a:extLst>
          </p:cNvPr>
          <p:cNvSpPr/>
          <p:nvPr/>
        </p:nvSpPr>
        <p:spPr>
          <a:xfrm>
            <a:off x="9263221" y="4169021"/>
            <a:ext cx="977485" cy="227162"/>
          </a:xfrm>
          <a:prstGeom prst="rect">
            <a:avLst/>
          </a:prstGeom>
          <a:solidFill>
            <a:srgbClr val="007FC3"/>
          </a:solidFill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AP</a:t>
            </a:r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19B8DB6-A7B5-6A6E-E629-DF165ED8ADA4}"/>
              </a:ext>
            </a:extLst>
          </p:cNvPr>
          <p:cNvSpPr/>
          <p:nvPr/>
        </p:nvSpPr>
        <p:spPr>
          <a:xfrm>
            <a:off x="6863300" y="4972749"/>
            <a:ext cx="900000" cy="36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SSC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4563CE77-2B51-F73A-4656-9E6DB0EA508D}"/>
              </a:ext>
            </a:extLst>
          </p:cNvPr>
          <p:cNvSpPr/>
          <p:nvPr/>
        </p:nvSpPr>
        <p:spPr>
          <a:xfrm>
            <a:off x="8592862" y="4972749"/>
            <a:ext cx="900000" cy="36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AP</a:t>
            </a:r>
          </a:p>
        </p:txBody>
      </p:sp>
      <p:cxnSp>
        <p:nvCxnSpPr>
          <p:cNvPr id="22" name="直接箭头连接符 21">
            <a:extLst>
              <a:ext uri="{FF2B5EF4-FFF2-40B4-BE49-F238E27FC236}">
                <a16:creationId xmlns:a16="http://schemas.microsoft.com/office/drawing/2014/main" id="{7445BD37-119B-B5F7-5B38-D67BB2D1DCF7}"/>
              </a:ext>
            </a:extLst>
          </p:cNvPr>
          <p:cNvCxnSpPr>
            <a:cxnSpLocks/>
            <a:stCxn id="116" idx="3"/>
            <a:endCxn id="3" idx="1"/>
          </p:cNvCxnSpPr>
          <p:nvPr/>
        </p:nvCxnSpPr>
        <p:spPr>
          <a:xfrm>
            <a:off x="6033739" y="5152749"/>
            <a:ext cx="829561" cy="0"/>
          </a:xfrm>
          <a:prstGeom prst="straightConnector1">
            <a:avLst/>
          </a:prstGeom>
          <a:ln w="19050">
            <a:solidFill>
              <a:srgbClr val="4472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6B4DE1FB-421C-B8D2-6B87-6F890618A185}"/>
              </a:ext>
            </a:extLst>
          </p:cNvPr>
          <p:cNvCxnSpPr>
            <a:cxnSpLocks/>
            <a:stCxn id="3" idx="3"/>
            <a:endCxn id="19" idx="1"/>
          </p:cNvCxnSpPr>
          <p:nvPr/>
        </p:nvCxnSpPr>
        <p:spPr>
          <a:xfrm>
            <a:off x="7763300" y="5152749"/>
            <a:ext cx="829562" cy="0"/>
          </a:xfrm>
          <a:prstGeom prst="straightConnector1">
            <a:avLst/>
          </a:prstGeom>
          <a:ln w="19050">
            <a:solidFill>
              <a:srgbClr val="4472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矩形 38">
            <a:extLst>
              <a:ext uri="{FF2B5EF4-FFF2-40B4-BE49-F238E27FC236}">
                <a16:creationId xmlns:a16="http://schemas.microsoft.com/office/drawing/2014/main" id="{37D54D67-5476-CF4E-2DE1-AB2269BEE954}"/>
              </a:ext>
            </a:extLst>
          </p:cNvPr>
          <p:cNvSpPr/>
          <p:nvPr/>
        </p:nvSpPr>
        <p:spPr>
          <a:xfrm>
            <a:off x="3398819" y="6032294"/>
            <a:ext cx="900000" cy="36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A</a:t>
            </a:r>
            <a:r>
              <a:rPr lang="zh-CN" altLang="en-US" sz="11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</a:t>
            </a:r>
            <a:endParaRPr lang="en-US" altLang="zh-CN" sz="11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85C35519-DE64-D362-F099-03B9AD27CA91}"/>
              </a:ext>
            </a:extLst>
          </p:cNvPr>
          <p:cNvSpPr/>
          <p:nvPr/>
        </p:nvSpPr>
        <p:spPr>
          <a:xfrm>
            <a:off x="5126531" y="6032294"/>
            <a:ext cx="900000" cy="36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SSC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BA6DC32E-77B5-4AE0-6DC1-2F625398FF01}"/>
              </a:ext>
            </a:extLst>
          </p:cNvPr>
          <p:cNvSpPr/>
          <p:nvPr/>
        </p:nvSpPr>
        <p:spPr>
          <a:xfrm>
            <a:off x="8581955" y="6032294"/>
            <a:ext cx="900000" cy="36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AP</a:t>
            </a:r>
          </a:p>
        </p:txBody>
      </p:sp>
      <p:cxnSp>
        <p:nvCxnSpPr>
          <p:cNvPr id="43" name="直接箭头连接符 42">
            <a:extLst>
              <a:ext uri="{FF2B5EF4-FFF2-40B4-BE49-F238E27FC236}">
                <a16:creationId xmlns:a16="http://schemas.microsoft.com/office/drawing/2014/main" id="{7E64A748-D544-73BA-710D-4513408A80B5}"/>
              </a:ext>
            </a:extLst>
          </p:cNvPr>
          <p:cNvCxnSpPr>
            <a:cxnSpLocks/>
            <a:stCxn id="39" idx="3"/>
            <a:endCxn id="40" idx="1"/>
          </p:cNvCxnSpPr>
          <p:nvPr/>
        </p:nvCxnSpPr>
        <p:spPr>
          <a:xfrm>
            <a:off x="4298819" y="6212294"/>
            <a:ext cx="827712" cy="0"/>
          </a:xfrm>
          <a:prstGeom prst="straightConnector1">
            <a:avLst/>
          </a:prstGeom>
          <a:ln w="19050">
            <a:solidFill>
              <a:srgbClr val="4472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接箭头连接符 53">
            <a:extLst>
              <a:ext uri="{FF2B5EF4-FFF2-40B4-BE49-F238E27FC236}">
                <a16:creationId xmlns:a16="http://schemas.microsoft.com/office/drawing/2014/main" id="{545806EF-A988-6E35-2E33-DFAED133FBB1}"/>
              </a:ext>
            </a:extLst>
          </p:cNvPr>
          <p:cNvCxnSpPr>
            <a:cxnSpLocks/>
            <a:stCxn id="40" idx="3"/>
            <a:endCxn id="57" idx="1"/>
          </p:cNvCxnSpPr>
          <p:nvPr/>
        </p:nvCxnSpPr>
        <p:spPr>
          <a:xfrm>
            <a:off x="6026531" y="6212294"/>
            <a:ext cx="827712" cy="0"/>
          </a:xfrm>
          <a:prstGeom prst="straightConnector1">
            <a:avLst/>
          </a:prstGeom>
          <a:ln w="19050">
            <a:solidFill>
              <a:srgbClr val="4472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CC82A5DE-C5B2-DADF-DBB8-25B609D2BF41}"/>
              </a:ext>
            </a:extLst>
          </p:cNvPr>
          <p:cNvSpPr/>
          <p:nvPr/>
        </p:nvSpPr>
        <p:spPr>
          <a:xfrm>
            <a:off x="6854243" y="6032294"/>
            <a:ext cx="900000" cy="36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SSC&amp;</a:t>
            </a:r>
          </a:p>
          <a:p>
            <a:pPr algn="ctr"/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cur</a:t>
            </a:r>
          </a:p>
        </p:txBody>
      </p:sp>
      <p:cxnSp>
        <p:nvCxnSpPr>
          <p:cNvPr id="63" name="直接箭头连接符 62">
            <a:extLst>
              <a:ext uri="{FF2B5EF4-FFF2-40B4-BE49-F238E27FC236}">
                <a16:creationId xmlns:a16="http://schemas.microsoft.com/office/drawing/2014/main" id="{F588C43A-0E1F-33A3-61E7-84AECCB04065}"/>
              </a:ext>
            </a:extLst>
          </p:cNvPr>
          <p:cNvCxnSpPr>
            <a:cxnSpLocks/>
            <a:stCxn id="57" idx="3"/>
            <a:endCxn id="42" idx="1"/>
          </p:cNvCxnSpPr>
          <p:nvPr/>
        </p:nvCxnSpPr>
        <p:spPr>
          <a:xfrm>
            <a:off x="7754243" y="6212294"/>
            <a:ext cx="827712" cy="0"/>
          </a:xfrm>
          <a:prstGeom prst="straightConnector1">
            <a:avLst/>
          </a:prstGeom>
          <a:ln w="19050">
            <a:solidFill>
              <a:srgbClr val="4472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矩形 68">
            <a:extLst>
              <a:ext uri="{FF2B5EF4-FFF2-40B4-BE49-F238E27FC236}">
                <a16:creationId xmlns:a16="http://schemas.microsoft.com/office/drawing/2014/main" id="{92450DCD-5EF1-B6B0-1C1B-6BBAA474C3DC}"/>
              </a:ext>
            </a:extLst>
          </p:cNvPr>
          <p:cNvSpPr/>
          <p:nvPr/>
        </p:nvSpPr>
        <p:spPr>
          <a:xfrm>
            <a:off x="3398819" y="5486027"/>
            <a:ext cx="900000" cy="36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A</a:t>
            </a:r>
            <a:r>
              <a:rPr lang="zh-CN" altLang="en-US" sz="11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</a:t>
            </a:r>
            <a:endParaRPr lang="en-US" altLang="zh-CN" sz="11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FBA94AEE-4756-4D85-91B0-BF82341EA43B}"/>
              </a:ext>
            </a:extLst>
          </p:cNvPr>
          <p:cNvSpPr/>
          <p:nvPr/>
        </p:nvSpPr>
        <p:spPr>
          <a:xfrm>
            <a:off x="5126388" y="5486027"/>
            <a:ext cx="900000" cy="36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SSC</a:t>
            </a:r>
          </a:p>
        </p:txBody>
      </p:sp>
      <p:sp>
        <p:nvSpPr>
          <p:cNvPr id="71" name="矩形 70">
            <a:extLst>
              <a:ext uri="{FF2B5EF4-FFF2-40B4-BE49-F238E27FC236}">
                <a16:creationId xmlns:a16="http://schemas.microsoft.com/office/drawing/2014/main" id="{C2AA5322-799F-4F78-38B8-FE1319ACBDC6}"/>
              </a:ext>
            </a:extLst>
          </p:cNvPr>
          <p:cNvSpPr/>
          <p:nvPr/>
        </p:nvSpPr>
        <p:spPr>
          <a:xfrm>
            <a:off x="6853956" y="5486027"/>
            <a:ext cx="900000" cy="36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AP</a:t>
            </a:r>
          </a:p>
        </p:txBody>
      </p:sp>
      <p:cxnSp>
        <p:nvCxnSpPr>
          <p:cNvPr id="72" name="直接箭头连接符 71">
            <a:extLst>
              <a:ext uri="{FF2B5EF4-FFF2-40B4-BE49-F238E27FC236}">
                <a16:creationId xmlns:a16="http://schemas.microsoft.com/office/drawing/2014/main" id="{B71CA69B-6A46-DCE8-7B5E-AFEAF8C6414B}"/>
              </a:ext>
            </a:extLst>
          </p:cNvPr>
          <p:cNvCxnSpPr>
            <a:cxnSpLocks/>
            <a:stCxn id="69" idx="3"/>
            <a:endCxn id="70" idx="1"/>
          </p:cNvCxnSpPr>
          <p:nvPr/>
        </p:nvCxnSpPr>
        <p:spPr>
          <a:xfrm>
            <a:off x="4298819" y="5666027"/>
            <a:ext cx="827569" cy="0"/>
          </a:xfrm>
          <a:prstGeom prst="straightConnector1">
            <a:avLst/>
          </a:prstGeom>
          <a:ln w="19050">
            <a:solidFill>
              <a:srgbClr val="4472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直接箭头连接符 76">
            <a:extLst>
              <a:ext uri="{FF2B5EF4-FFF2-40B4-BE49-F238E27FC236}">
                <a16:creationId xmlns:a16="http://schemas.microsoft.com/office/drawing/2014/main" id="{41007A69-210C-6931-51E4-0DCC67A6ED16}"/>
              </a:ext>
            </a:extLst>
          </p:cNvPr>
          <p:cNvCxnSpPr>
            <a:cxnSpLocks/>
            <a:stCxn id="70" idx="3"/>
            <a:endCxn id="71" idx="1"/>
          </p:cNvCxnSpPr>
          <p:nvPr/>
        </p:nvCxnSpPr>
        <p:spPr>
          <a:xfrm>
            <a:off x="6026388" y="5666027"/>
            <a:ext cx="827568" cy="0"/>
          </a:xfrm>
          <a:prstGeom prst="straightConnector1">
            <a:avLst/>
          </a:prstGeom>
          <a:ln w="19050">
            <a:solidFill>
              <a:srgbClr val="4472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iŝlïḑé">
            <a:extLst>
              <a:ext uri="{FF2B5EF4-FFF2-40B4-BE49-F238E27FC236}">
                <a16:creationId xmlns:a16="http://schemas.microsoft.com/office/drawing/2014/main" id="{8AE33713-C914-D5A6-E6FC-91BF6C791C72}"/>
              </a:ext>
            </a:extLst>
          </p:cNvPr>
          <p:cNvSpPr/>
          <p:nvPr/>
        </p:nvSpPr>
        <p:spPr>
          <a:xfrm>
            <a:off x="1923377" y="4931285"/>
            <a:ext cx="1473157" cy="5070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t" anchorCtr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kumimoji="1" lang="en-US" altLang="zh-CN" sz="16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BG</a:t>
            </a:r>
          </a:p>
        </p:txBody>
      </p:sp>
      <p:sp>
        <p:nvSpPr>
          <p:cNvPr id="92" name="iŝlïḑé">
            <a:extLst>
              <a:ext uri="{FF2B5EF4-FFF2-40B4-BE49-F238E27FC236}">
                <a16:creationId xmlns:a16="http://schemas.microsoft.com/office/drawing/2014/main" id="{F812387A-E7B2-14F4-DB71-D9D41A400611}"/>
              </a:ext>
            </a:extLst>
          </p:cNvPr>
          <p:cNvSpPr/>
          <p:nvPr/>
        </p:nvSpPr>
        <p:spPr>
          <a:xfrm>
            <a:off x="1951613" y="5400527"/>
            <a:ext cx="1473157" cy="5070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t" anchorCtr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kumimoji="1" lang="en-US" altLang="zh-CN" sz="16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BG/BU</a:t>
            </a:r>
          </a:p>
        </p:txBody>
      </p:sp>
      <p:sp>
        <p:nvSpPr>
          <p:cNvPr id="94" name="iŝlïḑé">
            <a:extLst>
              <a:ext uri="{FF2B5EF4-FFF2-40B4-BE49-F238E27FC236}">
                <a16:creationId xmlns:a16="http://schemas.microsoft.com/office/drawing/2014/main" id="{A96E33BA-627A-A40E-E984-1FFBD6DC6C94}"/>
              </a:ext>
            </a:extLst>
          </p:cNvPr>
          <p:cNvSpPr/>
          <p:nvPr/>
        </p:nvSpPr>
        <p:spPr>
          <a:xfrm>
            <a:off x="1971535" y="5985466"/>
            <a:ext cx="1473157" cy="5070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t" anchorCtr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kumimoji="1" lang="en-US" altLang="zh-CN" sz="16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BG/NABG</a:t>
            </a:r>
          </a:p>
        </p:txBody>
      </p:sp>
    </p:spTree>
    <p:extLst>
      <p:ext uri="{BB962C8B-B14F-4D97-AF65-F5344CB8AC3E}">
        <p14:creationId xmlns:p14="http://schemas.microsoft.com/office/powerpoint/2010/main" val="22830453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圆角矩形 150">
            <a:extLst>
              <a:ext uri="{FF2B5EF4-FFF2-40B4-BE49-F238E27FC236}">
                <a16:creationId xmlns:a16="http://schemas.microsoft.com/office/drawing/2014/main" id="{FF63174F-6190-69FF-2025-F44FBE4DB9D2}"/>
              </a:ext>
            </a:extLst>
          </p:cNvPr>
          <p:cNvSpPr>
            <a:spLocks/>
          </p:cNvSpPr>
          <p:nvPr/>
        </p:nvSpPr>
        <p:spPr>
          <a:xfrm>
            <a:off x="3881921" y="2541237"/>
            <a:ext cx="2184061" cy="2228083"/>
          </a:xfrm>
          <a:prstGeom prst="roundRect">
            <a:avLst>
              <a:gd name="adj" fmla="val 0"/>
            </a:avLst>
          </a:prstGeom>
          <a:solidFill>
            <a:srgbClr val="C5D3ED">
              <a:alpha val="40000"/>
            </a:srgbClr>
          </a:solidFill>
          <a:ln w="9525" algn="ctr">
            <a:noFill/>
            <a:prstDash val="sysDot"/>
            <a:round/>
            <a:headEnd/>
            <a:tailEnd/>
          </a:ln>
        </p:spPr>
        <p:txBody>
          <a:bodyPr lIns="45720" tIns="18000" rIns="45720" anchor="t" anchorCtr="1"/>
          <a:lstStyle/>
          <a:p>
            <a:pPr>
              <a:defRPr/>
            </a:pPr>
            <a:r>
              <a:rPr lang="en-US" altLang="zh-CN" sz="1100" b="1" kern="0">
                <a:solidFill>
                  <a:prstClr val="black"/>
                </a:solidFill>
                <a:cs typeface="+mn-ea"/>
                <a:sym typeface="+mn-lt"/>
              </a:rPr>
              <a:t>FSSC</a:t>
            </a:r>
          </a:p>
        </p:txBody>
      </p:sp>
      <p:sp>
        <p:nvSpPr>
          <p:cNvPr id="55" name="圆角矩形 150">
            <a:extLst>
              <a:ext uri="{FF2B5EF4-FFF2-40B4-BE49-F238E27FC236}">
                <a16:creationId xmlns:a16="http://schemas.microsoft.com/office/drawing/2014/main" id="{5B5F904E-AEE8-58E2-DCC3-8594F99A1429}"/>
              </a:ext>
            </a:extLst>
          </p:cNvPr>
          <p:cNvSpPr>
            <a:spLocks/>
          </p:cNvSpPr>
          <p:nvPr/>
        </p:nvSpPr>
        <p:spPr>
          <a:xfrm>
            <a:off x="1830541" y="2541238"/>
            <a:ext cx="1983726" cy="2222152"/>
          </a:xfrm>
          <a:prstGeom prst="roundRect">
            <a:avLst>
              <a:gd name="adj" fmla="val 0"/>
            </a:avLst>
          </a:prstGeom>
          <a:solidFill>
            <a:srgbClr val="C1EEFC"/>
          </a:solidFill>
          <a:ln w="9525" algn="ctr">
            <a:noFill/>
            <a:prstDash val="sysDot"/>
            <a:round/>
            <a:headEnd/>
            <a:tailEnd/>
          </a:ln>
        </p:spPr>
        <p:txBody>
          <a:bodyPr lIns="45720" tIns="18000" rIns="45720" anchor="t" anchorCtr="1"/>
          <a:lstStyle/>
          <a:p>
            <a:pPr>
              <a:defRPr/>
            </a:pPr>
            <a:r>
              <a:rPr lang="en-US" altLang="zh-CN" sz="1100" b="1" kern="0">
                <a:solidFill>
                  <a:prstClr val="black"/>
                </a:solidFill>
                <a:cs typeface="+mn-ea"/>
                <a:sym typeface="+mn-lt"/>
              </a:rPr>
              <a:t>MPM</a:t>
            </a:r>
            <a:r>
              <a:rPr lang="zh-CN" altLang="en-US" sz="1100" b="1" kern="0">
                <a:solidFill>
                  <a:prstClr val="black"/>
                </a:solidFill>
                <a:cs typeface="+mn-ea"/>
                <a:sym typeface="+mn-lt"/>
              </a:rPr>
              <a:t>（营销项目管理系统）</a:t>
            </a:r>
            <a:endParaRPr lang="en-US" altLang="zh-CN" sz="1100" b="1" kern="0">
              <a:solidFill>
                <a:prstClr val="black"/>
              </a:solidFill>
              <a:cs typeface="+mn-ea"/>
              <a:sym typeface="+mn-lt"/>
            </a:endParaRPr>
          </a:p>
        </p:txBody>
      </p:sp>
      <p:graphicFrame>
        <p:nvGraphicFramePr>
          <p:cNvPr id="94" name="Diagram 84">
            <a:extLst>
              <a:ext uri="{FF2B5EF4-FFF2-40B4-BE49-F238E27FC236}">
                <a16:creationId xmlns:a16="http://schemas.microsoft.com/office/drawing/2014/main" id="{2C917C4A-13D2-6274-BB24-6C90CAE798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5766899"/>
              </p:ext>
            </p:extLst>
          </p:nvPr>
        </p:nvGraphicFramePr>
        <p:xfrm>
          <a:off x="1880491" y="2067560"/>
          <a:ext cx="6153344" cy="3856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89DC960-B882-A672-52DC-8B1DBC1D9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latin typeface="+mn-lt"/>
                <a:ea typeface="+mn-ea"/>
                <a:cs typeface="+mn-ea"/>
                <a:sym typeface="+mn-lt"/>
              </a:rPr>
              <a:t>推广费 ：短期针对全球市场中心统管的项目需核算到</a:t>
            </a:r>
            <a:r>
              <a:rPr lang="en-US" altLang="zh-CN">
                <a:latin typeface="+mn-lt"/>
                <a:ea typeface="+mn-ea"/>
                <a:cs typeface="+mn-ea"/>
                <a:sym typeface="+mn-lt"/>
              </a:rPr>
              <a:t>WB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212E85C-E8F0-C387-F553-B63A45612658}"/>
              </a:ext>
            </a:extLst>
          </p:cNvPr>
          <p:cNvSpPr/>
          <p:nvPr/>
        </p:nvSpPr>
        <p:spPr>
          <a:xfrm>
            <a:off x="1941399" y="5984347"/>
            <a:ext cx="9877323" cy="536592"/>
          </a:xfrm>
          <a:prstGeom prst="rect">
            <a:avLst/>
          </a:prstGeom>
          <a:pattFill prst="dkUpDiag">
            <a:fgClr>
              <a:srgbClr val="CDEDFF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全球推广</a:t>
            </a:r>
            <a:r>
              <a:rPr kumimoji="0" lang="en-US" altLang="zh-CN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MPM</a:t>
            </a:r>
            <a:r>
              <a: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（营销项目管理系统）的应用</a:t>
            </a:r>
            <a:endParaRPr kumimoji="0" lang="en-US" altLang="zh-CN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50" name="组合 49">
            <a:extLst>
              <a:ext uri="{FF2B5EF4-FFF2-40B4-BE49-F238E27FC236}">
                <a16:creationId xmlns:a16="http://schemas.microsoft.com/office/drawing/2014/main" id="{6A770945-DD5C-8E9B-3CB1-B7E3B000A524}"/>
              </a:ext>
            </a:extLst>
          </p:cNvPr>
          <p:cNvGrpSpPr/>
          <p:nvPr/>
        </p:nvGrpSpPr>
        <p:grpSpPr>
          <a:xfrm>
            <a:off x="393790" y="1204095"/>
            <a:ext cx="8137644" cy="307776"/>
            <a:chOff x="393790" y="1071756"/>
            <a:chExt cx="7955080" cy="307776"/>
          </a:xfrm>
        </p:grpSpPr>
        <p:cxnSp>
          <p:nvCxnSpPr>
            <p:cNvPr id="24" name="Straight Connector 38">
              <a:extLst>
                <a:ext uri="{FF2B5EF4-FFF2-40B4-BE49-F238E27FC236}">
                  <a16:creationId xmlns:a16="http://schemas.microsoft.com/office/drawing/2014/main" id="{7F5DE98A-5021-7938-746F-AA2BFD912F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790" y="1218242"/>
              <a:ext cx="7955080" cy="7402"/>
            </a:xfrm>
            <a:prstGeom prst="line">
              <a:avLst/>
            </a:prstGeom>
            <a:noFill/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diamond"/>
              <a:tailEnd type="diamond"/>
            </a:ln>
            <a:effectLst/>
          </p:spPr>
        </p:cxnSp>
        <p:sp>
          <p:nvSpPr>
            <p:cNvPr id="29" name="Rectangle 24">
              <a:extLst>
                <a:ext uri="{FF2B5EF4-FFF2-40B4-BE49-F238E27FC236}">
                  <a16:creationId xmlns:a16="http://schemas.microsoft.com/office/drawing/2014/main" id="{958837B2-94AC-0280-B13D-E444A8300064}"/>
                </a:ext>
              </a:extLst>
            </p:cNvPr>
            <p:cNvSpPr/>
            <p:nvPr/>
          </p:nvSpPr>
          <p:spPr>
            <a:xfrm>
              <a:off x="3546889" y="1071756"/>
              <a:ext cx="2103120" cy="307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r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推广费短期方案</a:t>
              </a:r>
              <a:endParaRPr kumimoji="1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+mn-ea"/>
                <a:sym typeface="+mn-lt"/>
              </a:endParaRPr>
            </a:p>
          </p:txBody>
        </p:sp>
        <p:grpSp>
          <p:nvGrpSpPr>
            <p:cNvPr id="34" name="Group 55">
              <a:extLst>
                <a:ext uri="{FF2B5EF4-FFF2-40B4-BE49-F238E27FC236}">
                  <a16:creationId xmlns:a16="http://schemas.microsoft.com/office/drawing/2014/main" id="{FA241AF5-5858-11B8-8DAE-3516F83B09FA}"/>
                </a:ext>
              </a:extLst>
            </p:cNvPr>
            <p:cNvGrpSpPr/>
            <p:nvPr/>
          </p:nvGrpSpPr>
          <p:grpSpPr>
            <a:xfrm>
              <a:off x="3432303" y="1071757"/>
              <a:ext cx="475162" cy="307775"/>
              <a:chOff x="3126173" y="1114361"/>
              <a:chExt cx="475162" cy="307775"/>
            </a:xfrm>
          </p:grpSpPr>
          <p:sp>
            <p:nvSpPr>
              <p:cNvPr id="37" name="Rectangle 49">
                <a:extLst>
                  <a:ext uri="{FF2B5EF4-FFF2-40B4-BE49-F238E27FC236}">
                    <a16:creationId xmlns:a16="http://schemas.microsoft.com/office/drawing/2014/main" id="{CD6242C7-B82C-93FB-B900-BE53A37B9F6F}"/>
                  </a:ext>
                </a:extLst>
              </p:cNvPr>
              <p:cNvSpPr/>
              <p:nvPr/>
            </p:nvSpPr>
            <p:spPr>
              <a:xfrm>
                <a:off x="3126173" y="1114361"/>
                <a:ext cx="431104" cy="3077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4950" indent="-2349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sz="140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pic>
            <p:nvPicPr>
              <p:cNvPr id="38" name="Graphic 44">
                <a:extLst>
                  <a:ext uri="{FF2B5EF4-FFF2-40B4-BE49-F238E27FC236}">
                    <a16:creationId xmlns:a16="http://schemas.microsoft.com/office/drawing/2014/main" id="{A1CE6770-CD3A-B9B9-5802-245862CB2D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27015" y="1122751"/>
                <a:ext cx="274320" cy="252882"/>
              </a:xfrm>
              <a:prstGeom prst="rect">
                <a:avLst/>
              </a:prstGeom>
            </p:spPr>
          </p:pic>
        </p:grpSp>
      </p:grpSp>
      <p:grpSp>
        <p:nvGrpSpPr>
          <p:cNvPr id="39" name="Group 63">
            <a:extLst>
              <a:ext uri="{FF2B5EF4-FFF2-40B4-BE49-F238E27FC236}">
                <a16:creationId xmlns:a16="http://schemas.microsoft.com/office/drawing/2014/main" id="{2DFAC540-F96C-997A-DE29-07CDD332027D}"/>
              </a:ext>
            </a:extLst>
          </p:cNvPr>
          <p:cNvGrpSpPr/>
          <p:nvPr/>
        </p:nvGrpSpPr>
        <p:grpSpPr>
          <a:xfrm>
            <a:off x="8642229" y="1204095"/>
            <a:ext cx="3075437" cy="307777"/>
            <a:chOff x="9344415" y="1071756"/>
            <a:chExt cx="2551176" cy="307777"/>
          </a:xfrm>
        </p:grpSpPr>
        <p:cxnSp>
          <p:nvCxnSpPr>
            <p:cNvPr id="40" name="Straight Connector 38">
              <a:extLst>
                <a:ext uri="{FF2B5EF4-FFF2-40B4-BE49-F238E27FC236}">
                  <a16:creationId xmlns:a16="http://schemas.microsoft.com/office/drawing/2014/main" id="{F75D2C96-CE17-81C6-68FE-50F6528DEE18}"/>
                </a:ext>
              </a:extLst>
            </p:cNvPr>
            <p:cNvCxnSpPr>
              <a:cxnSpLocks/>
            </p:cNvCxnSpPr>
            <p:nvPr/>
          </p:nvCxnSpPr>
          <p:spPr>
            <a:xfrm>
              <a:off x="9344415" y="1225644"/>
              <a:ext cx="2551176" cy="0"/>
            </a:xfrm>
            <a:prstGeom prst="line">
              <a:avLst/>
            </a:prstGeom>
            <a:noFill/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diamond"/>
              <a:tailEnd type="diamond"/>
            </a:ln>
            <a:effectLst/>
          </p:spPr>
        </p:cxnSp>
        <p:sp>
          <p:nvSpPr>
            <p:cNvPr id="41" name="TextBox 39">
              <a:extLst>
                <a:ext uri="{FF2B5EF4-FFF2-40B4-BE49-F238E27FC236}">
                  <a16:creationId xmlns:a16="http://schemas.microsoft.com/office/drawing/2014/main" id="{929C965E-F689-1B8B-7EE6-1F7E71025A18}"/>
                </a:ext>
              </a:extLst>
            </p:cNvPr>
            <p:cNvSpPr txBox="1"/>
            <p:nvPr/>
          </p:nvSpPr>
          <p:spPr>
            <a:xfrm>
              <a:off x="10217388" y="1071756"/>
              <a:ext cx="1157586" cy="307777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短期改造点</a:t>
              </a:r>
            </a:p>
          </p:txBody>
        </p:sp>
        <p:sp>
          <p:nvSpPr>
            <p:cNvPr id="44" name="Rectangle 59">
              <a:extLst>
                <a:ext uri="{FF2B5EF4-FFF2-40B4-BE49-F238E27FC236}">
                  <a16:creationId xmlns:a16="http://schemas.microsoft.com/office/drawing/2014/main" id="{60CC351B-B4FB-C57F-1DBF-A1E15EAB728E}"/>
                </a:ext>
              </a:extLst>
            </p:cNvPr>
            <p:cNvSpPr/>
            <p:nvPr/>
          </p:nvSpPr>
          <p:spPr>
            <a:xfrm>
              <a:off x="9856954" y="1071757"/>
              <a:ext cx="431104" cy="3077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4950" indent="-234950" algn="l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endParaRPr lang="en-US" sz="14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  <p:pic>
        <p:nvPicPr>
          <p:cNvPr id="45" name="Graphic 66">
            <a:extLst>
              <a:ext uri="{FF2B5EF4-FFF2-40B4-BE49-F238E27FC236}">
                <a16:creationId xmlns:a16="http://schemas.microsoft.com/office/drawing/2014/main" id="{7FF7D62F-7EE5-5B3F-7B28-7D55D5DAD2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83801" y="1229967"/>
            <a:ext cx="262433" cy="256032"/>
          </a:xfrm>
          <a:prstGeom prst="rect">
            <a:avLst/>
          </a:prstGeom>
        </p:spPr>
      </p:pic>
      <p:sp>
        <p:nvSpPr>
          <p:cNvPr id="46" name="矩形 189">
            <a:extLst>
              <a:ext uri="{FF2B5EF4-FFF2-40B4-BE49-F238E27FC236}">
                <a16:creationId xmlns:a16="http://schemas.microsoft.com/office/drawing/2014/main" id="{07C8DDE9-65EB-BE2B-CE17-72DDAD72A6A6}"/>
              </a:ext>
            </a:extLst>
          </p:cNvPr>
          <p:cNvSpPr/>
          <p:nvPr/>
        </p:nvSpPr>
        <p:spPr>
          <a:xfrm>
            <a:off x="366603" y="1528593"/>
            <a:ext cx="8158157" cy="4326303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81323"/>
              </a:buClr>
              <a:buSzPct val="130000"/>
              <a:tabLst/>
              <a:defRPr/>
            </a:pPr>
            <a:endParaRPr kumimoji="0" lang="en-US" altLang="zh-CN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7" name="矩形 189">
            <a:extLst>
              <a:ext uri="{FF2B5EF4-FFF2-40B4-BE49-F238E27FC236}">
                <a16:creationId xmlns:a16="http://schemas.microsoft.com/office/drawing/2014/main" id="{FC6BB909-4B9B-8186-40E8-36A26AE75387}"/>
              </a:ext>
            </a:extLst>
          </p:cNvPr>
          <p:cNvSpPr/>
          <p:nvPr/>
        </p:nvSpPr>
        <p:spPr>
          <a:xfrm>
            <a:off x="8642229" y="1522407"/>
            <a:ext cx="3176494" cy="432630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81323"/>
              </a:buClr>
              <a:buSzPct val="130000"/>
              <a:tabLst/>
              <a:defRPr/>
            </a:pPr>
            <a:endParaRPr lang="en-US" altLang="zh-CN" sz="1200" b="1">
              <a:cs typeface="+mn-ea"/>
              <a:sym typeface="+mn-lt"/>
            </a:endParaRPr>
          </a:p>
        </p:txBody>
      </p:sp>
      <p:sp>
        <p:nvSpPr>
          <p:cNvPr id="51" name="圆角矩形 150">
            <a:extLst>
              <a:ext uri="{FF2B5EF4-FFF2-40B4-BE49-F238E27FC236}">
                <a16:creationId xmlns:a16="http://schemas.microsoft.com/office/drawing/2014/main" id="{4E0165E0-D9A6-5A68-AFE3-22295ABD4CF8}"/>
              </a:ext>
            </a:extLst>
          </p:cNvPr>
          <p:cNvSpPr>
            <a:spLocks/>
          </p:cNvSpPr>
          <p:nvPr/>
        </p:nvSpPr>
        <p:spPr>
          <a:xfrm>
            <a:off x="6145898" y="2541237"/>
            <a:ext cx="2207794" cy="2228083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 algn="ctr">
            <a:noFill/>
            <a:prstDash val="sysDot"/>
            <a:round/>
            <a:headEnd/>
            <a:tailEnd/>
          </a:ln>
        </p:spPr>
        <p:txBody>
          <a:bodyPr lIns="45720" tIns="18000" rIns="45720" anchor="t" anchorCtr="1"/>
          <a:lstStyle/>
          <a:p>
            <a:pPr>
              <a:defRPr/>
            </a:pPr>
            <a:r>
              <a:rPr lang="en-US" altLang="zh-CN" sz="1100" b="1" kern="0">
                <a:solidFill>
                  <a:prstClr val="black"/>
                </a:solidFill>
                <a:cs typeface="+mn-ea"/>
                <a:sym typeface="+mn-lt"/>
              </a:rPr>
              <a:t>SAP</a:t>
            </a:r>
          </a:p>
        </p:txBody>
      </p:sp>
      <p:sp>
        <p:nvSpPr>
          <p:cNvPr id="56" name="직사각형 170">
            <a:extLst>
              <a:ext uri="{FF2B5EF4-FFF2-40B4-BE49-F238E27FC236}">
                <a16:creationId xmlns:a16="http://schemas.microsoft.com/office/drawing/2014/main" id="{A64C9F7F-F0C7-9A95-071F-71DF53E9D4C5}"/>
              </a:ext>
            </a:extLst>
          </p:cNvPr>
          <p:cNvSpPr/>
          <p:nvPr/>
        </p:nvSpPr>
        <p:spPr bwMode="auto">
          <a:xfrm>
            <a:off x="1908887" y="2909400"/>
            <a:ext cx="877271" cy="319818"/>
          </a:xfrm>
          <a:prstGeom prst="rect">
            <a:avLst/>
          </a:prstGeom>
          <a:solidFill>
            <a:srgbClr val="0070C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项目主数据</a:t>
            </a: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EE53B1C1-2560-A6FB-F722-D8EDB557F495}"/>
              </a:ext>
            </a:extLst>
          </p:cNvPr>
          <p:cNvSpPr txBox="1"/>
          <p:nvPr/>
        </p:nvSpPr>
        <p:spPr>
          <a:xfrm>
            <a:off x="7565336" y="3414277"/>
            <a:ext cx="744744" cy="1106759"/>
          </a:xfrm>
          <a:prstGeom prst="rect">
            <a:avLst/>
          </a:prstGeom>
          <a:solidFill>
            <a:srgbClr val="E3DED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114300" lvl="1" indent="-114300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项目（</a:t>
            </a:r>
            <a:r>
              <a:rPr lang="en-US" altLang="zh-CN" sz="1200" kern="1200">
                <a:solidFill>
                  <a:schemeClr val="tx1"/>
                </a:solidFill>
                <a:cs typeface="+mn-ea"/>
                <a:sym typeface="+mn-lt"/>
              </a:rPr>
              <a:t>WBS</a:t>
            </a: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）</a:t>
            </a:r>
            <a:endParaRPr lang="en-US" altLang="zh-CN" sz="1200" kern="1200">
              <a:solidFill>
                <a:schemeClr val="tx1"/>
              </a:solidFill>
              <a:cs typeface="+mn-ea"/>
              <a:sym typeface="+mn-lt"/>
            </a:endParaRPr>
          </a:p>
          <a:p>
            <a:pPr marL="114300" lvl="1" indent="-114300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动因</a:t>
            </a:r>
            <a:endParaRPr lang="en-US" altLang="zh-CN" sz="1200" kern="1200">
              <a:solidFill>
                <a:schemeClr val="tx1"/>
              </a:solidFill>
              <a:cs typeface="+mn-ea"/>
              <a:sym typeface="+mn-lt"/>
            </a:endParaRPr>
          </a:p>
          <a:p>
            <a:pPr marL="114300" lvl="1" indent="-114300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品类</a:t>
            </a:r>
            <a:endParaRPr lang="en-US" altLang="zh-CN" sz="1200">
              <a:solidFill>
                <a:schemeClr val="tx1"/>
              </a:solidFill>
              <a:cs typeface="+mn-ea"/>
              <a:sym typeface="+mn-lt"/>
            </a:endParaRPr>
          </a:p>
          <a:p>
            <a:pPr marL="114300" lvl="1" indent="-114300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渠道</a:t>
            </a:r>
            <a:endParaRPr lang="en-US" altLang="zh-CN" sz="1200">
              <a:solidFill>
                <a:schemeClr val="tx1"/>
              </a:solidFill>
              <a:cs typeface="+mn-ea"/>
              <a:sym typeface="+mn-lt"/>
            </a:endParaRPr>
          </a:p>
          <a:p>
            <a:pPr marL="114300" lvl="1" indent="-114300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区域</a:t>
            </a:r>
            <a:endParaRPr lang="en-US" altLang="zh-CN" sz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63" name="左大括号 62">
            <a:extLst>
              <a:ext uri="{FF2B5EF4-FFF2-40B4-BE49-F238E27FC236}">
                <a16:creationId xmlns:a16="http://schemas.microsoft.com/office/drawing/2014/main" id="{24450B3A-8149-D24C-2989-E47DFA4D760A}"/>
              </a:ext>
            </a:extLst>
          </p:cNvPr>
          <p:cNvSpPr/>
          <p:nvPr/>
        </p:nvSpPr>
        <p:spPr>
          <a:xfrm>
            <a:off x="7408236" y="3433580"/>
            <a:ext cx="132374" cy="1106758"/>
          </a:xfrm>
          <a:prstGeom prst="leftBrace">
            <a:avLst>
              <a:gd name="adj1" fmla="val 35000"/>
              <a:gd name="adj2" fmla="val 50000"/>
            </a:avLst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2">
            <a:scrgbClr r="0" g="0" b="0"/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4A1DEEAA-3792-C417-5D57-7FAA3645BAE0}"/>
              </a:ext>
            </a:extLst>
          </p:cNvPr>
          <p:cNvSpPr/>
          <p:nvPr/>
        </p:nvSpPr>
        <p:spPr>
          <a:xfrm>
            <a:off x="5029529" y="3623629"/>
            <a:ext cx="968248" cy="1154618"/>
          </a:xfrm>
          <a:prstGeom prst="rect">
            <a:avLst/>
          </a:prstGeom>
          <a:ln>
            <a:solidFill>
              <a:srgbClr val="7C9CD6"/>
            </a:solidFill>
            <a:prstDash val="sysDash"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CE67E39F-12CF-1DB3-54AE-559CA0A36F9F}"/>
              </a:ext>
            </a:extLst>
          </p:cNvPr>
          <p:cNvSpPr txBox="1"/>
          <p:nvPr/>
        </p:nvSpPr>
        <p:spPr>
          <a:xfrm>
            <a:off x="7006943" y="3715406"/>
            <a:ext cx="504999" cy="6058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35560" rIns="99568" bIns="35560" numCol="1" spcCol="1270" anchor="ctr" anchorCtr="0">
            <a:noAutofit/>
          </a:bodyPr>
          <a:lstStyle/>
          <a:p>
            <a:pPr marL="0" lvl="0" indent="0" algn="r" defTabSz="6000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200" kern="1200">
                <a:cs typeface="+mn-ea"/>
                <a:sym typeface="+mn-lt"/>
              </a:rPr>
              <a:t>辅助核算维度</a:t>
            </a:r>
            <a:endParaRPr lang="de-DE" sz="1200" kern="1200">
              <a:cs typeface="+mn-ea"/>
              <a:sym typeface="+mn-lt"/>
            </a:endParaRPr>
          </a:p>
        </p:txBody>
      </p:sp>
      <p:sp>
        <p:nvSpPr>
          <p:cNvPr id="68" name="Rectangle 11">
            <a:extLst>
              <a:ext uri="{FF2B5EF4-FFF2-40B4-BE49-F238E27FC236}">
                <a16:creationId xmlns:a16="http://schemas.microsoft.com/office/drawing/2014/main" id="{ED5CFCDB-1815-8C6E-E97A-6F6161EAC89F}"/>
              </a:ext>
            </a:extLst>
          </p:cNvPr>
          <p:cNvSpPr/>
          <p:nvPr/>
        </p:nvSpPr>
        <p:spPr>
          <a:xfrm>
            <a:off x="652742" y="2055541"/>
            <a:ext cx="936000" cy="2688069"/>
          </a:xfrm>
          <a:prstGeom prst="roundRect">
            <a:avLst/>
          </a:prstGeom>
          <a:solidFill>
            <a:srgbClr val="007F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全球市场中心统管</a:t>
            </a: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78" name="Rectangle 11">
            <a:extLst>
              <a:ext uri="{FF2B5EF4-FFF2-40B4-BE49-F238E27FC236}">
                <a16:creationId xmlns:a16="http://schemas.microsoft.com/office/drawing/2014/main" id="{218ED13B-D766-06C6-8D4A-9507648698DA}"/>
              </a:ext>
            </a:extLst>
          </p:cNvPr>
          <p:cNvSpPr/>
          <p:nvPr/>
        </p:nvSpPr>
        <p:spPr>
          <a:xfrm>
            <a:off x="652742" y="4851940"/>
            <a:ext cx="936000" cy="814513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00" b="1">
                <a:solidFill>
                  <a:prstClr val="white"/>
                </a:solidFill>
                <a:latin typeface="Microsoft YaHei"/>
                <a:ea typeface="Microsoft YaHei"/>
              </a:rPr>
              <a:t>非</a:t>
            </a:r>
            <a:r>
              <a:rPr kumimoji="0" lang="zh-CN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全球市场中心统管</a:t>
            </a: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82" name="Freeform: Shape 78">
            <a:extLst>
              <a:ext uri="{FF2B5EF4-FFF2-40B4-BE49-F238E27FC236}">
                <a16:creationId xmlns:a16="http://schemas.microsoft.com/office/drawing/2014/main" id="{22020634-30FD-45BC-EFE2-85370BEBCEA9}"/>
              </a:ext>
            </a:extLst>
          </p:cNvPr>
          <p:cNvSpPr/>
          <p:nvPr/>
        </p:nvSpPr>
        <p:spPr>
          <a:xfrm>
            <a:off x="587147" y="1622433"/>
            <a:ext cx="1222505" cy="315799"/>
          </a:xfrm>
          <a:custGeom>
            <a:avLst/>
            <a:gdLst>
              <a:gd name="connsiteX0" fmla="*/ 0 w 2428059"/>
              <a:gd name="connsiteY0" fmla="*/ 0 h 457200"/>
              <a:gd name="connsiteX1" fmla="*/ 2199459 w 2428059"/>
              <a:gd name="connsiteY1" fmla="*/ 0 h 457200"/>
              <a:gd name="connsiteX2" fmla="*/ 2428059 w 2428059"/>
              <a:gd name="connsiteY2" fmla="*/ 228600 h 457200"/>
              <a:gd name="connsiteX3" fmla="*/ 2199459 w 2428059"/>
              <a:gd name="connsiteY3" fmla="*/ 457200 h 457200"/>
              <a:gd name="connsiteX4" fmla="*/ 0 w 2428059"/>
              <a:gd name="connsiteY4" fmla="*/ 457200 h 457200"/>
              <a:gd name="connsiteX5" fmla="*/ 0 w 2428059"/>
              <a:gd name="connsiteY5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28059" h="457200">
                <a:moveTo>
                  <a:pt x="0" y="0"/>
                </a:moveTo>
                <a:lnTo>
                  <a:pt x="2199459" y="0"/>
                </a:lnTo>
                <a:lnTo>
                  <a:pt x="2428059" y="228600"/>
                </a:lnTo>
                <a:lnTo>
                  <a:pt x="2199459" y="457200"/>
                </a:lnTo>
                <a:lnTo>
                  <a:pt x="0" y="457200"/>
                </a:lnTo>
                <a:lnTo>
                  <a:pt x="0" y="0"/>
                </a:lnTo>
                <a:close/>
              </a:path>
            </a:pathLst>
          </a:custGeom>
          <a:solidFill>
            <a:srgbClr val="007FC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74676" tIns="37338" rIns="132969" bIns="37338" spcCol="1270" anchor="ctr"/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  <a:defRPr/>
            </a:pPr>
            <a:r>
              <a:rPr lang="zh-CN" altLang="en-US" sz="1400" b="1">
                <a:cs typeface="+mn-ea"/>
                <a:sym typeface="+mn-lt"/>
              </a:rPr>
              <a:t>推广费</a:t>
            </a:r>
            <a:endParaRPr lang="de-DE" sz="1400" b="1">
              <a:cs typeface="+mn-ea"/>
              <a:sym typeface="+mn-lt"/>
            </a:endParaRPr>
          </a:p>
        </p:txBody>
      </p:sp>
      <p:sp>
        <p:nvSpPr>
          <p:cNvPr id="83" name="Rectangle 77">
            <a:extLst>
              <a:ext uri="{FF2B5EF4-FFF2-40B4-BE49-F238E27FC236}">
                <a16:creationId xmlns:a16="http://schemas.microsoft.com/office/drawing/2014/main" id="{832FFE46-5985-512B-3530-B3F5E66D1E1D}"/>
              </a:ext>
            </a:extLst>
          </p:cNvPr>
          <p:cNvSpPr/>
          <p:nvPr/>
        </p:nvSpPr>
        <p:spPr>
          <a:xfrm>
            <a:off x="594469" y="2002977"/>
            <a:ext cx="1108111" cy="3779656"/>
          </a:xfrm>
          <a:prstGeom prst="rect">
            <a:avLst/>
          </a:prstGeom>
          <a:noFill/>
          <a:ln w="19050">
            <a:solidFill>
              <a:srgbClr val="007F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cs typeface="+mn-ea"/>
              <a:sym typeface="+mn-lt"/>
            </a:endParaRPr>
          </a:p>
        </p:txBody>
      </p:sp>
      <p:sp>
        <p:nvSpPr>
          <p:cNvPr id="86" name="箭头: V 形 85">
            <a:extLst>
              <a:ext uri="{FF2B5EF4-FFF2-40B4-BE49-F238E27FC236}">
                <a16:creationId xmlns:a16="http://schemas.microsoft.com/office/drawing/2014/main" id="{5C610BF1-3BF9-B5E9-6E48-263AD223956E}"/>
              </a:ext>
            </a:extLst>
          </p:cNvPr>
          <p:cNvSpPr/>
          <p:nvPr/>
        </p:nvSpPr>
        <p:spPr>
          <a:xfrm>
            <a:off x="1722701" y="1629223"/>
            <a:ext cx="2140705" cy="298704"/>
          </a:xfrm>
          <a:prstGeom prst="chevron">
            <a:avLst>
              <a:gd name="adj" fmla="val 34265"/>
            </a:avLst>
          </a:prstGeom>
          <a:solidFill>
            <a:srgbClr val="007FC3"/>
          </a:solidFill>
          <a:ln>
            <a:solidFill>
              <a:srgbClr val="007F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>
                <a:solidFill>
                  <a:schemeClr val="bg1"/>
                </a:solidFill>
                <a:cs typeface="+mn-ea"/>
                <a:sym typeface="+mn-lt"/>
              </a:rPr>
              <a:t>业务系统</a:t>
            </a:r>
          </a:p>
        </p:txBody>
      </p:sp>
      <p:sp>
        <p:nvSpPr>
          <p:cNvPr id="88" name="箭头: V 形 87">
            <a:extLst>
              <a:ext uri="{FF2B5EF4-FFF2-40B4-BE49-F238E27FC236}">
                <a16:creationId xmlns:a16="http://schemas.microsoft.com/office/drawing/2014/main" id="{AB2942D4-A479-BD0F-C593-FB9718A4CCDA}"/>
              </a:ext>
            </a:extLst>
          </p:cNvPr>
          <p:cNvSpPr/>
          <p:nvPr/>
        </p:nvSpPr>
        <p:spPr>
          <a:xfrm>
            <a:off x="3805081" y="1629589"/>
            <a:ext cx="2290919" cy="298704"/>
          </a:xfrm>
          <a:prstGeom prst="chevron">
            <a:avLst>
              <a:gd name="adj" fmla="val 34265"/>
            </a:avLst>
          </a:prstGeom>
          <a:solidFill>
            <a:srgbClr val="007FC3"/>
          </a:solidFill>
          <a:ln>
            <a:solidFill>
              <a:srgbClr val="007F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>
                <a:solidFill>
                  <a:schemeClr val="bg1"/>
                </a:solidFill>
                <a:cs typeface="+mn-ea"/>
                <a:sym typeface="+mn-lt"/>
              </a:rPr>
              <a:t>共享系统</a:t>
            </a:r>
          </a:p>
        </p:txBody>
      </p:sp>
      <p:sp>
        <p:nvSpPr>
          <p:cNvPr id="89" name="箭头: V 形 88">
            <a:extLst>
              <a:ext uri="{FF2B5EF4-FFF2-40B4-BE49-F238E27FC236}">
                <a16:creationId xmlns:a16="http://schemas.microsoft.com/office/drawing/2014/main" id="{AB9E8F9C-C3B3-FB57-159B-C62A70E3418E}"/>
              </a:ext>
            </a:extLst>
          </p:cNvPr>
          <p:cNvSpPr/>
          <p:nvPr/>
        </p:nvSpPr>
        <p:spPr>
          <a:xfrm>
            <a:off x="6028810" y="1635705"/>
            <a:ext cx="2409512" cy="308279"/>
          </a:xfrm>
          <a:prstGeom prst="chevron">
            <a:avLst>
              <a:gd name="adj" fmla="val 34265"/>
            </a:avLst>
          </a:prstGeom>
          <a:solidFill>
            <a:srgbClr val="007FC3"/>
          </a:solidFill>
          <a:ln>
            <a:solidFill>
              <a:srgbClr val="007F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>
                <a:solidFill>
                  <a:schemeClr val="bg1"/>
                </a:solidFill>
                <a:cs typeface="+mn-ea"/>
                <a:sym typeface="+mn-lt"/>
              </a:rPr>
              <a:t>SAP</a:t>
            </a:r>
            <a:r>
              <a:rPr lang="zh-CN" altLang="en-US" sz="1400" b="1">
                <a:solidFill>
                  <a:schemeClr val="bg1"/>
                </a:solidFill>
                <a:cs typeface="+mn-ea"/>
                <a:sym typeface="+mn-lt"/>
              </a:rPr>
              <a:t>系统</a:t>
            </a:r>
          </a:p>
        </p:txBody>
      </p:sp>
      <p:cxnSp>
        <p:nvCxnSpPr>
          <p:cNvPr id="97" name="直接连接符 96">
            <a:extLst>
              <a:ext uri="{FF2B5EF4-FFF2-40B4-BE49-F238E27FC236}">
                <a16:creationId xmlns:a16="http://schemas.microsoft.com/office/drawing/2014/main" id="{37832572-3AF0-69A6-8569-AE6D11C6E81A}"/>
              </a:ext>
            </a:extLst>
          </p:cNvPr>
          <p:cNvCxnSpPr>
            <a:cxnSpLocks/>
          </p:cNvCxnSpPr>
          <p:nvPr/>
        </p:nvCxnSpPr>
        <p:spPr>
          <a:xfrm>
            <a:off x="587147" y="4823366"/>
            <a:ext cx="7851175" cy="0"/>
          </a:xfrm>
          <a:prstGeom prst="line">
            <a:avLst/>
          </a:prstGeom>
          <a:ln w="12700">
            <a:solidFill>
              <a:srgbClr val="007FC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文本框 120">
            <a:extLst>
              <a:ext uri="{FF2B5EF4-FFF2-40B4-BE49-F238E27FC236}">
                <a16:creationId xmlns:a16="http://schemas.microsoft.com/office/drawing/2014/main" id="{EE31197E-2BD1-A2D7-11F9-77EA8C4AEB17}"/>
              </a:ext>
            </a:extLst>
          </p:cNvPr>
          <p:cNvSpPr txBox="1"/>
          <p:nvPr/>
        </p:nvSpPr>
        <p:spPr>
          <a:xfrm>
            <a:off x="4315606" y="3468385"/>
            <a:ext cx="686813" cy="1054194"/>
          </a:xfrm>
          <a:prstGeom prst="rect">
            <a:avLst/>
          </a:prstGeom>
          <a:solidFill>
            <a:srgbClr val="C5D3ED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114300" lvl="1" indent="-114300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zh-CN" altLang="en-US" sz="1200" kern="1200">
                <a:solidFill>
                  <a:schemeClr val="tx1"/>
                </a:solidFill>
                <a:cs typeface="+mn-ea"/>
                <a:sym typeface="+mn-lt"/>
              </a:rPr>
              <a:t>项目</a:t>
            </a:r>
            <a:endParaRPr lang="en-US" altLang="zh-CN" sz="1200" kern="1200">
              <a:solidFill>
                <a:schemeClr val="tx1"/>
              </a:solidFill>
              <a:cs typeface="+mn-ea"/>
              <a:sym typeface="+mn-lt"/>
            </a:endParaRPr>
          </a:p>
          <a:p>
            <a:pPr marL="114300" lvl="1" indent="-114300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动因</a:t>
            </a:r>
            <a:endParaRPr lang="en-US" altLang="zh-CN" sz="1200" kern="1200">
              <a:solidFill>
                <a:schemeClr val="tx1"/>
              </a:solidFill>
              <a:cs typeface="+mn-ea"/>
              <a:sym typeface="+mn-lt"/>
            </a:endParaRPr>
          </a:p>
          <a:p>
            <a:pPr marL="114300" lvl="1" indent="-114300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品类</a:t>
            </a:r>
            <a:endParaRPr lang="en-US" altLang="zh-CN" sz="1200">
              <a:solidFill>
                <a:schemeClr val="tx1"/>
              </a:solidFill>
              <a:cs typeface="+mn-ea"/>
              <a:sym typeface="+mn-lt"/>
            </a:endParaRPr>
          </a:p>
          <a:p>
            <a:pPr marL="114300" lvl="1" indent="-114300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渠道</a:t>
            </a:r>
            <a:endParaRPr lang="en-US" altLang="zh-CN" sz="1200">
              <a:solidFill>
                <a:schemeClr val="tx1"/>
              </a:solidFill>
              <a:cs typeface="+mn-ea"/>
              <a:sym typeface="+mn-lt"/>
            </a:endParaRPr>
          </a:p>
          <a:p>
            <a:pPr marL="114300" lvl="1" indent="-114300" algn="ctr" defTabSz="60007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zh-CN" altLang="en-US" sz="1200">
                <a:solidFill>
                  <a:schemeClr val="tx1"/>
                </a:solidFill>
                <a:cs typeface="+mn-ea"/>
                <a:sym typeface="+mn-lt"/>
              </a:rPr>
              <a:t>区域</a:t>
            </a:r>
            <a:endParaRPr lang="en-US" altLang="zh-CN" sz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3" name="직사각형 170">
            <a:extLst>
              <a:ext uri="{FF2B5EF4-FFF2-40B4-BE49-F238E27FC236}">
                <a16:creationId xmlns:a16="http://schemas.microsoft.com/office/drawing/2014/main" id="{C8CD5E06-A5AE-E701-0F4C-40D5C206EEDC}"/>
              </a:ext>
            </a:extLst>
          </p:cNvPr>
          <p:cNvSpPr/>
          <p:nvPr/>
        </p:nvSpPr>
        <p:spPr bwMode="auto">
          <a:xfrm>
            <a:off x="5057062" y="3682174"/>
            <a:ext cx="877271" cy="319818"/>
          </a:xfrm>
          <a:prstGeom prst="rect">
            <a:avLst/>
          </a:prstGeom>
          <a:solidFill>
            <a:srgbClr val="7C9CD6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费用申请单</a:t>
            </a:r>
          </a:p>
        </p:txBody>
      </p:sp>
      <p:sp>
        <p:nvSpPr>
          <p:cNvPr id="124" name="직사각형 170">
            <a:extLst>
              <a:ext uri="{FF2B5EF4-FFF2-40B4-BE49-F238E27FC236}">
                <a16:creationId xmlns:a16="http://schemas.microsoft.com/office/drawing/2014/main" id="{56B5D445-4237-6B98-137E-1DB579B6A536}"/>
              </a:ext>
            </a:extLst>
          </p:cNvPr>
          <p:cNvSpPr/>
          <p:nvPr/>
        </p:nvSpPr>
        <p:spPr bwMode="auto">
          <a:xfrm>
            <a:off x="6369566" y="2995232"/>
            <a:ext cx="790713" cy="23467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WBS</a:t>
            </a:r>
            <a:r>
              <a:rPr lang="zh-CN" altLang="en-US" sz="1100" b="1" kern="0">
                <a:solidFill>
                  <a:srgbClr val="FFFFFF"/>
                </a:solidFill>
                <a:cs typeface="+mn-ea"/>
                <a:sym typeface="+mn-lt"/>
              </a:rPr>
              <a:t>元素</a:t>
            </a:r>
            <a:endParaRPr kumimoji="0" lang="zh-CN" altLang="en-US" sz="11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30" name="직사각형 170">
            <a:extLst>
              <a:ext uri="{FF2B5EF4-FFF2-40B4-BE49-F238E27FC236}">
                <a16:creationId xmlns:a16="http://schemas.microsoft.com/office/drawing/2014/main" id="{07EE12E6-CDC8-4219-68AF-9C590D037C00}"/>
              </a:ext>
            </a:extLst>
          </p:cNvPr>
          <p:cNvSpPr/>
          <p:nvPr/>
        </p:nvSpPr>
        <p:spPr bwMode="auto">
          <a:xfrm>
            <a:off x="6175750" y="3330843"/>
            <a:ext cx="877271" cy="31981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费用计提</a:t>
            </a:r>
          </a:p>
        </p:txBody>
      </p:sp>
      <p:sp>
        <p:nvSpPr>
          <p:cNvPr id="131" name="직사각형 170">
            <a:extLst>
              <a:ext uri="{FF2B5EF4-FFF2-40B4-BE49-F238E27FC236}">
                <a16:creationId xmlns:a16="http://schemas.microsoft.com/office/drawing/2014/main" id="{9787D9EC-0E07-8F94-EB09-D686D3B70431}"/>
              </a:ext>
            </a:extLst>
          </p:cNvPr>
          <p:cNvSpPr/>
          <p:nvPr/>
        </p:nvSpPr>
        <p:spPr bwMode="auto">
          <a:xfrm>
            <a:off x="6175750" y="3782068"/>
            <a:ext cx="877271" cy="31981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冲销计提</a:t>
            </a:r>
          </a:p>
        </p:txBody>
      </p:sp>
      <p:sp>
        <p:nvSpPr>
          <p:cNvPr id="132" name="직사각형 170">
            <a:extLst>
              <a:ext uri="{FF2B5EF4-FFF2-40B4-BE49-F238E27FC236}">
                <a16:creationId xmlns:a16="http://schemas.microsoft.com/office/drawing/2014/main" id="{20A61275-A766-494E-B935-F08EA0953332}"/>
              </a:ext>
            </a:extLst>
          </p:cNvPr>
          <p:cNvSpPr/>
          <p:nvPr/>
        </p:nvSpPr>
        <p:spPr bwMode="auto">
          <a:xfrm>
            <a:off x="6175750" y="4233293"/>
            <a:ext cx="877271" cy="31981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实际费用入账</a:t>
            </a:r>
          </a:p>
        </p:txBody>
      </p:sp>
      <p:sp>
        <p:nvSpPr>
          <p:cNvPr id="133" name="직사각형 170">
            <a:extLst>
              <a:ext uri="{FF2B5EF4-FFF2-40B4-BE49-F238E27FC236}">
                <a16:creationId xmlns:a16="http://schemas.microsoft.com/office/drawing/2014/main" id="{8F639471-50EF-24F0-3BD9-7F163B6A1032}"/>
              </a:ext>
            </a:extLst>
          </p:cNvPr>
          <p:cNvSpPr/>
          <p:nvPr/>
        </p:nvSpPr>
        <p:spPr bwMode="auto">
          <a:xfrm>
            <a:off x="5060912" y="4043796"/>
            <a:ext cx="877271" cy="319818"/>
          </a:xfrm>
          <a:prstGeom prst="rect">
            <a:avLst/>
          </a:prstGeom>
          <a:solidFill>
            <a:srgbClr val="7C9CD6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费用报销单</a:t>
            </a:r>
          </a:p>
        </p:txBody>
      </p:sp>
      <p:sp>
        <p:nvSpPr>
          <p:cNvPr id="134" name="文本框 133">
            <a:extLst>
              <a:ext uri="{FF2B5EF4-FFF2-40B4-BE49-F238E27FC236}">
                <a16:creationId xmlns:a16="http://schemas.microsoft.com/office/drawing/2014/main" id="{49DF089C-EAD8-FA4C-ED2D-96A3F2C8B8D8}"/>
              </a:ext>
            </a:extLst>
          </p:cNvPr>
          <p:cNvSpPr txBox="1"/>
          <p:nvPr/>
        </p:nvSpPr>
        <p:spPr>
          <a:xfrm>
            <a:off x="3679277" y="3703984"/>
            <a:ext cx="587785" cy="6058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35560" rIns="99568" bIns="35560" numCol="1" spcCol="1270" anchor="ctr" anchorCtr="0">
            <a:noAutofit/>
          </a:bodyPr>
          <a:lstStyle/>
          <a:p>
            <a:pPr marL="0" lvl="0" indent="0" algn="r" defTabSz="6000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200" kern="1200">
                <a:cs typeface="+mn-ea"/>
                <a:sym typeface="+mn-lt"/>
              </a:rPr>
              <a:t>辅助维度</a:t>
            </a:r>
            <a:endParaRPr lang="de-DE" sz="1200" kern="1200">
              <a:cs typeface="+mn-ea"/>
              <a:sym typeface="+mn-lt"/>
            </a:endParaRPr>
          </a:p>
        </p:txBody>
      </p:sp>
      <p:sp>
        <p:nvSpPr>
          <p:cNvPr id="135" name="左大括号 134">
            <a:extLst>
              <a:ext uri="{FF2B5EF4-FFF2-40B4-BE49-F238E27FC236}">
                <a16:creationId xmlns:a16="http://schemas.microsoft.com/office/drawing/2014/main" id="{0E6C00BF-0E89-ADC9-DEE8-63CFDA2FAA75}"/>
              </a:ext>
            </a:extLst>
          </p:cNvPr>
          <p:cNvSpPr/>
          <p:nvPr/>
        </p:nvSpPr>
        <p:spPr>
          <a:xfrm>
            <a:off x="4153477" y="3468385"/>
            <a:ext cx="150118" cy="1033592"/>
          </a:xfrm>
          <a:prstGeom prst="leftBrace">
            <a:avLst>
              <a:gd name="adj1" fmla="val 35000"/>
              <a:gd name="adj2" fmla="val 50000"/>
            </a:avLst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2">
            <a:scrgbClr r="0" g="0" b="0"/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cxnSp>
        <p:nvCxnSpPr>
          <p:cNvPr id="141" name="连接符: 肘形 140">
            <a:extLst>
              <a:ext uri="{FF2B5EF4-FFF2-40B4-BE49-F238E27FC236}">
                <a16:creationId xmlns:a16="http://schemas.microsoft.com/office/drawing/2014/main" id="{DC36EC5C-7548-A202-25EC-2553379CF587}"/>
              </a:ext>
            </a:extLst>
          </p:cNvPr>
          <p:cNvCxnSpPr>
            <a:cxnSpLocks/>
            <a:endCxn id="147" idx="0"/>
          </p:cNvCxnSpPr>
          <p:nvPr/>
        </p:nvCxnSpPr>
        <p:spPr>
          <a:xfrm rot="10800000" flipV="1">
            <a:off x="5375212" y="3184535"/>
            <a:ext cx="994365" cy="438646"/>
          </a:xfrm>
          <a:prstGeom prst="bentConnector2">
            <a:avLst/>
          </a:prstGeom>
          <a:ln w="12700">
            <a:solidFill>
              <a:srgbClr val="007FC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矩形 146">
            <a:extLst>
              <a:ext uri="{FF2B5EF4-FFF2-40B4-BE49-F238E27FC236}">
                <a16:creationId xmlns:a16="http://schemas.microsoft.com/office/drawing/2014/main" id="{86881CA3-8A0B-6340-569B-F849D1CFB709}"/>
              </a:ext>
            </a:extLst>
          </p:cNvPr>
          <p:cNvSpPr/>
          <p:nvPr/>
        </p:nvSpPr>
        <p:spPr>
          <a:xfrm>
            <a:off x="4891087" y="3623181"/>
            <a:ext cx="968248" cy="1148038"/>
          </a:xfrm>
          <a:prstGeom prst="rect">
            <a:avLst/>
          </a:prstGeom>
          <a:ln>
            <a:noFill/>
            <a:prstDash val="sysDash"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49" name="椭圆 148">
            <a:extLst>
              <a:ext uri="{FF2B5EF4-FFF2-40B4-BE49-F238E27FC236}">
                <a16:creationId xmlns:a16="http://schemas.microsoft.com/office/drawing/2014/main" id="{B7EFDF92-B431-95C8-2943-597A7C2D467C}"/>
              </a:ext>
            </a:extLst>
          </p:cNvPr>
          <p:cNvSpPr/>
          <p:nvPr/>
        </p:nvSpPr>
        <p:spPr>
          <a:xfrm>
            <a:off x="3371951" y="2874689"/>
            <a:ext cx="216000" cy="21710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1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0" name="文本框 149">
            <a:extLst>
              <a:ext uri="{FF2B5EF4-FFF2-40B4-BE49-F238E27FC236}">
                <a16:creationId xmlns:a16="http://schemas.microsoft.com/office/drawing/2014/main" id="{252F7DEB-6CAF-C3D9-55DE-BAD2D2356D98}"/>
              </a:ext>
            </a:extLst>
          </p:cNvPr>
          <p:cNvSpPr txBox="1"/>
          <p:nvPr/>
        </p:nvSpPr>
        <p:spPr>
          <a:xfrm>
            <a:off x="3104717" y="2889666"/>
            <a:ext cx="2048530" cy="21710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35560" rIns="99568" bIns="35560" numCol="1" spcCol="1270" anchor="ctr" anchorCtr="0">
            <a:noAutofit/>
          </a:bodyPr>
          <a:lstStyle/>
          <a:p>
            <a:pPr marL="0" lvl="0" indent="0" algn="r" defTabSz="6000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000" kern="1200">
                <a:cs typeface="+mn-ea"/>
                <a:sym typeface="+mn-lt"/>
              </a:rPr>
              <a:t>将项目主数据同步至</a:t>
            </a:r>
            <a:r>
              <a:rPr lang="en-US" altLang="zh-CN" sz="1000" kern="1200">
                <a:cs typeface="+mn-ea"/>
                <a:sym typeface="+mn-lt"/>
              </a:rPr>
              <a:t>SAP</a:t>
            </a:r>
            <a:endParaRPr lang="de-DE" sz="1000" kern="1200">
              <a:cs typeface="+mn-ea"/>
              <a:sym typeface="+mn-lt"/>
            </a:endParaRPr>
          </a:p>
        </p:txBody>
      </p:sp>
      <p:cxnSp>
        <p:nvCxnSpPr>
          <p:cNvPr id="151" name="连接符: 肘形 150">
            <a:extLst>
              <a:ext uri="{FF2B5EF4-FFF2-40B4-BE49-F238E27FC236}">
                <a16:creationId xmlns:a16="http://schemas.microsoft.com/office/drawing/2014/main" id="{38616B50-DCE0-40AC-2D9A-049EB7A19189}"/>
              </a:ext>
            </a:extLst>
          </p:cNvPr>
          <p:cNvCxnSpPr>
            <a:cxnSpLocks/>
            <a:stCxn id="56" idx="3"/>
          </p:cNvCxnSpPr>
          <p:nvPr/>
        </p:nvCxnSpPr>
        <p:spPr>
          <a:xfrm flipV="1">
            <a:off x="2786158" y="3059489"/>
            <a:ext cx="3583408" cy="9820"/>
          </a:xfrm>
          <a:prstGeom prst="bentConnector3">
            <a:avLst>
              <a:gd name="adj1" fmla="val 50000"/>
            </a:avLst>
          </a:prstGeom>
          <a:ln w="12700">
            <a:solidFill>
              <a:srgbClr val="007FC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椭圆 164">
            <a:extLst>
              <a:ext uri="{FF2B5EF4-FFF2-40B4-BE49-F238E27FC236}">
                <a16:creationId xmlns:a16="http://schemas.microsoft.com/office/drawing/2014/main" id="{C8DBCE21-0D90-11DF-15E9-D79290D734A5}"/>
              </a:ext>
            </a:extLst>
          </p:cNvPr>
          <p:cNvSpPr/>
          <p:nvPr/>
        </p:nvSpPr>
        <p:spPr>
          <a:xfrm>
            <a:off x="5786366" y="3994052"/>
            <a:ext cx="216000" cy="21710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3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166" name="连接符: 肘形 165">
            <a:extLst>
              <a:ext uri="{FF2B5EF4-FFF2-40B4-BE49-F238E27FC236}">
                <a16:creationId xmlns:a16="http://schemas.microsoft.com/office/drawing/2014/main" id="{96EB2CD1-49FB-00F6-280F-1BDE79DD5D06}"/>
              </a:ext>
            </a:extLst>
          </p:cNvPr>
          <p:cNvCxnSpPr>
            <a:cxnSpLocks/>
            <a:stCxn id="123" idx="3"/>
            <a:endCxn id="130" idx="1"/>
          </p:cNvCxnSpPr>
          <p:nvPr/>
        </p:nvCxnSpPr>
        <p:spPr>
          <a:xfrm flipV="1">
            <a:off x="5934333" y="3490752"/>
            <a:ext cx="241417" cy="351331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连接符: 肘形 168">
            <a:extLst>
              <a:ext uri="{FF2B5EF4-FFF2-40B4-BE49-F238E27FC236}">
                <a16:creationId xmlns:a16="http://schemas.microsoft.com/office/drawing/2014/main" id="{B0DB2D7A-CED8-2A3F-A4C8-B51B5598B5D8}"/>
              </a:ext>
            </a:extLst>
          </p:cNvPr>
          <p:cNvCxnSpPr>
            <a:cxnSpLocks/>
            <a:stCxn id="133" idx="3"/>
            <a:endCxn id="132" idx="1"/>
          </p:cNvCxnSpPr>
          <p:nvPr/>
        </p:nvCxnSpPr>
        <p:spPr>
          <a:xfrm>
            <a:off x="5938183" y="4203705"/>
            <a:ext cx="237567" cy="189497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文本框 172">
            <a:extLst>
              <a:ext uri="{FF2B5EF4-FFF2-40B4-BE49-F238E27FC236}">
                <a16:creationId xmlns:a16="http://schemas.microsoft.com/office/drawing/2014/main" id="{496DFE2D-45DD-47B5-0844-E584E52FBDAE}"/>
              </a:ext>
            </a:extLst>
          </p:cNvPr>
          <p:cNvSpPr txBox="1"/>
          <p:nvPr/>
        </p:nvSpPr>
        <p:spPr>
          <a:xfrm>
            <a:off x="5879691" y="3709445"/>
            <a:ext cx="246329" cy="83559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35560" rIns="99568" bIns="35560" numCol="1" spcCol="1270" anchor="ctr" anchorCtr="0">
            <a:noAutofit/>
          </a:bodyPr>
          <a:lstStyle/>
          <a:p>
            <a:pPr marL="0" lvl="0" indent="0" algn="r" defTabSz="6000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000" kern="1200">
                <a:cs typeface="+mn-ea"/>
                <a:sym typeface="+mn-lt"/>
              </a:rPr>
              <a:t>费用自动入账</a:t>
            </a:r>
            <a:endParaRPr lang="de-DE" sz="1000" kern="1200">
              <a:cs typeface="+mn-ea"/>
              <a:sym typeface="+mn-lt"/>
            </a:endParaRPr>
          </a:p>
        </p:txBody>
      </p:sp>
      <p:cxnSp>
        <p:nvCxnSpPr>
          <p:cNvPr id="174" name="连接符: 肘形 173">
            <a:extLst>
              <a:ext uri="{FF2B5EF4-FFF2-40B4-BE49-F238E27FC236}">
                <a16:creationId xmlns:a16="http://schemas.microsoft.com/office/drawing/2014/main" id="{533B23C2-1AC1-A15E-DA6A-9505CBF5AE00}"/>
              </a:ext>
            </a:extLst>
          </p:cNvPr>
          <p:cNvCxnSpPr>
            <a:cxnSpLocks/>
            <a:stCxn id="130" idx="2"/>
            <a:endCxn id="131" idx="0"/>
          </p:cNvCxnSpPr>
          <p:nvPr/>
        </p:nvCxnSpPr>
        <p:spPr>
          <a:xfrm rot="5400000">
            <a:off x="6548683" y="3716364"/>
            <a:ext cx="131407" cy="12700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extBox 8">
            <a:extLst>
              <a:ext uri="{FF2B5EF4-FFF2-40B4-BE49-F238E27FC236}">
                <a16:creationId xmlns:a16="http://schemas.microsoft.com/office/drawing/2014/main" id="{278D26E1-09E9-BCE9-280C-DD643470C382}"/>
              </a:ext>
            </a:extLst>
          </p:cNvPr>
          <p:cNvSpPr txBox="1"/>
          <p:nvPr/>
        </p:nvSpPr>
        <p:spPr>
          <a:xfrm>
            <a:off x="966713" y="723591"/>
            <a:ext cx="8308685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>
                <a:cs typeface="+mn-ea"/>
                <a:sym typeface="+mn-lt"/>
              </a:rPr>
              <a:t>实施范围：针对在</a:t>
            </a:r>
            <a:r>
              <a:rPr lang="en-US" altLang="zh-CN" sz="1200">
                <a:cs typeface="+mn-ea"/>
                <a:sym typeface="+mn-lt"/>
              </a:rPr>
              <a:t>MPM</a:t>
            </a:r>
            <a:r>
              <a:rPr lang="zh-CN" altLang="en-US" sz="1200">
                <a:cs typeface="+mn-ea"/>
                <a:sym typeface="+mn-lt"/>
              </a:rPr>
              <a:t>立项的推广费业务，包括</a:t>
            </a:r>
            <a:r>
              <a:rPr lang="en-US" altLang="zh-CN" sz="1200">
                <a:cs typeface="+mn-ea"/>
                <a:sym typeface="+mn-lt"/>
              </a:rPr>
              <a:t>CBG</a:t>
            </a:r>
            <a:r>
              <a:rPr lang="zh-CN" altLang="en-US" sz="1200">
                <a:cs typeface="+mn-ea"/>
                <a:sym typeface="+mn-lt"/>
              </a:rPr>
              <a:t>、</a:t>
            </a:r>
            <a:r>
              <a:rPr lang="en-US" altLang="zh-CN" sz="1200">
                <a:cs typeface="+mn-ea"/>
                <a:sym typeface="+mn-lt"/>
              </a:rPr>
              <a:t>OBG</a:t>
            </a:r>
            <a:r>
              <a:rPr lang="zh-CN" altLang="en-US" sz="1200">
                <a:cs typeface="+mn-ea"/>
                <a:sym typeface="+mn-lt"/>
              </a:rPr>
              <a:t>；在</a:t>
            </a:r>
            <a:r>
              <a:rPr lang="en-US" altLang="zh-CN" sz="1200">
                <a:cs typeface="+mn-ea"/>
                <a:sym typeface="+mn-lt"/>
              </a:rPr>
              <a:t>OA</a:t>
            </a:r>
            <a:r>
              <a:rPr lang="zh-CN" altLang="en-US" sz="1200">
                <a:cs typeface="+mn-ea"/>
                <a:sym typeface="+mn-lt"/>
              </a:rPr>
              <a:t>立项通过推广费系统申报的推广费暂不做改造。</a:t>
            </a:r>
            <a:endParaRPr lang="en-US" altLang="zh-CN" sz="1200">
              <a:cs typeface="+mn-ea"/>
              <a:sym typeface="+mn-lt"/>
            </a:endParaRPr>
          </a:p>
        </p:txBody>
      </p:sp>
      <p:sp>
        <p:nvSpPr>
          <p:cNvPr id="190" name="Rectangle 77">
            <a:extLst>
              <a:ext uri="{FF2B5EF4-FFF2-40B4-BE49-F238E27FC236}">
                <a16:creationId xmlns:a16="http://schemas.microsoft.com/office/drawing/2014/main" id="{6E19BC73-2440-C771-5F8A-C8A2345369B5}"/>
              </a:ext>
            </a:extLst>
          </p:cNvPr>
          <p:cNvSpPr/>
          <p:nvPr/>
        </p:nvSpPr>
        <p:spPr>
          <a:xfrm>
            <a:off x="1755981" y="2002977"/>
            <a:ext cx="6682341" cy="3779656"/>
          </a:xfrm>
          <a:prstGeom prst="rect">
            <a:avLst/>
          </a:prstGeom>
          <a:noFill/>
          <a:ln w="19050">
            <a:solidFill>
              <a:srgbClr val="007F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cs typeface="+mn-ea"/>
              <a:sym typeface="+mn-lt"/>
            </a:endParaRPr>
          </a:p>
        </p:txBody>
      </p:sp>
      <p:sp>
        <p:nvSpPr>
          <p:cNvPr id="192" name="文本框 191">
            <a:extLst>
              <a:ext uri="{FF2B5EF4-FFF2-40B4-BE49-F238E27FC236}">
                <a16:creationId xmlns:a16="http://schemas.microsoft.com/office/drawing/2014/main" id="{2AF82947-D683-3261-A52A-F9F280A35C45}"/>
              </a:ext>
            </a:extLst>
          </p:cNvPr>
          <p:cNvSpPr txBox="1"/>
          <p:nvPr/>
        </p:nvSpPr>
        <p:spPr>
          <a:xfrm>
            <a:off x="1809652" y="4892436"/>
            <a:ext cx="6544040" cy="80276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35560" rIns="99568" bIns="35560" numCol="1" spcCol="1270" anchor="ctr" anchorCtr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zh-CN" sz="1200">
              <a:cs typeface="+mn-ea"/>
              <a:sym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zh-CN" sz="1200">
              <a:cs typeface="+mn-ea"/>
              <a:sym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200" b="1">
                <a:cs typeface="+mn-ea"/>
                <a:sym typeface="+mn-lt"/>
              </a:rPr>
              <a:t>OBG</a:t>
            </a:r>
            <a:r>
              <a:rPr lang="zh-CN" altLang="en-US" sz="1200" b="1">
                <a:cs typeface="+mn-ea"/>
                <a:sym typeface="+mn-lt"/>
              </a:rPr>
              <a:t>未使用</a:t>
            </a:r>
            <a:r>
              <a:rPr lang="en-US" altLang="zh-CN" sz="1200" b="1">
                <a:cs typeface="+mn-ea"/>
                <a:sym typeface="+mn-lt"/>
              </a:rPr>
              <a:t>MPM</a:t>
            </a:r>
            <a:r>
              <a:rPr lang="zh-CN" altLang="en-US" sz="1200" b="1">
                <a:cs typeface="+mn-ea"/>
                <a:sym typeface="+mn-lt"/>
              </a:rPr>
              <a:t>系统的项目</a:t>
            </a:r>
            <a:r>
              <a:rPr lang="zh-CN" altLang="en-US" sz="1200">
                <a:cs typeface="+mn-ea"/>
                <a:sym typeface="+mn-lt"/>
              </a:rPr>
              <a:t>：在</a:t>
            </a:r>
            <a:r>
              <a:rPr lang="en-US" altLang="zh-CN" sz="1200">
                <a:cs typeface="+mn-ea"/>
                <a:sym typeface="+mn-lt"/>
              </a:rPr>
              <a:t>FSSC</a:t>
            </a:r>
            <a:r>
              <a:rPr lang="zh-CN" altLang="en-US" sz="1200">
                <a:cs typeface="+mn-ea"/>
                <a:sym typeface="+mn-lt"/>
              </a:rPr>
              <a:t>创建</a:t>
            </a:r>
            <a:r>
              <a:rPr lang="en-US" altLang="zh-CN" sz="1200">
                <a:cs typeface="+mn-ea"/>
                <a:sym typeface="+mn-lt"/>
              </a:rPr>
              <a:t>WBS</a:t>
            </a:r>
            <a:r>
              <a:rPr lang="zh-CN" altLang="en-US" sz="1200">
                <a:cs typeface="+mn-ea"/>
                <a:sym typeface="+mn-lt"/>
              </a:rPr>
              <a:t>推广项目，同时项目数据同步至</a:t>
            </a:r>
            <a:r>
              <a:rPr lang="en-US" altLang="zh-CN" sz="1200">
                <a:cs typeface="+mn-ea"/>
                <a:sym typeface="+mn-lt"/>
              </a:rPr>
              <a:t>SAP</a:t>
            </a:r>
            <a:r>
              <a:rPr lang="zh-CN" altLang="en-US" sz="1200">
                <a:cs typeface="+mn-ea"/>
                <a:sym typeface="+mn-lt"/>
              </a:rPr>
              <a:t>，使得在共享报账提单的时候能够直接使用到此项目；对于品类字段，使用共享单据专用的品类字段进行承接。</a:t>
            </a:r>
            <a:endParaRPr lang="en-US" altLang="zh-CN" sz="1200">
              <a:cs typeface="+mn-ea"/>
              <a:sym typeface="+mn-lt"/>
            </a:endParaRPr>
          </a:p>
          <a:p>
            <a:pPr marL="171450" lvl="0" indent="-171450" defTabSz="6000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zh-CN" altLang="en-US" sz="1200">
                <a:cs typeface="+mn-ea"/>
                <a:sym typeface="+mn-lt"/>
              </a:rPr>
              <a:t>其他产业短期内</a:t>
            </a:r>
            <a:r>
              <a:rPr lang="zh-CN" altLang="en-US" sz="1200" b="1">
                <a:cs typeface="+mn-ea"/>
                <a:sym typeface="+mn-lt"/>
              </a:rPr>
              <a:t>保留现有系统功能</a:t>
            </a:r>
            <a:r>
              <a:rPr lang="zh-CN" altLang="en-US" sz="1200">
                <a:cs typeface="+mn-ea"/>
                <a:sym typeface="+mn-lt"/>
              </a:rPr>
              <a:t>，不进行系统改造。</a:t>
            </a:r>
            <a:endParaRPr lang="en-US" altLang="zh-CN" sz="1200">
              <a:cs typeface="+mn-ea"/>
              <a:sym typeface="+mn-lt"/>
            </a:endParaRPr>
          </a:p>
          <a:p>
            <a:pPr marL="171450" lvl="0" indent="-171450" defTabSz="6000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altLang="zh-CN" sz="1200">
              <a:cs typeface="+mn-ea"/>
              <a:sym typeface="+mn-lt"/>
            </a:endParaRPr>
          </a:p>
        </p:txBody>
      </p:sp>
      <p:sp>
        <p:nvSpPr>
          <p:cNvPr id="194" name="椭圆 193">
            <a:extLst>
              <a:ext uri="{FF2B5EF4-FFF2-40B4-BE49-F238E27FC236}">
                <a16:creationId xmlns:a16="http://schemas.microsoft.com/office/drawing/2014/main" id="{070D1E5F-5D80-BF80-5020-9325B523FC92}"/>
              </a:ext>
            </a:extLst>
          </p:cNvPr>
          <p:cNvSpPr/>
          <p:nvPr/>
        </p:nvSpPr>
        <p:spPr>
          <a:xfrm>
            <a:off x="8754974" y="1721125"/>
            <a:ext cx="216000" cy="21710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1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98" name="椭圆 197">
            <a:extLst>
              <a:ext uri="{FF2B5EF4-FFF2-40B4-BE49-F238E27FC236}">
                <a16:creationId xmlns:a16="http://schemas.microsoft.com/office/drawing/2014/main" id="{7CDE1717-B404-4106-2BAF-7F75982FE955}"/>
              </a:ext>
            </a:extLst>
          </p:cNvPr>
          <p:cNvSpPr/>
          <p:nvPr/>
        </p:nvSpPr>
        <p:spPr>
          <a:xfrm>
            <a:off x="8745748" y="2843460"/>
            <a:ext cx="216000" cy="21710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2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99" name="文本框 198">
            <a:extLst>
              <a:ext uri="{FF2B5EF4-FFF2-40B4-BE49-F238E27FC236}">
                <a16:creationId xmlns:a16="http://schemas.microsoft.com/office/drawing/2014/main" id="{BC776657-27D1-B22A-C02D-C5FD92E15DE3}"/>
              </a:ext>
            </a:extLst>
          </p:cNvPr>
          <p:cNvSpPr txBox="1"/>
          <p:nvPr/>
        </p:nvSpPr>
        <p:spPr>
          <a:xfrm>
            <a:off x="8961866" y="1695611"/>
            <a:ext cx="15696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>
                <a:cs typeface="+mn-ea"/>
                <a:sym typeface="+mn-lt"/>
              </a:rPr>
              <a:t>同步推广项目主数据</a:t>
            </a:r>
          </a:p>
        </p:txBody>
      </p:sp>
      <p:sp>
        <p:nvSpPr>
          <p:cNvPr id="200" name="文本框 199">
            <a:extLst>
              <a:ext uri="{FF2B5EF4-FFF2-40B4-BE49-F238E27FC236}">
                <a16:creationId xmlns:a16="http://schemas.microsoft.com/office/drawing/2014/main" id="{57369826-3F03-170F-FCEF-4A7BB29A09AA}"/>
              </a:ext>
            </a:extLst>
          </p:cNvPr>
          <p:cNvSpPr txBox="1"/>
          <p:nvPr/>
        </p:nvSpPr>
        <p:spPr>
          <a:xfrm>
            <a:off x="8960963" y="1948557"/>
            <a:ext cx="27375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200">
                <a:cs typeface="+mn-ea"/>
                <a:sym typeface="+mn-lt"/>
              </a:rPr>
              <a:t>将</a:t>
            </a:r>
            <a:r>
              <a:rPr lang="en-US" altLang="zh-CN" sz="1200">
                <a:cs typeface="+mn-ea"/>
                <a:sym typeface="+mn-lt"/>
              </a:rPr>
              <a:t>MPM</a:t>
            </a:r>
            <a:r>
              <a:rPr lang="zh-CN" altLang="en-US" sz="1200">
                <a:cs typeface="+mn-ea"/>
                <a:sym typeface="+mn-lt"/>
              </a:rPr>
              <a:t>系统的项目主数据同步到</a:t>
            </a:r>
            <a:r>
              <a:rPr lang="en-US" altLang="zh-CN" sz="1200">
                <a:cs typeface="+mn-ea"/>
                <a:sym typeface="+mn-lt"/>
              </a:rPr>
              <a:t>SAP</a:t>
            </a:r>
            <a:r>
              <a:rPr lang="zh-CN" altLang="en-US" sz="1200">
                <a:cs typeface="+mn-ea"/>
                <a:sym typeface="+mn-lt"/>
              </a:rPr>
              <a:t>，并在</a:t>
            </a:r>
            <a:r>
              <a:rPr lang="en-US" altLang="zh-CN" sz="1200">
                <a:cs typeface="+mn-ea"/>
                <a:sym typeface="+mn-lt"/>
              </a:rPr>
              <a:t>SAP</a:t>
            </a:r>
            <a:r>
              <a:rPr lang="zh-CN" altLang="en-US" sz="1200">
                <a:cs typeface="+mn-ea"/>
                <a:sym typeface="+mn-lt"/>
              </a:rPr>
              <a:t>系统创建</a:t>
            </a:r>
            <a:r>
              <a:rPr lang="en-US" altLang="zh-CN" sz="1200">
                <a:cs typeface="+mn-ea"/>
                <a:sym typeface="+mn-lt"/>
              </a:rPr>
              <a:t>WBS</a:t>
            </a:r>
            <a:r>
              <a:rPr lang="zh-CN" altLang="en-US" sz="1200">
                <a:cs typeface="+mn-ea"/>
                <a:sym typeface="+mn-lt"/>
              </a:rPr>
              <a:t>元素承接项目主数据，同时将</a:t>
            </a:r>
            <a:r>
              <a:rPr lang="en-US" altLang="zh-CN" sz="1200">
                <a:cs typeface="+mn-ea"/>
                <a:sym typeface="+mn-lt"/>
              </a:rPr>
              <a:t>SAP</a:t>
            </a:r>
            <a:r>
              <a:rPr lang="zh-CN" altLang="en-US" sz="1200">
                <a:cs typeface="+mn-ea"/>
                <a:sym typeface="+mn-lt"/>
              </a:rPr>
              <a:t>系统</a:t>
            </a:r>
            <a:r>
              <a:rPr lang="en-US" altLang="zh-CN" sz="1200">
                <a:cs typeface="+mn-ea"/>
                <a:sym typeface="+mn-lt"/>
              </a:rPr>
              <a:t>WBS</a:t>
            </a:r>
            <a:r>
              <a:rPr lang="zh-CN" altLang="en-US" sz="1200">
                <a:cs typeface="+mn-ea"/>
                <a:sym typeface="+mn-lt"/>
              </a:rPr>
              <a:t>元素推送到</a:t>
            </a:r>
            <a:r>
              <a:rPr lang="en-US" altLang="zh-CN" sz="1200">
                <a:cs typeface="+mn-ea"/>
                <a:sym typeface="+mn-lt"/>
              </a:rPr>
              <a:t>FSSC</a:t>
            </a:r>
          </a:p>
        </p:txBody>
      </p:sp>
      <p:sp>
        <p:nvSpPr>
          <p:cNvPr id="202" name="文本框 201">
            <a:extLst>
              <a:ext uri="{FF2B5EF4-FFF2-40B4-BE49-F238E27FC236}">
                <a16:creationId xmlns:a16="http://schemas.microsoft.com/office/drawing/2014/main" id="{B6D12A7C-0557-27DF-9DF7-E015E52604C7}"/>
              </a:ext>
            </a:extLst>
          </p:cNvPr>
          <p:cNvSpPr txBox="1"/>
          <p:nvPr/>
        </p:nvSpPr>
        <p:spPr>
          <a:xfrm>
            <a:off x="8950637" y="4277917"/>
            <a:ext cx="23391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>
                <a:cs typeface="+mn-ea"/>
                <a:sym typeface="+mn-lt"/>
              </a:rPr>
              <a:t>集成多维度费用计提及费用报销</a:t>
            </a:r>
          </a:p>
        </p:txBody>
      </p:sp>
      <p:sp>
        <p:nvSpPr>
          <p:cNvPr id="203" name="文本框 202">
            <a:extLst>
              <a:ext uri="{FF2B5EF4-FFF2-40B4-BE49-F238E27FC236}">
                <a16:creationId xmlns:a16="http://schemas.microsoft.com/office/drawing/2014/main" id="{77A43201-3B0F-03A7-505E-558C300BD258}"/>
              </a:ext>
            </a:extLst>
          </p:cNvPr>
          <p:cNvSpPr txBox="1"/>
          <p:nvPr/>
        </p:nvSpPr>
        <p:spPr>
          <a:xfrm>
            <a:off x="8950637" y="4599030"/>
            <a:ext cx="27375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200">
                <a:cs typeface="+mn-ea"/>
                <a:sym typeface="+mn-lt"/>
              </a:rPr>
              <a:t>将</a:t>
            </a:r>
            <a:r>
              <a:rPr lang="en-US" altLang="zh-CN" sz="1200">
                <a:cs typeface="+mn-ea"/>
                <a:sym typeface="+mn-lt"/>
              </a:rPr>
              <a:t>FSSC</a:t>
            </a:r>
            <a:r>
              <a:rPr lang="zh-CN" altLang="en-US" sz="1200">
                <a:cs typeface="+mn-ea"/>
                <a:sym typeface="+mn-lt"/>
              </a:rPr>
              <a:t>系统的推广费单据同步到</a:t>
            </a:r>
            <a:r>
              <a:rPr lang="en-US" altLang="zh-CN" sz="1200">
                <a:cs typeface="+mn-ea"/>
                <a:sym typeface="+mn-lt"/>
              </a:rPr>
              <a:t>SAP</a:t>
            </a:r>
            <a:r>
              <a:rPr lang="zh-CN" altLang="en-US" sz="1200">
                <a:cs typeface="+mn-ea"/>
                <a:sym typeface="+mn-lt"/>
              </a:rPr>
              <a:t>系统并生成凭证，同步辅助核算到辅助核算项目（</a:t>
            </a:r>
            <a:r>
              <a:rPr lang="en-US" altLang="zh-CN" sz="1200">
                <a:cs typeface="+mn-ea"/>
                <a:sym typeface="+mn-lt"/>
              </a:rPr>
              <a:t>WBS</a:t>
            </a:r>
            <a:r>
              <a:rPr lang="zh-CN" altLang="en-US" sz="1200">
                <a:cs typeface="+mn-ea"/>
                <a:sym typeface="+mn-lt"/>
              </a:rPr>
              <a:t>）、品类、渠道、区域、动因</a:t>
            </a:r>
            <a:endParaRPr lang="en-US" altLang="zh-CN" sz="1200">
              <a:cs typeface="+mn-ea"/>
              <a:sym typeface="+mn-lt"/>
            </a:endParaRPr>
          </a:p>
        </p:txBody>
      </p:sp>
      <p:sp>
        <p:nvSpPr>
          <p:cNvPr id="205" name="椭圆 204">
            <a:extLst>
              <a:ext uri="{FF2B5EF4-FFF2-40B4-BE49-F238E27FC236}">
                <a16:creationId xmlns:a16="http://schemas.microsoft.com/office/drawing/2014/main" id="{F4688359-5FAC-F09B-3894-3504AACA5E45}"/>
              </a:ext>
            </a:extLst>
          </p:cNvPr>
          <p:cNvSpPr/>
          <p:nvPr/>
        </p:nvSpPr>
        <p:spPr>
          <a:xfrm>
            <a:off x="3941475" y="3549605"/>
            <a:ext cx="216000" cy="21710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2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06" name="椭圆 205">
            <a:extLst>
              <a:ext uri="{FF2B5EF4-FFF2-40B4-BE49-F238E27FC236}">
                <a16:creationId xmlns:a16="http://schemas.microsoft.com/office/drawing/2014/main" id="{5F0C6694-B9CB-D779-51EB-F6C7507C292F}"/>
              </a:ext>
            </a:extLst>
          </p:cNvPr>
          <p:cNvSpPr/>
          <p:nvPr/>
        </p:nvSpPr>
        <p:spPr>
          <a:xfrm>
            <a:off x="8734637" y="4292094"/>
            <a:ext cx="216000" cy="21710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3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07" name="文本框 206">
            <a:extLst>
              <a:ext uri="{FF2B5EF4-FFF2-40B4-BE49-F238E27FC236}">
                <a16:creationId xmlns:a16="http://schemas.microsoft.com/office/drawing/2014/main" id="{33F64CB9-676D-71BC-451B-35F2B20E9495}"/>
              </a:ext>
            </a:extLst>
          </p:cNvPr>
          <p:cNvSpPr txBox="1"/>
          <p:nvPr/>
        </p:nvSpPr>
        <p:spPr>
          <a:xfrm>
            <a:off x="8960963" y="2822614"/>
            <a:ext cx="19880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>
                <a:cs typeface="+mn-ea"/>
                <a:sym typeface="+mn-lt"/>
              </a:rPr>
              <a:t>FSSC</a:t>
            </a:r>
            <a:r>
              <a:rPr lang="zh-CN" altLang="en-US" sz="1200" b="1">
                <a:cs typeface="+mn-ea"/>
                <a:sym typeface="+mn-lt"/>
              </a:rPr>
              <a:t>多维度费用申请</a:t>
            </a:r>
            <a:r>
              <a:rPr lang="en-US" altLang="zh-CN" sz="1200" b="1">
                <a:cs typeface="+mn-ea"/>
                <a:sym typeface="+mn-lt"/>
              </a:rPr>
              <a:t>/</a:t>
            </a:r>
            <a:r>
              <a:rPr lang="zh-CN" altLang="en-US" sz="1200" b="1">
                <a:cs typeface="+mn-ea"/>
                <a:sym typeface="+mn-lt"/>
              </a:rPr>
              <a:t>报销</a:t>
            </a:r>
          </a:p>
        </p:txBody>
      </p:sp>
      <p:sp>
        <p:nvSpPr>
          <p:cNvPr id="208" name="文本框 207">
            <a:extLst>
              <a:ext uri="{FF2B5EF4-FFF2-40B4-BE49-F238E27FC236}">
                <a16:creationId xmlns:a16="http://schemas.microsoft.com/office/drawing/2014/main" id="{67A9D68A-582C-0FBE-6C97-4B9A196A85EE}"/>
              </a:ext>
            </a:extLst>
          </p:cNvPr>
          <p:cNvSpPr txBox="1"/>
          <p:nvPr/>
        </p:nvSpPr>
        <p:spPr>
          <a:xfrm>
            <a:off x="8960963" y="3142779"/>
            <a:ext cx="27375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200">
                <a:cs typeface="+mn-ea"/>
                <a:sym typeface="+mn-lt"/>
              </a:rPr>
              <a:t>在</a:t>
            </a:r>
            <a:r>
              <a:rPr lang="en-US" altLang="zh-CN" sz="1200">
                <a:cs typeface="+mn-ea"/>
                <a:sym typeface="+mn-lt"/>
              </a:rPr>
              <a:t>FSSC</a:t>
            </a:r>
            <a:r>
              <a:rPr lang="zh-CN" altLang="en-US" sz="1200">
                <a:cs typeface="+mn-ea"/>
                <a:sym typeface="+mn-lt"/>
              </a:rPr>
              <a:t>系统提报费用申请单、费用报销单等单据时，需强制指定项目、品类、渠道、区域、动因必输</a:t>
            </a:r>
            <a:endParaRPr lang="en-US" altLang="zh-CN" sz="1200">
              <a:cs typeface="+mn-ea"/>
              <a:sym typeface="+mn-lt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200">
                <a:cs typeface="+mn-ea"/>
                <a:sym typeface="+mn-lt"/>
              </a:rPr>
              <a:t>对于全球市场中心统管的项目，自动扩充至全量法人公司</a:t>
            </a:r>
            <a:endParaRPr lang="en-US" altLang="zh-CN" sz="1200">
              <a:cs typeface="+mn-ea"/>
              <a:sym typeface="+mn-lt"/>
            </a:endParaRPr>
          </a:p>
        </p:txBody>
      </p:sp>
      <p:sp>
        <p:nvSpPr>
          <p:cNvPr id="4" name="矩形 90">
            <a:extLst>
              <a:ext uri="{FF2B5EF4-FFF2-40B4-BE49-F238E27FC236}">
                <a16:creationId xmlns:a16="http://schemas.microsoft.com/office/drawing/2014/main" id="{DFC3E535-65FA-BE21-FBBF-B0C92747E258}"/>
              </a:ext>
            </a:extLst>
          </p:cNvPr>
          <p:cNvSpPr/>
          <p:nvPr/>
        </p:nvSpPr>
        <p:spPr>
          <a:xfrm>
            <a:off x="393790" y="5984347"/>
            <a:ext cx="1547609" cy="5523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长期方案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9D3D3A0-9D95-C51A-80D9-61A6D53BEFE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7147" y="6079562"/>
            <a:ext cx="436786" cy="469267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E4F66F8-365B-2C45-9A90-637F19E91787}"/>
              </a:ext>
            </a:extLst>
          </p:cNvPr>
          <p:cNvSpPr txBox="1">
            <a:spLocks/>
          </p:cNvSpPr>
          <p:nvPr/>
        </p:nvSpPr>
        <p:spPr>
          <a:xfrm>
            <a:off x="5803430" y="6424571"/>
            <a:ext cx="585140" cy="232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FE292F-1EBE-6D4A-B339-A324D614A372}" type="slidenum">
              <a:rPr kumimoji="1" lang="zh-CN" altLang="en-US" smtClean="0">
                <a:latin typeface="+mn-lt"/>
                <a:ea typeface="+mn-ea"/>
                <a:cs typeface="+mn-ea"/>
                <a:sym typeface="+mn-lt"/>
              </a:rPr>
              <a:pPr/>
              <a:t>8</a:t>
            </a:fld>
            <a:endParaRPr kumimoji="1"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Rectangle 5">
            <a:extLst>
              <a:ext uri="{FF2B5EF4-FFF2-40B4-BE49-F238E27FC236}">
                <a16:creationId xmlns:a16="http://schemas.microsoft.com/office/drawing/2014/main" id="{18C60AA2-822B-3308-477D-1D39FD760845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方案包</a:t>
            </a:r>
            <a:r>
              <a:rPr lang="en-US" altLang="zh-CN" b="1">
                <a:solidFill>
                  <a:prstClr val="white"/>
                </a:solidFill>
                <a:latin typeface="Times New Roman"/>
                <a:ea typeface="Microsoft YaHei"/>
                <a:cs typeface="+mn-ea"/>
                <a:sym typeface="+mn-lt"/>
              </a:rPr>
              <a:t>17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414E3312-9E5D-C49C-9CDD-C441DD1474F7}"/>
              </a:ext>
            </a:extLst>
          </p:cNvPr>
          <p:cNvSpPr/>
          <p:nvPr/>
        </p:nvSpPr>
        <p:spPr>
          <a:xfrm>
            <a:off x="5340039" y="3091443"/>
            <a:ext cx="216000" cy="21710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1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E461EC14-A2AB-E2C7-A74D-3C394FC28021}"/>
              </a:ext>
            </a:extLst>
          </p:cNvPr>
          <p:cNvSpPr txBox="1"/>
          <p:nvPr/>
        </p:nvSpPr>
        <p:spPr>
          <a:xfrm>
            <a:off x="4414432" y="3061418"/>
            <a:ext cx="2048530" cy="32104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35560" rIns="99568" bIns="35560" numCol="1" spcCol="1270" anchor="ctr" anchorCtr="0">
            <a:noAutofit/>
          </a:bodyPr>
          <a:lstStyle/>
          <a:p>
            <a:pPr marL="0" lvl="0" indent="0" algn="r" defTabSz="6000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000" kern="1200">
                <a:cs typeface="+mn-ea"/>
                <a:sym typeface="+mn-lt"/>
              </a:rPr>
              <a:t>将项目主数</a:t>
            </a:r>
            <a:endParaRPr lang="en-US" altLang="zh-CN" sz="1000" kern="1200">
              <a:cs typeface="+mn-ea"/>
              <a:sym typeface="+mn-lt"/>
            </a:endParaRPr>
          </a:p>
          <a:p>
            <a:pPr marL="0" lvl="0" indent="0" algn="r" defTabSz="6000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000" kern="1200">
                <a:cs typeface="+mn-ea"/>
                <a:sym typeface="+mn-lt"/>
              </a:rPr>
              <a:t>据同步至</a:t>
            </a:r>
            <a:r>
              <a:rPr lang="en-US" altLang="zh-CN" sz="1000" kern="1200">
                <a:cs typeface="+mn-ea"/>
                <a:sym typeface="+mn-lt"/>
              </a:rPr>
              <a:t>FSSC</a:t>
            </a:r>
            <a:endParaRPr lang="de-DE" sz="1000" kern="1200">
              <a:cs typeface="+mn-ea"/>
              <a:sym typeface="+mn-lt"/>
            </a:endParaRPr>
          </a:p>
        </p:txBody>
      </p:sp>
      <p:sp>
        <p:nvSpPr>
          <p:cNvPr id="19" name="직사각형 170">
            <a:extLst>
              <a:ext uri="{FF2B5EF4-FFF2-40B4-BE49-F238E27FC236}">
                <a16:creationId xmlns:a16="http://schemas.microsoft.com/office/drawing/2014/main" id="{A404F097-6BA0-DE44-5DD5-5F12222A5A1E}"/>
              </a:ext>
            </a:extLst>
          </p:cNvPr>
          <p:cNvSpPr/>
          <p:nvPr/>
        </p:nvSpPr>
        <p:spPr bwMode="auto">
          <a:xfrm>
            <a:off x="5061087" y="4425339"/>
            <a:ext cx="877271" cy="319818"/>
          </a:xfrm>
          <a:prstGeom prst="rect">
            <a:avLst/>
          </a:prstGeom>
          <a:solidFill>
            <a:srgbClr val="7C9CD6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….</a:t>
            </a:r>
            <a:r>
              <a:rPr lang="zh-CN" altLang="en-US" sz="1100" b="1" kern="0">
                <a:solidFill>
                  <a:srgbClr val="FFFFFF"/>
                </a:solidFill>
                <a:cs typeface="+mn-ea"/>
                <a:sym typeface="+mn-lt"/>
              </a:rPr>
              <a:t>其他推广费单据</a:t>
            </a:r>
            <a:endParaRPr kumimoji="0" lang="zh-CN" altLang="en-US" sz="11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28514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773D08-2167-46BF-BBC2-22559A1C2C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>
                <a:latin typeface="+mn-lt"/>
                <a:ea typeface="+mn-ea"/>
                <a:cs typeface="+mn-ea"/>
                <a:sym typeface="+mn-lt"/>
              </a:rPr>
              <a:t>业务单据关联解决方案</a:t>
            </a:r>
          </a:p>
        </p:txBody>
      </p: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FCEE71F5-9C0C-E914-4A05-52FC659206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78680" y="6478270"/>
            <a:ext cx="244348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FE292F-1EBE-6D4A-B339-A324D614A372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73A79DD7-1D1D-7407-E739-CF7023853F51}"/>
              </a:ext>
            </a:extLst>
          </p:cNvPr>
          <p:cNvGrpSpPr/>
          <p:nvPr/>
        </p:nvGrpSpPr>
        <p:grpSpPr>
          <a:xfrm>
            <a:off x="4456308" y="1606132"/>
            <a:ext cx="4369109" cy="2477851"/>
            <a:chOff x="4434536" y="1606132"/>
            <a:chExt cx="4369109" cy="2477851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30530188-D505-0A24-B112-689D74183029}"/>
                </a:ext>
              </a:extLst>
            </p:cNvPr>
            <p:cNvGrpSpPr/>
            <p:nvPr/>
          </p:nvGrpSpPr>
          <p:grpSpPr>
            <a:xfrm>
              <a:off x="4434536" y="1606132"/>
              <a:ext cx="458936" cy="349820"/>
              <a:chOff x="3389596" y="1694664"/>
              <a:chExt cx="274320" cy="274320"/>
            </a:xfrm>
          </p:grpSpPr>
          <p:pic>
            <p:nvPicPr>
              <p:cNvPr id="25" name="图片 12" descr="形状, 正方形&#10;&#10;描述已自动生成">
                <a:extLst>
                  <a:ext uri="{FF2B5EF4-FFF2-40B4-BE49-F238E27FC236}">
                    <a16:creationId xmlns:a16="http://schemas.microsoft.com/office/drawing/2014/main" id="{946B2C7A-60F4-D59C-0698-47DCCCE016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389596" y="1694664"/>
                <a:ext cx="274320" cy="274320"/>
              </a:xfrm>
              <a:prstGeom prst="rect">
                <a:avLst/>
              </a:prstGeom>
            </p:spPr>
          </p:pic>
          <p:sp>
            <p:nvSpPr>
              <p:cNvPr id="26" name="主标题为方正兰亭 , 最大30pt">
                <a:extLst>
                  <a:ext uri="{FF2B5EF4-FFF2-40B4-BE49-F238E27FC236}">
                    <a16:creationId xmlns:a16="http://schemas.microsoft.com/office/drawing/2014/main" id="{32782EC3-C33B-0CF9-51BE-415D8863C255}"/>
                  </a:ext>
                </a:extLst>
              </p:cNvPr>
              <p:cNvSpPr txBox="1"/>
              <p:nvPr/>
            </p:nvSpPr>
            <p:spPr>
              <a:xfrm>
                <a:off x="3450705" y="1697070"/>
                <a:ext cx="152101" cy="269508"/>
              </a:xfrm>
              <a:prstGeom prst="rect">
                <a:avLst/>
              </a:prstGeom>
              <a:ln w="12700">
                <a:miter lim="400000"/>
              </a:ln>
            </p:spPr>
            <p:txBody>
              <a:bodyPr wrap="none" lIns="25400" tIns="25400" rIns="25400" bIns="25400" anchor="ctr">
                <a:spAutoFit/>
              </a:bodyPr>
              <a:lstStyle/>
              <a:p>
                <a:pPr marL="0" marR="0" lvl="0" indent="0" algn="ctr" defTabSz="2057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6000">
                    <a:solidFill>
                      <a:srgbClr val="5E5E5E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r>
                  <a:rPr kumimoji="0" lang="en-US" altLang="zh-CN" sz="19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elvetica"/>
                    <a:cs typeface="+mn-ea"/>
                    <a:sym typeface="+mn-lt"/>
                  </a:rPr>
                  <a:t>2</a:t>
                </a:r>
                <a:endParaRPr kumimoji="0" lang="en-US" sz="1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"/>
                  <a:cs typeface="+mn-ea"/>
                  <a:sym typeface="+mn-lt"/>
                </a:endParaRPr>
              </a:p>
            </p:txBody>
          </p:sp>
        </p:grpSp>
        <p:sp>
          <p:nvSpPr>
            <p:cNvPr id="27" name="矩形 18">
              <a:extLst>
                <a:ext uri="{FF2B5EF4-FFF2-40B4-BE49-F238E27FC236}">
                  <a16:creationId xmlns:a16="http://schemas.microsoft.com/office/drawing/2014/main" id="{E0CD9158-6CB7-DB69-4C5A-379F2E6FA619}"/>
                </a:ext>
              </a:extLst>
            </p:cNvPr>
            <p:cNvSpPr/>
            <p:nvPr/>
          </p:nvSpPr>
          <p:spPr>
            <a:xfrm>
              <a:off x="4977060" y="1627154"/>
              <a:ext cx="1723548" cy="307777"/>
            </a:xfrm>
            <a:prstGeom prst="rect">
              <a:avLst/>
            </a:prstGeom>
          </p:spPr>
          <p:txBody>
            <a:bodyPr wrap="none" t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5F92"/>
                  </a:solidFill>
                  <a:effectLst/>
                  <a:uLnTx/>
                  <a:uFillTx/>
                  <a:latin typeface="Times New Roman"/>
                  <a:ea typeface="Microsoft YaHei"/>
                  <a:cs typeface="+mn-ea"/>
                  <a:sym typeface="+mn-lt"/>
                </a:rPr>
                <a:t>近期方案详解</a:t>
              </a:r>
            </a:p>
          </p:txBody>
        </p:sp>
        <p:sp>
          <p:nvSpPr>
            <p:cNvPr id="28" name="矩形 20">
              <a:extLst>
                <a:ext uri="{FF2B5EF4-FFF2-40B4-BE49-F238E27FC236}">
                  <a16:creationId xmlns:a16="http://schemas.microsoft.com/office/drawing/2014/main" id="{B9998F98-5F87-0296-E493-AC9C50775694}"/>
                </a:ext>
              </a:extLst>
            </p:cNvPr>
            <p:cNvSpPr/>
            <p:nvPr/>
          </p:nvSpPr>
          <p:spPr>
            <a:xfrm>
              <a:off x="4937705" y="2090873"/>
              <a:ext cx="3865940" cy="1993110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近期方案说明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742950" lvl="1" indent="-285750">
                <a:lnSpc>
                  <a:spcPct val="150000"/>
                </a:lnSpc>
                <a:buFont typeface="Courier New" panose="02070309020205020404" pitchFamily="49" charset="0"/>
                <a:buChar char="o"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方案详解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altLang="zh-CN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SAP ERP</a:t>
              </a: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改造需求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742950" lvl="1" indent="-285750">
                <a:lnSpc>
                  <a:spcPct val="150000"/>
                </a:lnSpc>
                <a:buFont typeface="Courier New" panose="02070309020205020404" pitchFamily="49" charset="0"/>
                <a:buChar char="o"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配置清单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742950" lvl="1" indent="-285750">
                <a:lnSpc>
                  <a:spcPct val="150000"/>
                </a:lnSpc>
                <a:buFont typeface="Courier New" panose="02070309020205020404" pitchFamily="49" charset="0"/>
                <a:buChar char="o"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开发清单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外围系统改造需求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</p:txBody>
        </p:sp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B9A46590-B391-12B0-0E00-1A23C86839CA}"/>
              </a:ext>
            </a:extLst>
          </p:cNvPr>
          <p:cNvGrpSpPr/>
          <p:nvPr/>
        </p:nvGrpSpPr>
        <p:grpSpPr>
          <a:xfrm>
            <a:off x="848043" y="1606132"/>
            <a:ext cx="1719967" cy="1493711"/>
            <a:chOff x="848043" y="1606132"/>
            <a:chExt cx="1719967" cy="1493711"/>
          </a:xfrm>
        </p:grpSpPr>
        <p:pic>
          <p:nvPicPr>
            <p:cNvPr id="59" name="图片 12" descr="形状, 正方形&#10;&#10;描述已自动生成">
              <a:extLst>
                <a:ext uri="{FF2B5EF4-FFF2-40B4-BE49-F238E27FC236}">
                  <a16:creationId xmlns:a16="http://schemas.microsoft.com/office/drawing/2014/main" id="{BCA630D3-2299-BE8D-04A9-1756343E091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48043" y="1606132"/>
              <a:ext cx="349820" cy="349820"/>
            </a:xfrm>
            <a:prstGeom prst="rect">
              <a:avLst/>
            </a:prstGeom>
          </p:spPr>
        </p:pic>
        <p:sp>
          <p:nvSpPr>
            <p:cNvPr id="38" name="主标题为方正兰亭 , 最大30pt">
              <a:extLst>
                <a:ext uri="{FF2B5EF4-FFF2-40B4-BE49-F238E27FC236}">
                  <a16:creationId xmlns:a16="http://schemas.microsoft.com/office/drawing/2014/main" id="{E0842126-D5F8-AC9D-4290-D452A675968F}"/>
                </a:ext>
              </a:extLst>
            </p:cNvPr>
            <p:cNvSpPr txBox="1"/>
            <p:nvPr/>
          </p:nvSpPr>
          <p:spPr>
            <a:xfrm>
              <a:off x="925971" y="1609200"/>
              <a:ext cx="193963" cy="343684"/>
            </a:xfrm>
            <a:prstGeom prst="rect">
              <a:avLst/>
            </a:prstGeom>
            <a:ln w="12700">
              <a:miter lim="400000"/>
            </a:ln>
          </p:spPr>
          <p:txBody>
            <a:bodyPr wrap="none" lIns="25400" tIns="25400" rIns="25400" bIns="25400" anchor="ctr">
              <a:spAutoFit/>
            </a:bodyPr>
            <a:lstStyle/>
            <a:p>
              <a:pPr marL="0" marR="0" lvl="0" indent="0" algn="ctr" defTabSz="205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000">
                  <a:solidFill>
                    <a:srgbClr val="5E5E5E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r>
                <a:rPr kumimoji="0" lang="en-US" altLang="zh-CN" sz="1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"/>
                  <a:cs typeface="+mn-ea"/>
                  <a:sym typeface="+mn-lt"/>
                </a:rPr>
                <a:t>1</a:t>
              </a: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/>
                <a:cs typeface="+mn-ea"/>
                <a:sym typeface="+mn-lt"/>
              </a:endParaRPr>
            </a:p>
          </p:txBody>
        </p:sp>
        <p:sp>
          <p:nvSpPr>
            <p:cNvPr id="39" name="矩形 18">
              <a:extLst>
                <a:ext uri="{FF2B5EF4-FFF2-40B4-BE49-F238E27FC236}">
                  <a16:creationId xmlns:a16="http://schemas.microsoft.com/office/drawing/2014/main" id="{DC8AA29F-5BDB-98D4-0234-6382E9415066}"/>
                </a:ext>
              </a:extLst>
            </p:cNvPr>
            <p:cNvSpPr/>
            <p:nvPr/>
          </p:nvSpPr>
          <p:spPr>
            <a:xfrm>
              <a:off x="1262845" y="1627154"/>
              <a:ext cx="1210588" cy="307777"/>
            </a:xfrm>
            <a:prstGeom prst="rect">
              <a:avLst/>
            </a:prstGeom>
          </p:spPr>
          <p:txBody>
            <a:bodyPr wrap="none" t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Times New Roman"/>
                  <a:ea typeface="Microsoft YaHei"/>
                  <a:cs typeface="+mn-ea"/>
                  <a:sym typeface="+mn-lt"/>
                </a:rPr>
                <a:t>方案概述</a:t>
              </a:r>
            </a:p>
          </p:txBody>
        </p:sp>
        <p:sp>
          <p:nvSpPr>
            <p:cNvPr id="40" name="矩形 20">
              <a:extLst>
                <a:ext uri="{FF2B5EF4-FFF2-40B4-BE49-F238E27FC236}">
                  <a16:creationId xmlns:a16="http://schemas.microsoft.com/office/drawing/2014/main" id="{D0932047-60E2-31AA-BE0A-DF19DD90058A}"/>
                </a:ext>
              </a:extLst>
            </p:cNvPr>
            <p:cNvSpPr/>
            <p:nvPr/>
          </p:nvSpPr>
          <p:spPr>
            <a:xfrm>
              <a:off x="1262845" y="2076229"/>
              <a:ext cx="1305165" cy="102361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现状</a:t>
              </a:r>
              <a:r>
                <a:rPr lang="en-US" altLang="zh-CN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VS</a:t>
              </a: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价值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建议方案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问题总结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endParaRPr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3EF50FDF-FA95-D51F-ACEF-9E800E9E2291}"/>
              </a:ext>
            </a:extLst>
          </p:cNvPr>
          <p:cNvGrpSpPr/>
          <p:nvPr/>
        </p:nvGrpSpPr>
        <p:grpSpPr>
          <a:xfrm>
            <a:off x="8489778" y="1606132"/>
            <a:ext cx="2356467" cy="1184740"/>
            <a:chOff x="8489778" y="1606132"/>
            <a:chExt cx="2356467" cy="1184740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65CA5318-D55C-C18C-9FBE-50ED9BD04457}"/>
                </a:ext>
              </a:extLst>
            </p:cNvPr>
            <p:cNvGrpSpPr/>
            <p:nvPr/>
          </p:nvGrpSpPr>
          <p:grpSpPr>
            <a:xfrm>
              <a:off x="8489778" y="1606132"/>
              <a:ext cx="349820" cy="349820"/>
              <a:chOff x="7039343" y="824057"/>
              <a:chExt cx="274320" cy="274320"/>
            </a:xfrm>
          </p:grpSpPr>
          <p:pic>
            <p:nvPicPr>
              <p:cNvPr id="33" name="图片 12" descr="形状, 正方形&#10;&#10;描述已自动生成">
                <a:extLst>
                  <a:ext uri="{FF2B5EF4-FFF2-40B4-BE49-F238E27FC236}">
                    <a16:creationId xmlns:a16="http://schemas.microsoft.com/office/drawing/2014/main" id="{889CC519-DF4F-3C8A-E52F-D92D46E7DC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039343" y="824057"/>
                <a:ext cx="274320" cy="274320"/>
              </a:xfrm>
              <a:prstGeom prst="rect">
                <a:avLst/>
              </a:prstGeom>
            </p:spPr>
          </p:pic>
          <p:sp>
            <p:nvSpPr>
              <p:cNvPr id="34" name="主标题为方正兰亭 , 最大30pt">
                <a:extLst>
                  <a:ext uri="{FF2B5EF4-FFF2-40B4-BE49-F238E27FC236}">
                    <a16:creationId xmlns:a16="http://schemas.microsoft.com/office/drawing/2014/main" id="{A39451D4-7245-50BD-D11C-794CD0478D90}"/>
                  </a:ext>
                </a:extLst>
              </p:cNvPr>
              <p:cNvSpPr txBox="1"/>
              <p:nvPr/>
            </p:nvSpPr>
            <p:spPr>
              <a:xfrm>
                <a:off x="7102217" y="826463"/>
                <a:ext cx="152101" cy="269508"/>
              </a:xfrm>
              <a:prstGeom prst="rect">
                <a:avLst/>
              </a:prstGeom>
              <a:ln w="12700">
                <a:miter lim="400000"/>
              </a:ln>
            </p:spPr>
            <p:txBody>
              <a:bodyPr wrap="none" lIns="25400" tIns="25400" rIns="25400" bIns="25400" anchor="ctr">
                <a:spAutoFit/>
              </a:bodyPr>
              <a:lstStyle/>
              <a:p>
                <a:pPr marL="0" marR="0" lvl="0" indent="0" algn="ctr" defTabSz="2057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6000">
                    <a:solidFill>
                      <a:srgbClr val="5E5E5E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r>
                  <a:rPr kumimoji="0" lang="en-US" altLang="zh-CN" sz="19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elvetica"/>
                    <a:cs typeface="+mn-ea"/>
                    <a:sym typeface="+mn-lt"/>
                  </a:rPr>
                  <a:t>3</a:t>
                </a:r>
                <a:endParaRPr kumimoji="0" lang="en-US" sz="1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"/>
                  <a:cs typeface="+mn-ea"/>
                  <a:sym typeface="+mn-lt"/>
                </a:endParaRPr>
              </a:p>
            </p:txBody>
          </p:sp>
        </p:grpSp>
        <p:sp>
          <p:nvSpPr>
            <p:cNvPr id="35" name="矩形 18">
              <a:extLst>
                <a:ext uri="{FF2B5EF4-FFF2-40B4-BE49-F238E27FC236}">
                  <a16:creationId xmlns:a16="http://schemas.microsoft.com/office/drawing/2014/main" id="{B2C12CA0-AFF1-4C38-7D93-C6ABDF7AB157}"/>
                </a:ext>
              </a:extLst>
            </p:cNvPr>
            <p:cNvSpPr/>
            <p:nvPr/>
          </p:nvSpPr>
          <p:spPr>
            <a:xfrm>
              <a:off x="8903310" y="1627154"/>
              <a:ext cx="1920240" cy="307777"/>
            </a:xfrm>
            <a:prstGeom prst="rect">
              <a:avLst/>
            </a:prstGeom>
          </p:spPr>
          <p:txBody>
            <a:bodyPr wrap="square" t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/>
                  <a:ea typeface="Microsoft YaHei"/>
                  <a:cs typeface="+mn-ea"/>
                  <a:sym typeface="+mn-lt"/>
                </a:rPr>
                <a:t>实施计划</a:t>
              </a:r>
              <a:endParaRPr kumimoji="0" lang="en-US" altLang="zh-CN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endParaRPr>
            </a:p>
          </p:txBody>
        </p:sp>
        <p:sp>
          <p:nvSpPr>
            <p:cNvPr id="41" name="矩形 20">
              <a:extLst>
                <a:ext uri="{FF2B5EF4-FFF2-40B4-BE49-F238E27FC236}">
                  <a16:creationId xmlns:a16="http://schemas.microsoft.com/office/drawing/2014/main" id="{0D1A4B05-934A-178A-1B5C-B6A453C115C3}"/>
                </a:ext>
              </a:extLst>
            </p:cNvPr>
            <p:cNvSpPr/>
            <p:nvPr/>
          </p:nvSpPr>
          <p:spPr>
            <a:xfrm>
              <a:off x="8903310" y="2090872"/>
              <a:ext cx="1942935" cy="700000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b="1">
                  <a:solidFill>
                    <a:prstClr val="black"/>
                  </a:solidFill>
                  <a:latin typeface="Times New Roman"/>
                  <a:ea typeface="Microsoft YaHei"/>
                  <a:cs typeface="+mn-ea"/>
                  <a:sym typeface="+mn-lt"/>
                </a:rPr>
                <a:t>方案实施计划</a:t>
              </a:r>
              <a:endParaRPr lang="en-US" altLang="zh-CN" sz="1400" b="1">
                <a:solidFill>
                  <a:prstClr val="black"/>
                </a:solidFill>
                <a:latin typeface="Times New Roman"/>
                <a:ea typeface="Microsoft YaHei"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/>
                  <a:ea typeface="Microsoft YaHei"/>
                  <a:cs typeface="+mn-ea"/>
                  <a:sym typeface="+mn-lt"/>
                </a:rPr>
                <a:t>系统切换方案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endParaRPr>
            </a:p>
          </p:txBody>
        </p:sp>
      </p:grpSp>
      <p:sp>
        <p:nvSpPr>
          <p:cNvPr id="4" name="Rectangle 5">
            <a:extLst>
              <a:ext uri="{FF2B5EF4-FFF2-40B4-BE49-F238E27FC236}">
                <a16:creationId xmlns:a16="http://schemas.microsoft.com/office/drawing/2014/main" id="{939C2473-0A52-57F8-23A2-2B3630931135}"/>
              </a:ext>
            </a:extLst>
          </p:cNvPr>
          <p:cNvSpPr/>
          <p:nvPr/>
        </p:nvSpPr>
        <p:spPr>
          <a:xfrm>
            <a:off x="98201" y="59927"/>
            <a:ext cx="675991" cy="706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Microsoft YaHei"/>
                <a:cs typeface="+mn-ea"/>
                <a:sym typeface="+mn-lt"/>
              </a:rPr>
              <a:t>目录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Microsoft YaHei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060693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ext"/>
  <p:tag name="ISLIDE.GUIDESSETTING" val="{&quot;Id&quot;:&quot;373362b5-940e-42eb-851f-4902bd5cd354&quot;,&quot;Name&quot;:null,&quot;Kind&quot;:&quot;Custom&quot;,&quot;OldGuidesSetting&quot;:{&quot;HeaderHeight&quot;:0.0,&quot;FooterHeight&quot;:0.0,&quot;SideMargin&quot;:0.0,&quot;TopMargin&quot;:0.0,&quot;BottomMargin&quot;:0.0,&quot;IntervalMargin&quot;:0.0}}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66117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66117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yIafwrAUGg_tovVB3r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tpEhBkjk2g9ZwRzp5_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yIafwrAUGg_tovVB3r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tpEhBkjk2g9ZwRzp5_Fg"/>
</p:tagLst>
</file>

<file path=ppt/theme/theme1.xml><?xml version="1.0" encoding="utf-8"?>
<a:theme xmlns:a="http://schemas.openxmlformats.org/drawingml/2006/main" name="1_Office 主题​​">
  <a:themeElements>
    <a:clrScheme name="自定义 6">
      <a:dk1>
        <a:sysClr val="windowText" lastClr="000000"/>
      </a:dk1>
      <a:lt1>
        <a:sysClr val="window" lastClr="FFFFFF"/>
      </a:lt1>
      <a:dk2>
        <a:srgbClr val="595959"/>
      </a:dk2>
      <a:lt2>
        <a:srgbClr val="778495"/>
      </a:lt2>
      <a:accent1>
        <a:srgbClr val="FF0000"/>
      </a:accent1>
      <a:accent2>
        <a:srgbClr val="7E00FF"/>
      </a:accent2>
      <a:accent3>
        <a:srgbClr val="460073"/>
      </a:accent3>
      <a:accent4>
        <a:srgbClr val="7500C0"/>
      </a:accent4>
      <a:accent5>
        <a:srgbClr val="7399C6"/>
      </a:accent5>
      <a:accent6>
        <a:srgbClr val="007FC3"/>
      </a:accent6>
      <a:hlink>
        <a:srgbClr val="2800FF"/>
      </a:hlink>
      <a:folHlink>
        <a:srgbClr val="7E00FF"/>
      </a:folHlink>
    </a:clrScheme>
    <a:fontScheme name="fs34jofy">
      <a:majorFont>
        <a:latin typeface="Times New Roman"/>
        <a:ea typeface="Microsoft YaHei"/>
        <a:cs typeface=""/>
      </a:majorFont>
      <a:minorFont>
        <a:latin typeface="Times New Roman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chemeClr val="tx1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主题​​">
  <a:themeElements>
    <a:clrScheme name="自定义 6">
      <a:dk1>
        <a:sysClr val="windowText" lastClr="000000"/>
      </a:dk1>
      <a:lt1>
        <a:sysClr val="window" lastClr="FFFFFF"/>
      </a:lt1>
      <a:dk2>
        <a:srgbClr val="595959"/>
      </a:dk2>
      <a:lt2>
        <a:srgbClr val="778495"/>
      </a:lt2>
      <a:accent1>
        <a:srgbClr val="FF0000"/>
      </a:accent1>
      <a:accent2>
        <a:srgbClr val="7E00FF"/>
      </a:accent2>
      <a:accent3>
        <a:srgbClr val="460073"/>
      </a:accent3>
      <a:accent4>
        <a:srgbClr val="7500C0"/>
      </a:accent4>
      <a:accent5>
        <a:srgbClr val="7399C6"/>
      </a:accent5>
      <a:accent6>
        <a:srgbClr val="007FC3"/>
      </a:accent6>
      <a:hlink>
        <a:srgbClr val="2800FF"/>
      </a:hlink>
      <a:folHlink>
        <a:srgbClr val="7E00FF"/>
      </a:folHlink>
    </a:clrScheme>
    <a:fontScheme name="y0zjnlns">
      <a:majorFont>
        <a:latin typeface="Times New Roman"/>
        <a:ea typeface="Microsoft YaHei"/>
        <a:cs typeface=""/>
      </a:majorFont>
      <a:minorFont>
        <a:latin typeface="Times New Roman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tlCol="0" anchor="ctr"/>
      <a:lstStyle>
        <a:defPPr marL="234950" indent="-234950" algn="l">
          <a:lnSpc>
            <a:spcPct val="120000"/>
          </a:lnSpc>
          <a:buFont typeface="Arial" panose="020B0604020202020204" pitchFamily="34" charset="0"/>
          <a:buChar char="•"/>
          <a:defRPr sz="1400" dirty="0" smtClean="0">
            <a:solidFill>
              <a:schemeClr val="tx1"/>
            </a:solidFill>
            <a:latin typeface="+mj-ea"/>
            <a:ea typeface="+mj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 anchor="ctr">
        <a:noAutofit/>
      </a:bodyPr>
      <a:lstStyle>
        <a:defPPr algn="l">
          <a:defRPr sz="1400" dirty="0">
            <a:latin typeface="+mj-ea"/>
            <a:ea typeface="+mj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0_Office 主题​​">
  <a:themeElements>
    <a:clrScheme name="自定义 6">
      <a:dk1>
        <a:sysClr val="windowText" lastClr="000000"/>
      </a:dk1>
      <a:lt1>
        <a:sysClr val="window" lastClr="FFFFFF"/>
      </a:lt1>
      <a:dk2>
        <a:srgbClr val="595959"/>
      </a:dk2>
      <a:lt2>
        <a:srgbClr val="778495"/>
      </a:lt2>
      <a:accent1>
        <a:srgbClr val="FF0000"/>
      </a:accent1>
      <a:accent2>
        <a:srgbClr val="7E00FF"/>
      </a:accent2>
      <a:accent3>
        <a:srgbClr val="460073"/>
      </a:accent3>
      <a:accent4>
        <a:srgbClr val="7500C0"/>
      </a:accent4>
      <a:accent5>
        <a:srgbClr val="7399C6"/>
      </a:accent5>
      <a:accent6>
        <a:srgbClr val="007FC3"/>
      </a:accent6>
      <a:hlink>
        <a:srgbClr val="2800FF"/>
      </a:hlink>
      <a:folHlink>
        <a:srgbClr val="7E00FF"/>
      </a:folHlink>
    </a:clrScheme>
    <a:fontScheme name="fs34jofy">
      <a:majorFont>
        <a:latin typeface="Times New Roman"/>
        <a:ea typeface="Microsoft YaHei"/>
        <a:cs typeface=""/>
      </a:majorFont>
      <a:minorFont>
        <a:latin typeface="Times New Roman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chemeClr val="tx1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204447f-f452-4856-9331-ca4c8c421745">
      <UserInfo>
        <DisplayName>Xie, Yi C.</DisplayName>
        <AccountId>36</AccountId>
        <AccountType/>
      </UserInfo>
    </SharedWithUsers>
    <lcf76f155ced4ddcb4097134ff3c332f xmlns="c151722d-2818-427c-b4ff-7b7ed76db7cf">
      <Terms xmlns="http://schemas.microsoft.com/office/infopath/2007/PartnerControls"/>
    </lcf76f155ced4ddcb4097134ff3c332f>
    <TaxCatchAll xmlns="5204447f-f452-4856-9331-ca4c8c42174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05A69AB1F7464BA4C4B6500F2AF3CC" ma:contentTypeVersion="13" ma:contentTypeDescription="Create a new document." ma:contentTypeScope="" ma:versionID="3287f5403ee817e4c481e708a60d6def">
  <xsd:schema xmlns:xsd="http://www.w3.org/2001/XMLSchema" xmlns:xs="http://www.w3.org/2001/XMLSchema" xmlns:p="http://schemas.microsoft.com/office/2006/metadata/properties" xmlns:ns2="c151722d-2818-427c-b4ff-7b7ed76db7cf" xmlns:ns3="5204447f-f452-4856-9331-ca4c8c421745" targetNamespace="http://schemas.microsoft.com/office/2006/metadata/properties" ma:root="true" ma:fieldsID="c8b2e90866d3c1d93d12cb1e7faad8ab" ns2:_="" ns3:_="">
    <xsd:import namespace="c151722d-2818-427c-b4ff-7b7ed76db7cf"/>
    <xsd:import namespace="5204447f-f452-4856-9331-ca4c8c42174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51722d-2818-427c-b4ff-7b7ed76db7c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04447f-f452-4856-9331-ca4c8c42174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f7eb5bac-e9ba-433e-b756-63ccae9d99de}" ma:internalName="TaxCatchAll" ma:showField="CatchAllData" ma:web="5204447f-f452-4856-9331-ca4c8c42174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910D6C2-4943-4A8E-8933-1978B49BF39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730DE4C-8578-4FB9-A71C-A7C954D4DA22}">
  <ds:schemaRefs>
    <ds:schemaRef ds:uri="5204447f-f452-4856-9331-ca4c8c421745"/>
    <ds:schemaRef ds:uri="c151722d-2818-427c-b4ff-7b7ed76db7c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DF4BAA3-A759-483C-B981-5390E35C1310}">
  <ds:schemaRefs>
    <ds:schemaRef ds:uri="5204447f-f452-4856-9331-ca4c8c421745"/>
    <ds:schemaRef ds:uri="c151722d-2818-427c-b4ff-7b7ed76db7c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0bfa236d-8472-42aa-9a40-ab46036c5596}" enabled="1" method="Privileged" siteId="{e0793d39-0939-496d-b129-198edd916feb}" removed="0"/>
  <clbl:label id="{7390d437-5814-40f5-b88b-1e58649838de}" enabled="0" method="" siteId="{7390d437-5814-40f5-b88b-1e58649838de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40</Slides>
  <Notes>22</Notes>
  <HiddenSlides>18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40</vt:i4>
      </vt:variant>
    </vt:vector>
  </HeadingPairs>
  <TitlesOfParts>
    <vt:vector size="43" baseType="lpstr">
      <vt:lpstr>1_Office 主题​​</vt:lpstr>
      <vt:lpstr>3_Office 主题​​</vt:lpstr>
      <vt:lpstr>10_Office 主题​​</vt:lpstr>
      <vt:lpstr>PowerPoint Presentation</vt:lpstr>
      <vt:lpstr>业务单据关联解决方案</vt:lpstr>
      <vt:lpstr>推广费 –短期核算方案：全球市场中心统管的推广费，按项目核算</vt:lpstr>
      <vt:lpstr>推广费 – 长期核算方案：将推广费纳入PTP流程，与营销活动流程、各系统建设一起，共同实现推广费的闭环管理及内控风险管控</vt:lpstr>
      <vt:lpstr>推广费-长期系统方案：及时自动核算多维度推广费核算</vt:lpstr>
      <vt:lpstr>推广费-长期系统方案</vt:lpstr>
      <vt:lpstr>推广费 – 系统现状</vt:lpstr>
      <vt:lpstr>推广费 ：短期针对全球市场中心统管的项目需核算到WBS</vt:lpstr>
      <vt:lpstr>业务单据关联解决方案</vt:lpstr>
      <vt:lpstr>推广费-短期系统流程</vt:lpstr>
      <vt:lpstr>主数据相关改造需求 - ① 项目主数据MPM系统与SAP系统接口</vt:lpstr>
      <vt:lpstr>FSSC系统改造需求 - ② 单据自动控制辅助核算项目、品类、渠道、区域字段与SAP入账规则</vt:lpstr>
      <vt:lpstr>SAP系统改造需求 - ③主数据配置</vt:lpstr>
      <vt:lpstr>SAP改造需求 - ④科目字段状态控制</vt:lpstr>
      <vt:lpstr>SAP 改造需求-⑤开发清单</vt:lpstr>
      <vt:lpstr>⑥外围系统改造需求</vt:lpstr>
      <vt:lpstr>业务单据关联解决方案</vt:lpstr>
      <vt:lpstr>方案实施计划</vt:lpstr>
      <vt:lpstr>详细方案设计计划</vt:lpstr>
      <vt:lpstr>系统切换方案</vt:lpstr>
      <vt:lpstr>PowerPoint Presentation</vt:lpstr>
      <vt:lpstr>系统改造需求 - ③ FSSC项目预算拆解和调整</vt:lpstr>
      <vt:lpstr>推广费 –短期核算方案：全球市场中心统管的推广费，按项目核算</vt:lpstr>
      <vt:lpstr>推广费 –短期核算方案：全球市场中心统管的推广费，按项目核算</vt:lpstr>
      <vt:lpstr>推广费-长期系统方案：搭建PTP系统流程，实现及时自动核算多维度推广费核算及分摊</vt:lpstr>
      <vt:lpstr>推广费-长期系统方案：对大额推广费立项项目搭建PTP系统流程，实现及时自动核算多维度推广费核算及分摊；</vt:lpstr>
      <vt:lpstr>推广费-长期系统方案：对零星推广费采购通过推广费系统与共享报账模式进行管理</vt:lpstr>
      <vt:lpstr>推广费-长期系统方案：搭建PTP系统流程，实现及时自动核算多维度推广费核算及分摊</vt:lpstr>
      <vt:lpstr>推广费-长期系统方案：搭建PTP系统流程，实现及时自动核算多维度推广费核算</vt:lpstr>
      <vt:lpstr>推广费-长期系统方案：搭建PTP系统流程，实现及时自动核算多维度推广费核算</vt:lpstr>
      <vt:lpstr>推广费-长期系统方案：搭建PTP系统流程，实现及时自动核算多维度推广费核算</vt:lpstr>
      <vt:lpstr>推广费-长期系统方案：及时自动核算多维度推广费核算</vt:lpstr>
      <vt:lpstr>推广费-长期系统方案</vt:lpstr>
      <vt:lpstr>推广费 – 长期核算方案：将推广费纳入PTP流程，与营销活动流程、各系统建设一起，共同实现推广费的闭环管理及内控风险管控</vt:lpstr>
      <vt:lpstr>推广费-长期系统方案</vt:lpstr>
      <vt:lpstr>推广费-长期系统方案</vt:lpstr>
      <vt:lpstr>推广费-长期系统方案：及时自动核算多维度推广费核算</vt:lpstr>
      <vt:lpstr>推广费-长期系统方案数据流向</vt:lpstr>
      <vt:lpstr>推广费-长期系统方案</vt:lpstr>
      <vt:lpstr>推广费-长期系统方案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实业IFS_A&amp;R_核算与管报项目_解决方案17_变动销售费用_推广费._20230322_V0.2pptx--frank</dc:title>
  <dc:creator>陶红宇</dc:creator>
  <cp:revision>1</cp:revision>
  <dcterms:created xsi:type="dcterms:W3CDTF">2022-11-03T09:19:40Z</dcterms:created>
  <dcterms:modified xsi:type="dcterms:W3CDTF">2023-04-27T09:4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40030EC8EAD9652534D96D9FAFC5C96AD4F</vt:lpwstr>
  </property>
  <property fmtid="{D5CDD505-2E9C-101B-9397-08002B2CF9AE}" pid="3" name="_dlc_DocIdItemGuid">
    <vt:lpwstr>ce494992-edc2-46e7-9fd1-d8ef1b0fb86a</vt:lpwstr>
  </property>
  <property fmtid="{D5CDD505-2E9C-101B-9397-08002B2CF9AE}" pid="4" name="MediaServiceImageTags">
    <vt:lpwstr/>
  </property>
  <property fmtid="{D5CDD505-2E9C-101B-9397-08002B2CF9AE}" pid="5" name="_dlc_DocId">
    <vt:lpwstr>SACSWZN73AS4-2117522391-23385</vt:lpwstr>
  </property>
  <property fmtid="{D5CDD505-2E9C-101B-9397-08002B2CF9AE}" pid="6" name="_dlc_DocIdUrl">
    <vt:lpwstr>https://tclo365.sharepoint.com/sites/IFS/PRJ02/_layouts/15/DocIdRedir.aspx?ID=SACSWZN73AS4-2117522391-23385, SACSWZN73AS4-2117522391-23385</vt:lpwstr>
  </property>
</Properties>
</file>